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xls" ContentType="application/vnd.ms-excel"/>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6" r:id="rId6"/>
  </p:sldMasterIdLst>
  <p:notesMasterIdLst>
    <p:notesMasterId r:id="rId63"/>
  </p:notesMasterIdLst>
  <p:handoutMasterIdLst>
    <p:handoutMasterId r:id="rId64"/>
  </p:handoutMasterIdLst>
  <p:sldIdLst>
    <p:sldId id="321" r:id="rId7"/>
    <p:sldId id="425" r:id="rId8"/>
    <p:sldId id="449" r:id="rId9"/>
    <p:sldId id="497" r:id="rId10"/>
    <p:sldId id="502" r:id="rId11"/>
    <p:sldId id="572" r:id="rId12"/>
    <p:sldId id="498" r:id="rId13"/>
    <p:sldId id="499" r:id="rId14"/>
    <p:sldId id="500" r:id="rId15"/>
    <p:sldId id="501" r:id="rId16"/>
    <p:sldId id="514" r:id="rId17"/>
    <p:sldId id="509" r:id="rId18"/>
    <p:sldId id="573" r:id="rId19"/>
    <p:sldId id="508" r:id="rId20"/>
    <p:sldId id="515" r:id="rId21"/>
    <p:sldId id="533" r:id="rId22"/>
    <p:sldId id="534" r:id="rId23"/>
    <p:sldId id="562" r:id="rId24"/>
    <p:sldId id="536" r:id="rId25"/>
    <p:sldId id="543" r:id="rId26"/>
    <p:sldId id="548" r:id="rId27"/>
    <p:sldId id="563" r:id="rId28"/>
    <p:sldId id="564" r:id="rId29"/>
    <p:sldId id="567" r:id="rId30"/>
    <p:sldId id="566" r:id="rId31"/>
    <p:sldId id="537" r:id="rId32"/>
    <p:sldId id="538" r:id="rId33"/>
    <p:sldId id="565" r:id="rId34"/>
    <p:sldId id="539" r:id="rId35"/>
    <p:sldId id="540" r:id="rId36"/>
    <p:sldId id="544" r:id="rId37"/>
    <p:sldId id="541" r:id="rId38"/>
    <p:sldId id="542" r:id="rId39"/>
    <p:sldId id="545" r:id="rId40"/>
    <p:sldId id="551" r:id="rId41"/>
    <p:sldId id="553" r:id="rId42"/>
    <p:sldId id="491" r:id="rId43"/>
    <p:sldId id="570" r:id="rId44"/>
    <p:sldId id="557" r:id="rId45"/>
    <p:sldId id="558" r:id="rId46"/>
    <p:sldId id="559" r:id="rId47"/>
    <p:sldId id="560" r:id="rId48"/>
    <p:sldId id="561" r:id="rId49"/>
    <p:sldId id="492" r:id="rId50"/>
    <p:sldId id="529" r:id="rId51"/>
    <p:sldId id="524" r:id="rId52"/>
    <p:sldId id="525" r:id="rId53"/>
    <p:sldId id="526" r:id="rId54"/>
    <p:sldId id="527" r:id="rId55"/>
    <p:sldId id="528" r:id="rId56"/>
    <p:sldId id="516" r:id="rId57"/>
    <p:sldId id="521" r:id="rId58"/>
    <p:sldId id="522" r:id="rId59"/>
    <p:sldId id="495" r:id="rId60"/>
    <p:sldId id="496" r:id="rId61"/>
    <p:sldId id="494" r:id="rId62"/>
  </p:sldIdLst>
  <p:sldSz cx="9144000" cy="6858000" type="screen4x3"/>
  <p:notesSz cx="6884988" cy="10018713"/>
  <p:embeddedFontLst>
    <p:embeddedFont>
      <p:font typeface="ＭＳ Ｐゴシック" panose="020B0600070205080204" pitchFamily="34" charset="-128"/>
      <p:regular r:id="rId65"/>
    </p:embeddedFont>
    <p:embeddedFont>
      <p:font typeface="Ericsson Capital TT" panose="02000503000000020004" pitchFamily="2" charset="0"/>
      <p:regular r:id="rId66"/>
    </p:embeddedFont>
  </p:embeddedFontLst>
  <p:defaultTextStyle>
    <a:defPPr>
      <a:defRPr lang="en-US"/>
    </a:defPPr>
    <a:lvl1pPr algn="ctr" rtl="0" fontAlgn="base">
      <a:spcBef>
        <a:spcPct val="0"/>
      </a:spcBef>
      <a:spcAft>
        <a:spcPct val="0"/>
      </a:spcAft>
      <a:defRPr sz="2000" kern="1200">
        <a:solidFill>
          <a:schemeClr val="tx1"/>
        </a:solidFill>
        <a:latin typeface="Arial" pitchFamily="34" charset="0"/>
        <a:ea typeface="+mn-ea"/>
        <a:cs typeface="+mn-cs"/>
      </a:defRPr>
    </a:lvl1pPr>
    <a:lvl2pPr marL="457200" algn="ctr" rtl="0" fontAlgn="base">
      <a:spcBef>
        <a:spcPct val="0"/>
      </a:spcBef>
      <a:spcAft>
        <a:spcPct val="0"/>
      </a:spcAft>
      <a:defRPr sz="2000" kern="1200">
        <a:solidFill>
          <a:schemeClr val="tx1"/>
        </a:solidFill>
        <a:latin typeface="Arial" pitchFamily="34" charset="0"/>
        <a:ea typeface="+mn-ea"/>
        <a:cs typeface="+mn-cs"/>
      </a:defRPr>
    </a:lvl2pPr>
    <a:lvl3pPr marL="914400" algn="ctr" rtl="0" fontAlgn="base">
      <a:spcBef>
        <a:spcPct val="0"/>
      </a:spcBef>
      <a:spcAft>
        <a:spcPct val="0"/>
      </a:spcAft>
      <a:defRPr sz="2000" kern="1200">
        <a:solidFill>
          <a:schemeClr val="tx1"/>
        </a:solidFill>
        <a:latin typeface="Arial" pitchFamily="34" charset="0"/>
        <a:ea typeface="+mn-ea"/>
        <a:cs typeface="+mn-cs"/>
      </a:defRPr>
    </a:lvl3pPr>
    <a:lvl4pPr marL="1371600" algn="ctr" rtl="0" fontAlgn="base">
      <a:spcBef>
        <a:spcPct val="0"/>
      </a:spcBef>
      <a:spcAft>
        <a:spcPct val="0"/>
      </a:spcAft>
      <a:defRPr sz="2000" kern="1200">
        <a:solidFill>
          <a:schemeClr val="tx1"/>
        </a:solidFill>
        <a:latin typeface="Arial" pitchFamily="34" charset="0"/>
        <a:ea typeface="+mn-ea"/>
        <a:cs typeface="+mn-cs"/>
      </a:defRPr>
    </a:lvl4pPr>
    <a:lvl5pPr marL="1828800" algn="ctr" rtl="0" fontAlgn="base">
      <a:spcBef>
        <a:spcPct val="0"/>
      </a:spcBef>
      <a:spcAft>
        <a:spcPct val="0"/>
      </a:spcAft>
      <a:defRPr sz="2000" kern="1200">
        <a:solidFill>
          <a:schemeClr val="tx1"/>
        </a:solidFill>
        <a:latin typeface="Arial" pitchFamily="34" charset="0"/>
        <a:ea typeface="+mn-ea"/>
        <a:cs typeface="+mn-cs"/>
      </a:defRPr>
    </a:lvl5pPr>
    <a:lvl6pPr marL="2286000" algn="l" defTabSz="914400" rtl="0" eaLnBrk="1" latinLnBrk="0" hangingPunct="1">
      <a:defRPr sz="2000" kern="1200">
        <a:solidFill>
          <a:schemeClr val="tx1"/>
        </a:solidFill>
        <a:latin typeface="Arial" pitchFamily="34" charset="0"/>
        <a:ea typeface="+mn-ea"/>
        <a:cs typeface="+mn-cs"/>
      </a:defRPr>
    </a:lvl6pPr>
    <a:lvl7pPr marL="2743200" algn="l" defTabSz="914400" rtl="0" eaLnBrk="1" latinLnBrk="0" hangingPunct="1">
      <a:defRPr sz="2000" kern="1200">
        <a:solidFill>
          <a:schemeClr val="tx1"/>
        </a:solidFill>
        <a:latin typeface="Arial" pitchFamily="34" charset="0"/>
        <a:ea typeface="+mn-ea"/>
        <a:cs typeface="+mn-cs"/>
      </a:defRPr>
    </a:lvl7pPr>
    <a:lvl8pPr marL="3200400" algn="l" defTabSz="914400" rtl="0" eaLnBrk="1" latinLnBrk="0" hangingPunct="1">
      <a:defRPr sz="2000" kern="1200">
        <a:solidFill>
          <a:schemeClr val="tx1"/>
        </a:solidFill>
        <a:latin typeface="Arial" pitchFamily="34" charset="0"/>
        <a:ea typeface="+mn-ea"/>
        <a:cs typeface="+mn-cs"/>
      </a:defRPr>
    </a:lvl8pPr>
    <a:lvl9pPr marL="3657600" algn="l" defTabSz="914400" rtl="0" eaLnBrk="1" latinLnBrk="0" hangingPunct="1">
      <a:defRPr sz="2000"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2929"/>
    <a:srgbClr val="89BA17"/>
    <a:srgbClr val="258F73"/>
    <a:srgbClr val="00A9D4"/>
    <a:srgbClr val="9FB7D3"/>
    <a:srgbClr val="8BC5FF"/>
    <a:srgbClr val="99CCFF"/>
    <a:srgbClr val="6A8FBF"/>
    <a:srgbClr val="007B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41" autoAdjust="0"/>
    <p:restoredTop sz="63729" autoAdjust="0"/>
  </p:normalViewPr>
  <p:slideViewPr>
    <p:cSldViewPr snapToGrid="0" snapToObjects="1">
      <p:cViewPr>
        <p:scale>
          <a:sx n="70" d="100"/>
          <a:sy n="70" d="100"/>
        </p:scale>
        <p:origin x="-826" y="-240"/>
      </p:cViewPr>
      <p:guideLst>
        <p:guide orient="horz" pos="2448"/>
        <p:guide orient="horz" pos="1136"/>
        <p:guide orient="horz" pos="150"/>
        <p:guide orient="horz" pos="3567"/>
        <p:guide orient="horz" pos="3844"/>
        <p:guide orient="horz" pos="4110"/>
        <p:guide orient="horz" pos="2546"/>
        <p:guide pos="250"/>
        <p:guide pos="3727"/>
        <p:guide pos="2033"/>
        <p:guide pos="3819"/>
        <p:guide pos="5516"/>
        <p:guide pos="1941"/>
        <p:guide pos="2835"/>
        <p:guide pos="2925"/>
      </p:guideLst>
    </p:cSldViewPr>
  </p:slideViewPr>
  <p:notesTextViewPr>
    <p:cViewPr>
      <p:scale>
        <a:sx n="100" d="100"/>
        <a:sy n="100" d="100"/>
      </p:scale>
      <p:origin x="0" y="0"/>
    </p:cViewPr>
  </p:notesTextViewPr>
  <p:sorterViewPr>
    <p:cViewPr>
      <p:scale>
        <a:sx n="110" d="100"/>
        <a:sy n="110" d="100"/>
      </p:scale>
      <p:origin x="0" y="18787"/>
    </p:cViewPr>
  </p:sorterViewPr>
  <p:notesViewPr>
    <p:cSldViewPr snapToGrid="0" snapToObjects="1">
      <p:cViewPr>
        <p:scale>
          <a:sx n="50" d="100"/>
          <a:sy n="50" d="100"/>
        </p:scale>
        <p:origin x="-2256" y="-240"/>
      </p:cViewPr>
      <p:guideLst>
        <p:guide orient="horz" pos="3155"/>
        <p:guide pos="216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notesMaster" Target="notesMasters/notesMaster1.xml"/><Relationship Id="rId68"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font" Target="fonts/font2.fntdata"/><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font" Target="fonts/font1.fntdata"/><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handoutMaster" Target="handoutMasters/handoutMaster1.xml"/><Relationship Id="rId69"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F39982F-431C-40A5-B289-9FDF548D3581}"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CA"/>
        </a:p>
      </dgm:t>
    </dgm:pt>
    <dgm:pt modelId="{0C62833B-7F99-421F-BB29-22C8B59277FB}">
      <dgm:prSet phldrT="[Text]"/>
      <dgm:spPr>
        <a:solidFill>
          <a:srgbClr val="FABB00"/>
        </a:solidFill>
      </dgm:spPr>
      <dgm:t>
        <a:bodyPr/>
        <a:lstStyle/>
        <a:p>
          <a:r>
            <a:rPr lang="en-CA" dirty="0" smtClean="0"/>
            <a:t>Publishing Framework</a:t>
          </a:r>
          <a:endParaRPr lang="en-CA" dirty="0"/>
        </a:p>
      </dgm:t>
    </dgm:pt>
    <dgm:pt modelId="{F391242B-2CBC-454F-B2DF-0E39A1E563FC}" type="parTrans" cxnId="{E77FD0A0-E64E-474E-9266-32E39EDA2CE2}">
      <dgm:prSet/>
      <dgm:spPr/>
      <dgm:t>
        <a:bodyPr/>
        <a:lstStyle/>
        <a:p>
          <a:endParaRPr lang="en-CA"/>
        </a:p>
      </dgm:t>
    </dgm:pt>
    <dgm:pt modelId="{B022C9D6-302F-4D5B-A93C-507AD9042C90}" type="sibTrans" cxnId="{E77FD0A0-E64E-474E-9266-32E39EDA2CE2}">
      <dgm:prSet/>
      <dgm:spPr/>
      <dgm:t>
        <a:bodyPr/>
        <a:lstStyle/>
        <a:p>
          <a:endParaRPr lang="en-CA"/>
        </a:p>
      </dgm:t>
    </dgm:pt>
    <dgm:pt modelId="{7E428E05-8B22-42E0-AA1E-9E33EC2DFBB1}">
      <dgm:prSet phldrT="[Text]"/>
      <dgm:spPr>
        <a:solidFill>
          <a:srgbClr val="F08A00"/>
        </a:solidFill>
      </dgm:spPr>
      <dgm:t>
        <a:bodyPr/>
        <a:lstStyle/>
        <a:p>
          <a:r>
            <a:rPr lang="en-CA" dirty="0" smtClean="0"/>
            <a:t>Cross-Adaptor Orchestration</a:t>
          </a:r>
          <a:endParaRPr lang="en-CA" dirty="0"/>
        </a:p>
      </dgm:t>
    </dgm:pt>
    <dgm:pt modelId="{18F2A822-1F1B-42C5-80D9-F5C7198DB7C9}" type="parTrans" cxnId="{D2B9DAB9-F90D-4A08-816C-CD0C1EB855A2}">
      <dgm:prSet/>
      <dgm:spPr/>
      <dgm:t>
        <a:bodyPr/>
        <a:lstStyle/>
        <a:p>
          <a:endParaRPr lang="en-CA"/>
        </a:p>
      </dgm:t>
    </dgm:pt>
    <dgm:pt modelId="{9E944F55-46A9-44E8-9A0E-A67215CA2832}" type="sibTrans" cxnId="{D2B9DAB9-F90D-4A08-816C-CD0C1EB855A2}">
      <dgm:prSet/>
      <dgm:spPr/>
      <dgm:t>
        <a:bodyPr/>
        <a:lstStyle/>
        <a:p>
          <a:endParaRPr lang="en-CA"/>
        </a:p>
      </dgm:t>
    </dgm:pt>
    <dgm:pt modelId="{C57A9E6D-F0D4-4362-A617-38658A2EACFD}">
      <dgm:prSet phldrT="[Text]"/>
      <dgm:spPr>
        <a:solidFill>
          <a:srgbClr val="00285F"/>
        </a:solidFill>
      </dgm:spPr>
      <dgm:t>
        <a:bodyPr/>
        <a:lstStyle/>
        <a:p>
          <a:r>
            <a:rPr lang="en-CA" dirty="0" smtClean="0"/>
            <a:t>Sequencing</a:t>
          </a:r>
          <a:endParaRPr lang="en-CA" dirty="0"/>
        </a:p>
      </dgm:t>
    </dgm:pt>
    <dgm:pt modelId="{8D1D0DE3-C835-4D3C-BB7E-1024EE5844AA}" type="parTrans" cxnId="{B3879CBA-7DE8-469C-B16D-2E4B8148C28B}">
      <dgm:prSet/>
      <dgm:spPr/>
      <dgm:t>
        <a:bodyPr/>
        <a:lstStyle/>
        <a:p>
          <a:endParaRPr lang="en-CA"/>
        </a:p>
      </dgm:t>
    </dgm:pt>
    <dgm:pt modelId="{BC13954F-54D6-45DB-BB42-F85B3217FCE6}" type="sibTrans" cxnId="{B3879CBA-7DE8-469C-B16D-2E4B8148C28B}">
      <dgm:prSet/>
      <dgm:spPr/>
      <dgm:t>
        <a:bodyPr/>
        <a:lstStyle/>
        <a:p>
          <a:endParaRPr lang="en-CA"/>
        </a:p>
      </dgm:t>
    </dgm:pt>
    <dgm:pt modelId="{813FDA44-1A4E-44BA-8FBF-199A83F886ED}">
      <dgm:prSet phldrT="[Text]"/>
      <dgm:spPr>
        <a:solidFill>
          <a:srgbClr val="007B78"/>
        </a:solidFill>
      </dgm:spPr>
      <dgm:t>
        <a:bodyPr/>
        <a:lstStyle/>
        <a:p>
          <a:r>
            <a:rPr lang="en-CA" dirty="0" smtClean="0"/>
            <a:t>Exception Management</a:t>
          </a:r>
          <a:endParaRPr lang="en-CA" dirty="0"/>
        </a:p>
      </dgm:t>
    </dgm:pt>
    <dgm:pt modelId="{0337049D-B279-4CDA-BC58-9012A6C8D866}" type="parTrans" cxnId="{C80ADA5D-EDDE-4039-AE76-5D16C5DEF4D6}">
      <dgm:prSet/>
      <dgm:spPr/>
      <dgm:t>
        <a:bodyPr/>
        <a:lstStyle/>
        <a:p>
          <a:endParaRPr lang="en-CA"/>
        </a:p>
      </dgm:t>
    </dgm:pt>
    <dgm:pt modelId="{7057E05D-BA21-4D5D-AA15-7A34AE17A50A}" type="sibTrans" cxnId="{C80ADA5D-EDDE-4039-AE76-5D16C5DEF4D6}">
      <dgm:prSet/>
      <dgm:spPr/>
      <dgm:t>
        <a:bodyPr/>
        <a:lstStyle/>
        <a:p>
          <a:endParaRPr lang="en-CA"/>
        </a:p>
      </dgm:t>
    </dgm:pt>
    <dgm:pt modelId="{DE18D377-5697-4E82-81A4-7F2A4849AA4A}">
      <dgm:prSet phldrT="[Text]"/>
      <dgm:spPr>
        <a:solidFill>
          <a:srgbClr val="00A9D4"/>
        </a:solidFill>
      </dgm:spPr>
      <dgm:t>
        <a:bodyPr/>
        <a:lstStyle/>
        <a:p>
          <a:r>
            <a:rPr lang="en-CA" dirty="0" smtClean="0"/>
            <a:t>Adaptor</a:t>
          </a:r>
          <a:endParaRPr lang="en-CA" dirty="0"/>
        </a:p>
      </dgm:t>
    </dgm:pt>
    <dgm:pt modelId="{864D9F1D-4F2B-4886-A1B5-5EEF04380FE8}" type="parTrans" cxnId="{85F10F79-4ECD-4D27-97DF-3A27D0229FA7}">
      <dgm:prSet/>
      <dgm:spPr/>
      <dgm:t>
        <a:bodyPr/>
        <a:lstStyle/>
        <a:p>
          <a:endParaRPr lang="en-CA"/>
        </a:p>
      </dgm:t>
    </dgm:pt>
    <dgm:pt modelId="{AA778D48-59A8-4AFB-9BF3-280F7A24D480}" type="sibTrans" cxnId="{85F10F79-4ECD-4D27-97DF-3A27D0229FA7}">
      <dgm:prSet/>
      <dgm:spPr/>
      <dgm:t>
        <a:bodyPr/>
        <a:lstStyle/>
        <a:p>
          <a:endParaRPr lang="en-CA"/>
        </a:p>
      </dgm:t>
    </dgm:pt>
    <dgm:pt modelId="{F1ACA930-DE0B-4D9E-9752-4EA8E5C292B5}">
      <dgm:prSet phldrT="[Text]"/>
      <dgm:spPr>
        <a:solidFill>
          <a:srgbClr val="8F3F7B"/>
        </a:solidFill>
      </dgm:spPr>
      <dgm:t>
        <a:bodyPr/>
        <a:lstStyle/>
        <a:p>
          <a:r>
            <a:rPr lang="en-CA" dirty="0" smtClean="0"/>
            <a:t>Target System Publishing</a:t>
          </a:r>
        </a:p>
      </dgm:t>
    </dgm:pt>
    <dgm:pt modelId="{75685D82-6F1C-4917-A029-B7DFC842C091}" type="parTrans" cxnId="{8C58769E-EA4B-4876-85FF-3216F527A654}">
      <dgm:prSet/>
      <dgm:spPr/>
      <dgm:t>
        <a:bodyPr/>
        <a:lstStyle/>
        <a:p>
          <a:endParaRPr lang="en-CA"/>
        </a:p>
      </dgm:t>
    </dgm:pt>
    <dgm:pt modelId="{C3A76F86-47DD-49F0-B098-FBE3BEC50A91}" type="sibTrans" cxnId="{8C58769E-EA4B-4876-85FF-3216F527A654}">
      <dgm:prSet/>
      <dgm:spPr/>
      <dgm:t>
        <a:bodyPr/>
        <a:lstStyle/>
        <a:p>
          <a:endParaRPr lang="en-CA"/>
        </a:p>
      </dgm:t>
    </dgm:pt>
    <dgm:pt modelId="{93C1421F-F5EE-46D5-ADF3-1072098D1439}">
      <dgm:prSet phldrT="[Text]"/>
      <dgm:spPr/>
      <dgm:t>
        <a:bodyPr/>
        <a:lstStyle/>
        <a:p>
          <a:r>
            <a:rPr lang="en-CA" dirty="0" smtClean="0"/>
            <a:t>Rollback</a:t>
          </a:r>
          <a:endParaRPr lang="en-CA" dirty="0"/>
        </a:p>
      </dgm:t>
    </dgm:pt>
    <dgm:pt modelId="{85887C5E-E213-4B67-939E-8B85029BA5CF}" type="parTrans" cxnId="{7F10CF79-8F6B-4E28-9290-3D83590C5F4A}">
      <dgm:prSet/>
      <dgm:spPr/>
      <dgm:t>
        <a:bodyPr/>
        <a:lstStyle/>
        <a:p>
          <a:endParaRPr lang="en-CA"/>
        </a:p>
      </dgm:t>
    </dgm:pt>
    <dgm:pt modelId="{780A1592-2931-4198-BE13-588D51A0F413}" type="sibTrans" cxnId="{7F10CF79-8F6B-4E28-9290-3D83590C5F4A}">
      <dgm:prSet/>
      <dgm:spPr/>
      <dgm:t>
        <a:bodyPr/>
        <a:lstStyle/>
        <a:p>
          <a:endParaRPr lang="en-CA"/>
        </a:p>
      </dgm:t>
    </dgm:pt>
    <dgm:pt modelId="{999B15E2-CF32-4D69-AF09-E71A3D22098A}">
      <dgm:prSet phldrT="[Text]"/>
      <dgm:spPr>
        <a:solidFill>
          <a:srgbClr val="00285F"/>
        </a:solidFill>
      </dgm:spPr>
      <dgm:t>
        <a:bodyPr/>
        <a:lstStyle/>
        <a:p>
          <a:r>
            <a:rPr lang="en-CA" dirty="0" smtClean="0"/>
            <a:t>Mapping</a:t>
          </a:r>
        </a:p>
      </dgm:t>
    </dgm:pt>
    <dgm:pt modelId="{929A425D-6BCD-4306-BB84-83420E8C0BB1}" type="parTrans" cxnId="{430B1A8C-E430-4CA0-BDF5-D0C7A50841F9}">
      <dgm:prSet/>
      <dgm:spPr/>
      <dgm:t>
        <a:bodyPr/>
        <a:lstStyle/>
        <a:p>
          <a:endParaRPr lang="en-CA"/>
        </a:p>
      </dgm:t>
    </dgm:pt>
    <dgm:pt modelId="{80CA72C9-4F6B-4282-958C-D4673A667063}" type="sibTrans" cxnId="{430B1A8C-E430-4CA0-BDF5-D0C7A50841F9}">
      <dgm:prSet/>
      <dgm:spPr/>
      <dgm:t>
        <a:bodyPr/>
        <a:lstStyle/>
        <a:p>
          <a:endParaRPr lang="en-CA"/>
        </a:p>
      </dgm:t>
    </dgm:pt>
    <dgm:pt modelId="{3F898EDD-B700-4FE0-8FD9-083488F5F8D7}">
      <dgm:prSet phldrT="[Text]"/>
      <dgm:spPr>
        <a:solidFill>
          <a:srgbClr val="007B78"/>
        </a:solidFill>
      </dgm:spPr>
      <dgm:t>
        <a:bodyPr/>
        <a:lstStyle/>
        <a:p>
          <a:r>
            <a:rPr lang="en-CA" dirty="0" smtClean="0"/>
            <a:t>Sequencing</a:t>
          </a:r>
        </a:p>
      </dgm:t>
    </dgm:pt>
    <dgm:pt modelId="{B85C4002-E4DC-4129-8E61-FF3382B094DB}" type="parTrans" cxnId="{481F7BFB-F1BC-49E8-97B0-E756ED9DA4C9}">
      <dgm:prSet/>
      <dgm:spPr/>
      <dgm:t>
        <a:bodyPr/>
        <a:lstStyle/>
        <a:p>
          <a:endParaRPr lang="en-CA"/>
        </a:p>
      </dgm:t>
    </dgm:pt>
    <dgm:pt modelId="{5E740CB8-7A01-4DAB-AB6F-DCD0BBE52CE3}" type="sibTrans" cxnId="{481F7BFB-F1BC-49E8-97B0-E756ED9DA4C9}">
      <dgm:prSet/>
      <dgm:spPr/>
      <dgm:t>
        <a:bodyPr/>
        <a:lstStyle/>
        <a:p>
          <a:endParaRPr lang="en-CA"/>
        </a:p>
      </dgm:t>
    </dgm:pt>
    <dgm:pt modelId="{52A9EEEC-E730-4984-80C6-38E248B507A7}">
      <dgm:prSet phldrT="[Text]"/>
      <dgm:spPr/>
      <dgm:t>
        <a:bodyPr/>
        <a:lstStyle/>
        <a:p>
          <a:r>
            <a:rPr lang="en-CA" dirty="0" smtClean="0"/>
            <a:t>Exceptions</a:t>
          </a:r>
        </a:p>
      </dgm:t>
    </dgm:pt>
    <dgm:pt modelId="{EAC98B18-D380-4023-B853-11E8F525D4D9}" type="parTrans" cxnId="{BCC1BB21-E95B-4F18-A5C2-E1663E170E6A}">
      <dgm:prSet/>
      <dgm:spPr/>
      <dgm:t>
        <a:bodyPr/>
        <a:lstStyle/>
        <a:p>
          <a:endParaRPr lang="en-CA"/>
        </a:p>
      </dgm:t>
    </dgm:pt>
    <dgm:pt modelId="{8F3D7744-739F-4E7A-B87E-883908CE8E51}" type="sibTrans" cxnId="{BCC1BB21-E95B-4F18-A5C2-E1663E170E6A}">
      <dgm:prSet/>
      <dgm:spPr/>
      <dgm:t>
        <a:bodyPr/>
        <a:lstStyle/>
        <a:p>
          <a:endParaRPr lang="en-CA"/>
        </a:p>
      </dgm:t>
    </dgm:pt>
    <dgm:pt modelId="{498F3404-F2C3-491B-A98E-907463AB42E0}" type="pres">
      <dgm:prSet presAssocID="{7F39982F-431C-40A5-B289-9FDF548D3581}" presName="Name0" presStyleCnt="0">
        <dgm:presLayoutVars>
          <dgm:chPref val="1"/>
          <dgm:dir/>
          <dgm:animOne val="branch"/>
          <dgm:animLvl val="lvl"/>
          <dgm:resizeHandles/>
        </dgm:presLayoutVars>
      </dgm:prSet>
      <dgm:spPr/>
      <dgm:t>
        <a:bodyPr/>
        <a:lstStyle/>
        <a:p>
          <a:endParaRPr lang="en-CA"/>
        </a:p>
      </dgm:t>
    </dgm:pt>
    <dgm:pt modelId="{78F88878-D342-4284-900A-137D4E47823C}" type="pres">
      <dgm:prSet presAssocID="{0C62833B-7F99-421F-BB29-22C8B59277FB}" presName="vertOne" presStyleCnt="0"/>
      <dgm:spPr/>
    </dgm:pt>
    <dgm:pt modelId="{0CD20ABF-151A-48AB-ACCB-6C7D26FE880A}" type="pres">
      <dgm:prSet presAssocID="{0C62833B-7F99-421F-BB29-22C8B59277FB}" presName="txOne" presStyleLbl="node0" presStyleIdx="0" presStyleCnt="2">
        <dgm:presLayoutVars>
          <dgm:chPref val="3"/>
        </dgm:presLayoutVars>
      </dgm:prSet>
      <dgm:spPr/>
      <dgm:t>
        <a:bodyPr/>
        <a:lstStyle/>
        <a:p>
          <a:endParaRPr lang="en-CA"/>
        </a:p>
      </dgm:t>
    </dgm:pt>
    <dgm:pt modelId="{79D2A592-D4A2-4337-AB5A-7BF8C9B4108E}" type="pres">
      <dgm:prSet presAssocID="{0C62833B-7F99-421F-BB29-22C8B59277FB}" presName="parTransOne" presStyleCnt="0"/>
      <dgm:spPr/>
    </dgm:pt>
    <dgm:pt modelId="{AC3247BC-B6F0-4B4C-9ADC-B5722C4A349C}" type="pres">
      <dgm:prSet presAssocID="{0C62833B-7F99-421F-BB29-22C8B59277FB}" presName="horzOne" presStyleCnt="0"/>
      <dgm:spPr/>
    </dgm:pt>
    <dgm:pt modelId="{9B27672B-7C69-4415-81B7-0DC348EF4B77}" type="pres">
      <dgm:prSet presAssocID="{7E428E05-8B22-42E0-AA1E-9E33EC2DFBB1}" presName="vertTwo" presStyleCnt="0"/>
      <dgm:spPr/>
    </dgm:pt>
    <dgm:pt modelId="{A467A44E-0A15-4642-A6A4-66A420DC4EEF}" type="pres">
      <dgm:prSet presAssocID="{7E428E05-8B22-42E0-AA1E-9E33EC2DFBB1}" presName="txTwo" presStyleLbl="node2" presStyleIdx="0" presStyleCnt="2">
        <dgm:presLayoutVars>
          <dgm:chPref val="3"/>
        </dgm:presLayoutVars>
      </dgm:prSet>
      <dgm:spPr/>
      <dgm:t>
        <a:bodyPr/>
        <a:lstStyle/>
        <a:p>
          <a:endParaRPr lang="en-CA"/>
        </a:p>
      </dgm:t>
    </dgm:pt>
    <dgm:pt modelId="{3A199C49-A98A-47A2-A8AA-23A62872684D}" type="pres">
      <dgm:prSet presAssocID="{7E428E05-8B22-42E0-AA1E-9E33EC2DFBB1}" presName="parTransTwo" presStyleCnt="0"/>
      <dgm:spPr/>
    </dgm:pt>
    <dgm:pt modelId="{9E2A23FA-7CEA-4771-810F-A4AE55019153}" type="pres">
      <dgm:prSet presAssocID="{7E428E05-8B22-42E0-AA1E-9E33EC2DFBB1}" presName="horzTwo" presStyleCnt="0"/>
      <dgm:spPr/>
    </dgm:pt>
    <dgm:pt modelId="{2CFD24E8-DE09-4100-8297-B11A7A46CD93}" type="pres">
      <dgm:prSet presAssocID="{C57A9E6D-F0D4-4362-A617-38658A2EACFD}" presName="vertThree" presStyleCnt="0"/>
      <dgm:spPr/>
    </dgm:pt>
    <dgm:pt modelId="{888471A4-786E-42B1-817A-653A0F5A0CB3}" type="pres">
      <dgm:prSet presAssocID="{C57A9E6D-F0D4-4362-A617-38658A2EACFD}" presName="txThree" presStyleLbl="node3" presStyleIdx="0" presStyleCnt="6">
        <dgm:presLayoutVars>
          <dgm:chPref val="3"/>
        </dgm:presLayoutVars>
      </dgm:prSet>
      <dgm:spPr/>
      <dgm:t>
        <a:bodyPr/>
        <a:lstStyle/>
        <a:p>
          <a:endParaRPr lang="en-CA"/>
        </a:p>
      </dgm:t>
    </dgm:pt>
    <dgm:pt modelId="{E10484D1-0E3F-4973-90D0-A18C387E059D}" type="pres">
      <dgm:prSet presAssocID="{C57A9E6D-F0D4-4362-A617-38658A2EACFD}" presName="horzThree" presStyleCnt="0"/>
      <dgm:spPr/>
    </dgm:pt>
    <dgm:pt modelId="{1E8A29E4-7BEA-4B26-BC31-186A04C33B7D}" type="pres">
      <dgm:prSet presAssocID="{BC13954F-54D6-45DB-BB42-F85B3217FCE6}" presName="sibSpaceThree" presStyleCnt="0"/>
      <dgm:spPr/>
    </dgm:pt>
    <dgm:pt modelId="{0E456F23-BC29-467C-82F9-4088BCA9B79E}" type="pres">
      <dgm:prSet presAssocID="{813FDA44-1A4E-44BA-8FBF-199A83F886ED}" presName="vertThree" presStyleCnt="0"/>
      <dgm:spPr/>
    </dgm:pt>
    <dgm:pt modelId="{B4226CA6-2E5A-4FFA-85C3-CE3DD11FA0EA}" type="pres">
      <dgm:prSet presAssocID="{813FDA44-1A4E-44BA-8FBF-199A83F886ED}" presName="txThree" presStyleLbl="node3" presStyleIdx="1" presStyleCnt="6">
        <dgm:presLayoutVars>
          <dgm:chPref val="3"/>
        </dgm:presLayoutVars>
      </dgm:prSet>
      <dgm:spPr/>
      <dgm:t>
        <a:bodyPr/>
        <a:lstStyle/>
        <a:p>
          <a:endParaRPr lang="en-CA"/>
        </a:p>
      </dgm:t>
    </dgm:pt>
    <dgm:pt modelId="{D9C35434-6E4C-4AF4-A7F8-95CAF2ACCA73}" type="pres">
      <dgm:prSet presAssocID="{813FDA44-1A4E-44BA-8FBF-199A83F886ED}" presName="horzThree" presStyleCnt="0"/>
      <dgm:spPr/>
    </dgm:pt>
    <dgm:pt modelId="{A1B305A4-40C4-4672-8C7D-469A129BAEDF}" type="pres">
      <dgm:prSet presAssocID="{7057E05D-BA21-4D5D-AA15-7A34AE17A50A}" presName="sibSpaceThree" presStyleCnt="0"/>
      <dgm:spPr/>
    </dgm:pt>
    <dgm:pt modelId="{2A481D6E-3FC7-4CBD-B73C-B3AF8C639D52}" type="pres">
      <dgm:prSet presAssocID="{93C1421F-F5EE-46D5-ADF3-1072098D1439}" presName="vertThree" presStyleCnt="0"/>
      <dgm:spPr/>
    </dgm:pt>
    <dgm:pt modelId="{F8E21356-6202-4196-A695-6222DFF5E471}" type="pres">
      <dgm:prSet presAssocID="{93C1421F-F5EE-46D5-ADF3-1072098D1439}" presName="txThree" presStyleLbl="node3" presStyleIdx="2" presStyleCnt="6">
        <dgm:presLayoutVars>
          <dgm:chPref val="3"/>
        </dgm:presLayoutVars>
      </dgm:prSet>
      <dgm:spPr/>
      <dgm:t>
        <a:bodyPr/>
        <a:lstStyle/>
        <a:p>
          <a:endParaRPr lang="en-CA"/>
        </a:p>
      </dgm:t>
    </dgm:pt>
    <dgm:pt modelId="{1D8BCB71-6BAD-420D-A946-A697DBAF2C5C}" type="pres">
      <dgm:prSet presAssocID="{93C1421F-F5EE-46D5-ADF3-1072098D1439}" presName="horzThree" presStyleCnt="0"/>
      <dgm:spPr/>
    </dgm:pt>
    <dgm:pt modelId="{1A851818-DBD6-41FF-904A-CDD98E9A7584}" type="pres">
      <dgm:prSet presAssocID="{B022C9D6-302F-4D5B-A93C-507AD9042C90}" presName="sibSpaceOne" presStyleCnt="0"/>
      <dgm:spPr/>
    </dgm:pt>
    <dgm:pt modelId="{80732599-FDED-4BC6-AAE3-ED2BBCDEAFCD}" type="pres">
      <dgm:prSet presAssocID="{DE18D377-5697-4E82-81A4-7F2A4849AA4A}" presName="vertOne" presStyleCnt="0"/>
      <dgm:spPr/>
    </dgm:pt>
    <dgm:pt modelId="{A8BC8505-4D87-4E56-9976-840535097FA1}" type="pres">
      <dgm:prSet presAssocID="{DE18D377-5697-4E82-81A4-7F2A4849AA4A}" presName="txOne" presStyleLbl="node0" presStyleIdx="1" presStyleCnt="2">
        <dgm:presLayoutVars>
          <dgm:chPref val="3"/>
        </dgm:presLayoutVars>
      </dgm:prSet>
      <dgm:spPr/>
      <dgm:t>
        <a:bodyPr/>
        <a:lstStyle/>
        <a:p>
          <a:endParaRPr lang="en-CA"/>
        </a:p>
      </dgm:t>
    </dgm:pt>
    <dgm:pt modelId="{2331AFA5-9BD4-4FC5-93D9-CC744EC0E61C}" type="pres">
      <dgm:prSet presAssocID="{DE18D377-5697-4E82-81A4-7F2A4849AA4A}" presName="parTransOne" presStyleCnt="0"/>
      <dgm:spPr/>
    </dgm:pt>
    <dgm:pt modelId="{198B6483-3CAB-4378-A28A-1D5F3B56EEB4}" type="pres">
      <dgm:prSet presAssocID="{DE18D377-5697-4E82-81A4-7F2A4849AA4A}" presName="horzOne" presStyleCnt="0"/>
      <dgm:spPr/>
    </dgm:pt>
    <dgm:pt modelId="{550E8EA6-229D-49C5-A5C5-65F97C3980EC}" type="pres">
      <dgm:prSet presAssocID="{F1ACA930-DE0B-4D9E-9752-4EA8E5C292B5}" presName="vertTwo" presStyleCnt="0"/>
      <dgm:spPr/>
    </dgm:pt>
    <dgm:pt modelId="{6B1461E1-04F1-4AA2-BF13-8CE90B9398A0}" type="pres">
      <dgm:prSet presAssocID="{F1ACA930-DE0B-4D9E-9752-4EA8E5C292B5}" presName="txTwo" presStyleLbl="node2" presStyleIdx="1" presStyleCnt="2">
        <dgm:presLayoutVars>
          <dgm:chPref val="3"/>
        </dgm:presLayoutVars>
      </dgm:prSet>
      <dgm:spPr/>
      <dgm:t>
        <a:bodyPr/>
        <a:lstStyle/>
        <a:p>
          <a:endParaRPr lang="en-CA"/>
        </a:p>
      </dgm:t>
    </dgm:pt>
    <dgm:pt modelId="{F8BA7444-322B-4E82-856C-E05383114644}" type="pres">
      <dgm:prSet presAssocID="{F1ACA930-DE0B-4D9E-9752-4EA8E5C292B5}" presName="parTransTwo" presStyleCnt="0"/>
      <dgm:spPr/>
    </dgm:pt>
    <dgm:pt modelId="{13DF940B-76A2-45FC-91F5-2CAECB95DB43}" type="pres">
      <dgm:prSet presAssocID="{F1ACA930-DE0B-4D9E-9752-4EA8E5C292B5}" presName="horzTwo" presStyleCnt="0"/>
      <dgm:spPr/>
    </dgm:pt>
    <dgm:pt modelId="{5146E992-48C7-4B14-9F72-6B341AB1721C}" type="pres">
      <dgm:prSet presAssocID="{999B15E2-CF32-4D69-AF09-E71A3D22098A}" presName="vertThree" presStyleCnt="0"/>
      <dgm:spPr/>
    </dgm:pt>
    <dgm:pt modelId="{15358DB9-9508-4EB0-B94A-44CABF55AC69}" type="pres">
      <dgm:prSet presAssocID="{999B15E2-CF32-4D69-AF09-E71A3D22098A}" presName="txThree" presStyleLbl="node3" presStyleIdx="3" presStyleCnt="6">
        <dgm:presLayoutVars>
          <dgm:chPref val="3"/>
        </dgm:presLayoutVars>
      </dgm:prSet>
      <dgm:spPr/>
      <dgm:t>
        <a:bodyPr/>
        <a:lstStyle/>
        <a:p>
          <a:endParaRPr lang="en-CA"/>
        </a:p>
      </dgm:t>
    </dgm:pt>
    <dgm:pt modelId="{FDDAEB2E-52D9-4304-8DE4-544244C299E6}" type="pres">
      <dgm:prSet presAssocID="{999B15E2-CF32-4D69-AF09-E71A3D22098A}" presName="horzThree" presStyleCnt="0"/>
      <dgm:spPr/>
    </dgm:pt>
    <dgm:pt modelId="{4733A7B9-D57F-4CE1-B05A-4E5D06BEEBE6}" type="pres">
      <dgm:prSet presAssocID="{80CA72C9-4F6B-4282-958C-D4673A667063}" presName="sibSpaceThree" presStyleCnt="0"/>
      <dgm:spPr/>
    </dgm:pt>
    <dgm:pt modelId="{1D337348-2364-4B6F-BB08-15EDD06B379D}" type="pres">
      <dgm:prSet presAssocID="{3F898EDD-B700-4FE0-8FD9-083488F5F8D7}" presName="vertThree" presStyleCnt="0"/>
      <dgm:spPr/>
    </dgm:pt>
    <dgm:pt modelId="{ACE14E55-72B1-4B46-8728-F302E5862D0E}" type="pres">
      <dgm:prSet presAssocID="{3F898EDD-B700-4FE0-8FD9-083488F5F8D7}" presName="txThree" presStyleLbl="node3" presStyleIdx="4" presStyleCnt="6">
        <dgm:presLayoutVars>
          <dgm:chPref val="3"/>
        </dgm:presLayoutVars>
      </dgm:prSet>
      <dgm:spPr/>
      <dgm:t>
        <a:bodyPr/>
        <a:lstStyle/>
        <a:p>
          <a:endParaRPr lang="en-CA"/>
        </a:p>
      </dgm:t>
    </dgm:pt>
    <dgm:pt modelId="{0F06BFB3-FDA3-4331-ADDD-9705211CCA76}" type="pres">
      <dgm:prSet presAssocID="{3F898EDD-B700-4FE0-8FD9-083488F5F8D7}" presName="horzThree" presStyleCnt="0"/>
      <dgm:spPr/>
    </dgm:pt>
    <dgm:pt modelId="{1A3E1681-D66C-41B9-88A5-9C470E4E7B8B}" type="pres">
      <dgm:prSet presAssocID="{5E740CB8-7A01-4DAB-AB6F-DCD0BBE52CE3}" presName="sibSpaceThree" presStyleCnt="0"/>
      <dgm:spPr/>
    </dgm:pt>
    <dgm:pt modelId="{6CA302F4-125C-4271-9428-8F9B05464B2F}" type="pres">
      <dgm:prSet presAssocID="{52A9EEEC-E730-4984-80C6-38E248B507A7}" presName="vertThree" presStyleCnt="0"/>
      <dgm:spPr/>
    </dgm:pt>
    <dgm:pt modelId="{843EA97C-C119-4300-8CC2-1062C19B2F9F}" type="pres">
      <dgm:prSet presAssocID="{52A9EEEC-E730-4984-80C6-38E248B507A7}" presName="txThree" presStyleLbl="node3" presStyleIdx="5" presStyleCnt="6">
        <dgm:presLayoutVars>
          <dgm:chPref val="3"/>
        </dgm:presLayoutVars>
      </dgm:prSet>
      <dgm:spPr/>
      <dgm:t>
        <a:bodyPr/>
        <a:lstStyle/>
        <a:p>
          <a:endParaRPr lang="en-CA"/>
        </a:p>
      </dgm:t>
    </dgm:pt>
    <dgm:pt modelId="{ADBE424E-3DBA-4741-A1A8-B86D559E931B}" type="pres">
      <dgm:prSet presAssocID="{52A9EEEC-E730-4984-80C6-38E248B507A7}" presName="horzThree" presStyleCnt="0"/>
      <dgm:spPr/>
    </dgm:pt>
  </dgm:ptLst>
  <dgm:cxnLst>
    <dgm:cxn modelId="{D2B9DAB9-F90D-4A08-816C-CD0C1EB855A2}" srcId="{0C62833B-7F99-421F-BB29-22C8B59277FB}" destId="{7E428E05-8B22-42E0-AA1E-9E33EC2DFBB1}" srcOrd="0" destOrd="0" parTransId="{18F2A822-1F1B-42C5-80D9-F5C7198DB7C9}" sibTransId="{9E944F55-46A9-44E8-9A0E-A67215CA2832}"/>
    <dgm:cxn modelId="{693D184F-A2EF-4AB8-868C-684545EA5B6B}" type="presOf" srcId="{F1ACA930-DE0B-4D9E-9752-4EA8E5C292B5}" destId="{6B1461E1-04F1-4AA2-BF13-8CE90B9398A0}" srcOrd="0" destOrd="0" presId="urn:microsoft.com/office/officeart/2005/8/layout/hierarchy4"/>
    <dgm:cxn modelId="{B3879CBA-7DE8-469C-B16D-2E4B8148C28B}" srcId="{7E428E05-8B22-42E0-AA1E-9E33EC2DFBB1}" destId="{C57A9E6D-F0D4-4362-A617-38658A2EACFD}" srcOrd="0" destOrd="0" parTransId="{8D1D0DE3-C835-4D3C-BB7E-1024EE5844AA}" sibTransId="{BC13954F-54D6-45DB-BB42-F85B3217FCE6}"/>
    <dgm:cxn modelId="{C80ADA5D-EDDE-4039-AE76-5D16C5DEF4D6}" srcId="{7E428E05-8B22-42E0-AA1E-9E33EC2DFBB1}" destId="{813FDA44-1A4E-44BA-8FBF-199A83F886ED}" srcOrd="1" destOrd="0" parTransId="{0337049D-B279-4CDA-BC58-9012A6C8D866}" sibTransId="{7057E05D-BA21-4D5D-AA15-7A34AE17A50A}"/>
    <dgm:cxn modelId="{481F7BFB-F1BC-49E8-97B0-E756ED9DA4C9}" srcId="{F1ACA930-DE0B-4D9E-9752-4EA8E5C292B5}" destId="{3F898EDD-B700-4FE0-8FD9-083488F5F8D7}" srcOrd="1" destOrd="0" parTransId="{B85C4002-E4DC-4129-8E61-FF3382B094DB}" sibTransId="{5E740CB8-7A01-4DAB-AB6F-DCD0BBE52CE3}"/>
    <dgm:cxn modelId="{555DF1CA-DE17-4712-AD26-8D8CC84BB085}" type="presOf" srcId="{813FDA44-1A4E-44BA-8FBF-199A83F886ED}" destId="{B4226CA6-2E5A-4FFA-85C3-CE3DD11FA0EA}" srcOrd="0" destOrd="0" presId="urn:microsoft.com/office/officeart/2005/8/layout/hierarchy4"/>
    <dgm:cxn modelId="{E5E05983-1A71-43DD-A40D-148F7965A5CC}" type="presOf" srcId="{7F39982F-431C-40A5-B289-9FDF548D3581}" destId="{498F3404-F2C3-491B-A98E-907463AB42E0}" srcOrd="0" destOrd="0" presId="urn:microsoft.com/office/officeart/2005/8/layout/hierarchy4"/>
    <dgm:cxn modelId="{E77FD0A0-E64E-474E-9266-32E39EDA2CE2}" srcId="{7F39982F-431C-40A5-B289-9FDF548D3581}" destId="{0C62833B-7F99-421F-BB29-22C8B59277FB}" srcOrd="0" destOrd="0" parTransId="{F391242B-2CBC-454F-B2DF-0E39A1E563FC}" sibTransId="{B022C9D6-302F-4D5B-A93C-507AD9042C90}"/>
    <dgm:cxn modelId="{702E52A4-7564-4EBA-A02B-BC6995F8AA77}" type="presOf" srcId="{3F898EDD-B700-4FE0-8FD9-083488F5F8D7}" destId="{ACE14E55-72B1-4B46-8728-F302E5862D0E}" srcOrd="0" destOrd="0" presId="urn:microsoft.com/office/officeart/2005/8/layout/hierarchy4"/>
    <dgm:cxn modelId="{BCC1BB21-E95B-4F18-A5C2-E1663E170E6A}" srcId="{F1ACA930-DE0B-4D9E-9752-4EA8E5C292B5}" destId="{52A9EEEC-E730-4984-80C6-38E248B507A7}" srcOrd="2" destOrd="0" parTransId="{EAC98B18-D380-4023-B853-11E8F525D4D9}" sibTransId="{8F3D7744-739F-4E7A-B87E-883908CE8E51}"/>
    <dgm:cxn modelId="{038135F7-0D78-4959-ACED-BD78B44DCA73}" type="presOf" srcId="{999B15E2-CF32-4D69-AF09-E71A3D22098A}" destId="{15358DB9-9508-4EB0-B94A-44CABF55AC69}" srcOrd="0" destOrd="0" presId="urn:microsoft.com/office/officeart/2005/8/layout/hierarchy4"/>
    <dgm:cxn modelId="{7F10CF79-8F6B-4E28-9290-3D83590C5F4A}" srcId="{7E428E05-8B22-42E0-AA1E-9E33EC2DFBB1}" destId="{93C1421F-F5EE-46D5-ADF3-1072098D1439}" srcOrd="2" destOrd="0" parTransId="{85887C5E-E213-4B67-939E-8B85029BA5CF}" sibTransId="{780A1592-2931-4198-BE13-588D51A0F413}"/>
    <dgm:cxn modelId="{E5983852-6ABE-4B1B-9DBC-B53066A19B0A}" type="presOf" srcId="{93C1421F-F5EE-46D5-ADF3-1072098D1439}" destId="{F8E21356-6202-4196-A695-6222DFF5E471}" srcOrd="0" destOrd="0" presId="urn:microsoft.com/office/officeart/2005/8/layout/hierarchy4"/>
    <dgm:cxn modelId="{871A545F-A971-47D5-A3B9-C13D52208A9A}" type="presOf" srcId="{7E428E05-8B22-42E0-AA1E-9E33EC2DFBB1}" destId="{A467A44E-0A15-4642-A6A4-66A420DC4EEF}" srcOrd="0" destOrd="0" presId="urn:microsoft.com/office/officeart/2005/8/layout/hierarchy4"/>
    <dgm:cxn modelId="{85F10F79-4ECD-4D27-97DF-3A27D0229FA7}" srcId="{7F39982F-431C-40A5-B289-9FDF548D3581}" destId="{DE18D377-5697-4E82-81A4-7F2A4849AA4A}" srcOrd="1" destOrd="0" parTransId="{864D9F1D-4F2B-4886-A1B5-5EEF04380FE8}" sibTransId="{AA778D48-59A8-4AFB-9BF3-280F7A24D480}"/>
    <dgm:cxn modelId="{D7E95F75-F99C-4FC2-9468-6001FD004068}" type="presOf" srcId="{DE18D377-5697-4E82-81A4-7F2A4849AA4A}" destId="{A8BC8505-4D87-4E56-9976-840535097FA1}" srcOrd="0" destOrd="0" presId="urn:microsoft.com/office/officeart/2005/8/layout/hierarchy4"/>
    <dgm:cxn modelId="{CF6D27EE-13C3-4FE6-B1EA-487A23B53F6B}" type="presOf" srcId="{52A9EEEC-E730-4984-80C6-38E248B507A7}" destId="{843EA97C-C119-4300-8CC2-1062C19B2F9F}" srcOrd="0" destOrd="0" presId="urn:microsoft.com/office/officeart/2005/8/layout/hierarchy4"/>
    <dgm:cxn modelId="{4CA2FB7C-FCBC-43DC-BE72-53C5396F985D}" type="presOf" srcId="{0C62833B-7F99-421F-BB29-22C8B59277FB}" destId="{0CD20ABF-151A-48AB-ACCB-6C7D26FE880A}" srcOrd="0" destOrd="0" presId="urn:microsoft.com/office/officeart/2005/8/layout/hierarchy4"/>
    <dgm:cxn modelId="{4B858018-2815-4F59-AB57-9DA26FD9A42E}" type="presOf" srcId="{C57A9E6D-F0D4-4362-A617-38658A2EACFD}" destId="{888471A4-786E-42B1-817A-653A0F5A0CB3}" srcOrd="0" destOrd="0" presId="urn:microsoft.com/office/officeart/2005/8/layout/hierarchy4"/>
    <dgm:cxn modelId="{8C58769E-EA4B-4876-85FF-3216F527A654}" srcId="{DE18D377-5697-4E82-81A4-7F2A4849AA4A}" destId="{F1ACA930-DE0B-4D9E-9752-4EA8E5C292B5}" srcOrd="0" destOrd="0" parTransId="{75685D82-6F1C-4917-A029-B7DFC842C091}" sibTransId="{C3A76F86-47DD-49F0-B098-FBE3BEC50A91}"/>
    <dgm:cxn modelId="{430B1A8C-E430-4CA0-BDF5-D0C7A50841F9}" srcId="{F1ACA930-DE0B-4D9E-9752-4EA8E5C292B5}" destId="{999B15E2-CF32-4D69-AF09-E71A3D22098A}" srcOrd="0" destOrd="0" parTransId="{929A425D-6BCD-4306-BB84-83420E8C0BB1}" sibTransId="{80CA72C9-4F6B-4282-958C-D4673A667063}"/>
    <dgm:cxn modelId="{E5161E64-6485-4DD8-9DCA-EEB40C8E6BD1}" type="presParOf" srcId="{498F3404-F2C3-491B-A98E-907463AB42E0}" destId="{78F88878-D342-4284-900A-137D4E47823C}" srcOrd="0" destOrd="0" presId="urn:microsoft.com/office/officeart/2005/8/layout/hierarchy4"/>
    <dgm:cxn modelId="{A03D867E-1AE0-4328-869F-602B9792AB7B}" type="presParOf" srcId="{78F88878-D342-4284-900A-137D4E47823C}" destId="{0CD20ABF-151A-48AB-ACCB-6C7D26FE880A}" srcOrd="0" destOrd="0" presId="urn:microsoft.com/office/officeart/2005/8/layout/hierarchy4"/>
    <dgm:cxn modelId="{E7BFB13C-F0AA-4B91-929F-084C628869D4}" type="presParOf" srcId="{78F88878-D342-4284-900A-137D4E47823C}" destId="{79D2A592-D4A2-4337-AB5A-7BF8C9B4108E}" srcOrd="1" destOrd="0" presId="urn:microsoft.com/office/officeart/2005/8/layout/hierarchy4"/>
    <dgm:cxn modelId="{09C65D83-DB47-4568-824E-AEEA5CCD8D74}" type="presParOf" srcId="{78F88878-D342-4284-900A-137D4E47823C}" destId="{AC3247BC-B6F0-4B4C-9ADC-B5722C4A349C}" srcOrd="2" destOrd="0" presId="urn:microsoft.com/office/officeart/2005/8/layout/hierarchy4"/>
    <dgm:cxn modelId="{B3741D30-74B6-4335-A2BA-37444B48D461}" type="presParOf" srcId="{AC3247BC-B6F0-4B4C-9ADC-B5722C4A349C}" destId="{9B27672B-7C69-4415-81B7-0DC348EF4B77}" srcOrd="0" destOrd="0" presId="urn:microsoft.com/office/officeart/2005/8/layout/hierarchy4"/>
    <dgm:cxn modelId="{1488A461-27BD-4E3A-9668-3705E610AAA8}" type="presParOf" srcId="{9B27672B-7C69-4415-81B7-0DC348EF4B77}" destId="{A467A44E-0A15-4642-A6A4-66A420DC4EEF}" srcOrd="0" destOrd="0" presId="urn:microsoft.com/office/officeart/2005/8/layout/hierarchy4"/>
    <dgm:cxn modelId="{98A25C7F-24FE-4F28-83FC-EA6E8DC90342}" type="presParOf" srcId="{9B27672B-7C69-4415-81B7-0DC348EF4B77}" destId="{3A199C49-A98A-47A2-A8AA-23A62872684D}" srcOrd="1" destOrd="0" presId="urn:microsoft.com/office/officeart/2005/8/layout/hierarchy4"/>
    <dgm:cxn modelId="{485CEC10-0611-4599-BE39-4B890067A487}" type="presParOf" srcId="{9B27672B-7C69-4415-81B7-0DC348EF4B77}" destId="{9E2A23FA-7CEA-4771-810F-A4AE55019153}" srcOrd="2" destOrd="0" presId="urn:microsoft.com/office/officeart/2005/8/layout/hierarchy4"/>
    <dgm:cxn modelId="{AD6AD847-3941-4DD9-82C8-9F91FFDD757F}" type="presParOf" srcId="{9E2A23FA-7CEA-4771-810F-A4AE55019153}" destId="{2CFD24E8-DE09-4100-8297-B11A7A46CD93}" srcOrd="0" destOrd="0" presId="urn:microsoft.com/office/officeart/2005/8/layout/hierarchy4"/>
    <dgm:cxn modelId="{A32042EF-4116-449A-A3C7-E1EFC46AC65B}" type="presParOf" srcId="{2CFD24E8-DE09-4100-8297-B11A7A46CD93}" destId="{888471A4-786E-42B1-817A-653A0F5A0CB3}" srcOrd="0" destOrd="0" presId="urn:microsoft.com/office/officeart/2005/8/layout/hierarchy4"/>
    <dgm:cxn modelId="{F920D9A3-4655-4FAB-8E4A-D5C8EBEB33A5}" type="presParOf" srcId="{2CFD24E8-DE09-4100-8297-B11A7A46CD93}" destId="{E10484D1-0E3F-4973-90D0-A18C387E059D}" srcOrd="1" destOrd="0" presId="urn:microsoft.com/office/officeart/2005/8/layout/hierarchy4"/>
    <dgm:cxn modelId="{25E8ECDC-FCC2-4314-924B-E487FB341D24}" type="presParOf" srcId="{9E2A23FA-7CEA-4771-810F-A4AE55019153}" destId="{1E8A29E4-7BEA-4B26-BC31-186A04C33B7D}" srcOrd="1" destOrd="0" presId="urn:microsoft.com/office/officeart/2005/8/layout/hierarchy4"/>
    <dgm:cxn modelId="{BD79DE35-002D-4034-945C-A58048B4AA2A}" type="presParOf" srcId="{9E2A23FA-7CEA-4771-810F-A4AE55019153}" destId="{0E456F23-BC29-467C-82F9-4088BCA9B79E}" srcOrd="2" destOrd="0" presId="urn:microsoft.com/office/officeart/2005/8/layout/hierarchy4"/>
    <dgm:cxn modelId="{423E862E-7F58-434C-86D3-85ADF114BB5C}" type="presParOf" srcId="{0E456F23-BC29-467C-82F9-4088BCA9B79E}" destId="{B4226CA6-2E5A-4FFA-85C3-CE3DD11FA0EA}" srcOrd="0" destOrd="0" presId="urn:microsoft.com/office/officeart/2005/8/layout/hierarchy4"/>
    <dgm:cxn modelId="{4700B122-9124-4B52-A5F2-EB509B603011}" type="presParOf" srcId="{0E456F23-BC29-467C-82F9-4088BCA9B79E}" destId="{D9C35434-6E4C-4AF4-A7F8-95CAF2ACCA73}" srcOrd="1" destOrd="0" presId="urn:microsoft.com/office/officeart/2005/8/layout/hierarchy4"/>
    <dgm:cxn modelId="{20272175-7E9C-4502-B0BB-76544C08095B}" type="presParOf" srcId="{9E2A23FA-7CEA-4771-810F-A4AE55019153}" destId="{A1B305A4-40C4-4672-8C7D-469A129BAEDF}" srcOrd="3" destOrd="0" presId="urn:microsoft.com/office/officeart/2005/8/layout/hierarchy4"/>
    <dgm:cxn modelId="{46702827-A699-40CA-86A3-1421B6EC3ABE}" type="presParOf" srcId="{9E2A23FA-7CEA-4771-810F-A4AE55019153}" destId="{2A481D6E-3FC7-4CBD-B73C-B3AF8C639D52}" srcOrd="4" destOrd="0" presId="urn:microsoft.com/office/officeart/2005/8/layout/hierarchy4"/>
    <dgm:cxn modelId="{EC5CA07D-6E50-416B-BC22-5701FF0F44BB}" type="presParOf" srcId="{2A481D6E-3FC7-4CBD-B73C-B3AF8C639D52}" destId="{F8E21356-6202-4196-A695-6222DFF5E471}" srcOrd="0" destOrd="0" presId="urn:microsoft.com/office/officeart/2005/8/layout/hierarchy4"/>
    <dgm:cxn modelId="{4C2E0DA1-E44D-4968-AA09-C30334858933}" type="presParOf" srcId="{2A481D6E-3FC7-4CBD-B73C-B3AF8C639D52}" destId="{1D8BCB71-6BAD-420D-A946-A697DBAF2C5C}" srcOrd="1" destOrd="0" presId="urn:microsoft.com/office/officeart/2005/8/layout/hierarchy4"/>
    <dgm:cxn modelId="{1BC383A0-68CE-49AE-84B8-467A324B4EA3}" type="presParOf" srcId="{498F3404-F2C3-491B-A98E-907463AB42E0}" destId="{1A851818-DBD6-41FF-904A-CDD98E9A7584}" srcOrd="1" destOrd="0" presId="urn:microsoft.com/office/officeart/2005/8/layout/hierarchy4"/>
    <dgm:cxn modelId="{B6EBFFF9-EF39-43A1-9EC8-DC23FE29E72B}" type="presParOf" srcId="{498F3404-F2C3-491B-A98E-907463AB42E0}" destId="{80732599-FDED-4BC6-AAE3-ED2BBCDEAFCD}" srcOrd="2" destOrd="0" presId="urn:microsoft.com/office/officeart/2005/8/layout/hierarchy4"/>
    <dgm:cxn modelId="{C0FD9293-A338-467C-9AC8-1536EFB7ECEB}" type="presParOf" srcId="{80732599-FDED-4BC6-AAE3-ED2BBCDEAFCD}" destId="{A8BC8505-4D87-4E56-9976-840535097FA1}" srcOrd="0" destOrd="0" presId="urn:microsoft.com/office/officeart/2005/8/layout/hierarchy4"/>
    <dgm:cxn modelId="{60209B1A-CEB9-4FDD-A6A8-23C8F0C99A38}" type="presParOf" srcId="{80732599-FDED-4BC6-AAE3-ED2BBCDEAFCD}" destId="{2331AFA5-9BD4-4FC5-93D9-CC744EC0E61C}" srcOrd="1" destOrd="0" presId="urn:microsoft.com/office/officeart/2005/8/layout/hierarchy4"/>
    <dgm:cxn modelId="{EB771CDF-B917-4DC8-B536-C82C28BB0D93}" type="presParOf" srcId="{80732599-FDED-4BC6-AAE3-ED2BBCDEAFCD}" destId="{198B6483-3CAB-4378-A28A-1D5F3B56EEB4}" srcOrd="2" destOrd="0" presId="urn:microsoft.com/office/officeart/2005/8/layout/hierarchy4"/>
    <dgm:cxn modelId="{47557F24-6481-4AB5-9CB5-1552AE8F7472}" type="presParOf" srcId="{198B6483-3CAB-4378-A28A-1D5F3B56EEB4}" destId="{550E8EA6-229D-49C5-A5C5-65F97C3980EC}" srcOrd="0" destOrd="0" presId="urn:microsoft.com/office/officeart/2005/8/layout/hierarchy4"/>
    <dgm:cxn modelId="{226F812D-E4AC-44BD-881E-244EFF9FF181}" type="presParOf" srcId="{550E8EA6-229D-49C5-A5C5-65F97C3980EC}" destId="{6B1461E1-04F1-4AA2-BF13-8CE90B9398A0}" srcOrd="0" destOrd="0" presId="urn:microsoft.com/office/officeart/2005/8/layout/hierarchy4"/>
    <dgm:cxn modelId="{52306FC9-A943-437C-921A-05D82226B9AB}" type="presParOf" srcId="{550E8EA6-229D-49C5-A5C5-65F97C3980EC}" destId="{F8BA7444-322B-4E82-856C-E05383114644}" srcOrd="1" destOrd="0" presId="urn:microsoft.com/office/officeart/2005/8/layout/hierarchy4"/>
    <dgm:cxn modelId="{D4CEB651-3265-4E07-91F7-575A9C926E15}" type="presParOf" srcId="{550E8EA6-229D-49C5-A5C5-65F97C3980EC}" destId="{13DF940B-76A2-45FC-91F5-2CAECB95DB43}" srcOrd="2" destOrd="0" presId="urn:microsoft.com/office/officeart/2005/8/layout/hierarchy4"/>
    <dgm:cxn modelId="{8BB9A873-B59D-4947-9E98-01B2C14071CC}" type="presParOf" srcId="{13DF940B-76A2-45FC-91F5-2CAECB95DB43}" destId="{5146E992-48C7-4B14-9F72-6B341AB1721C}" srcOrd="0" destOrd="0" presId="urn:microsoft.com/office/officeart/2005/8/layout/hierarchy4"/>
    <dgm:cxn modelId="{9E3401DB-2F15-4422-992A-ABE2F81E97DC}" type="presParOf" srcId="{5146E992-48C7-4B14-9F72-6B341AB1721C}" destId="{15358DB9-9508-4EB0-B94A-44CABF55AC69}" srcOrd="0" destOrd="0" presId="urn:microsoft.com/office/officeart/2005/8/layout/hierarchy4"/>
    <dgm:cxn modelId="{950F52A1-151B-4E89-A8EF-70575E573444}" type="presParOf" srcId="{5146E992-48C7-4B14-9F72-6B341AB1721C}" destId="{FDDAEB2E-52D9-4304-8DE4-544244C299E6}" srcOrd="1" destOrd="0" presId="urn:microsoft.com/office/officeart/2005/8/layout/hierarchy4"/>
    <dgm:cxn modelId="{29A6DFC6-1F67-4BDE-8A4F-7264DEDEE6A5}" type="presParOf" srcId="{13DF940B-76A2-45FC-91F5-2CAECB95DB43}" destId="{4733A7B9-D57F-4CE1-B05A-4E5D06BEEBE6}" srcOrd="1" destOrd="0" presId="urn:microsoft.com/office/officeart/2005/8/layout/hierarchy4"/>
    <dgm:cxn modelId="{19742EAA-95A6-4F59-A4BA-203DFDAC349F}" type="presParOf" srcId="{13DF940B-76A2-45FC-91F5-2CAECB95DB43}" destId="{1D337348-2364-4B6F-BB08-15EDD06B379D}" srcOrd="2" destOrd="0" presId="urn:microsoft.com/office/officeart/2005/8/layout/hierarchy4"/>
    <dgm:cxn modelId="{A4CAFAC2-9C19-4955-8DF6-BD99D5EA8282}" type="presParOf" srcId="{1D337348-2364-4B6F-BB08-15EDD06B379D}" destId="{ACE14E55-72B1-4B46-8728-F302E5862D0E}" srcOrd="0" destOrd="0" presId="urn:microsoft.com/office/officeart/2005/8/layout/hierarchy4"/>
    <dgm:cxn modelId="{0F948D0F-8118-44B6-B3F1-AD545E7BF88E}" type="presParOf" srcId="{1D337348-2364-4B6F-BB08-15EDD06B379D}" destId="{0F06BFB3-FDA3-4331-ADDD-9705211CCA76}" srcOrd="1" destOrd="0" presId="urn:microsoft.com/office/officeart/2005/8/layout/hierarchy4"/>
    <dgm:cxn modelId="{1137C80B-13B9-409E-B49F-9E6025DFCEB5}" type="presParOf" srcId="{13DF940B-76A2-45FC-91F5-2CAECB95DB43}" destId="{1A3E1681-D66C-41B9-88A5-9C470E4E7B8B}" srcOrd="3" destOrd="0" presId="urn:microsoft.com/office/officeart/2005/8/layout/hierarchy4"/>
    <dgm:cxn modelId="{4C68292C-B04B-48C8-B612-AACD0C57A435}" type="presParOf" srcId="{13DF940B-76A2-45FC-91F5-2CAECB95DB43}" destId="{6CA302F4-125C-4271-9428-8F9B05464B2F}" srcOrd="4" destOrd="0" presId="urn:microsoft.com/office/officeart/2005/8/layout/hierarchy4"/>
    <dgm:cxn modelId="{EB063E8D-3667-468D-B8CD-DD10B6AE6370}" type="presParOf" srcId="{6CA302F4-125C-4271-9428-8F9B05464B2F}" destId="{843EA97C-C119-4300-8CC2-1062C19B2F9F}" srcOrd="0" destOrd="0" presId="urn:microsoft.com/office/officeart/2005/8/layout/hierarchy4"/>
    <dgm:cxn modelId="{3EC8FE11-3C59-4AC4-B1F9-26EFB25D1919}" type="presParOf" srcId="{6CA302F4-125C-4271-9428-8F9B05464B2F}" destId="{ADBE424E-3DBA-4741-A1A8-B86D559E931B}"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F39982F-431C-40A5-B289-9FDF548D3581}"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CA"/>
        </a:p>
      </dgm:t>
    </dgm:pt>
    <dgm:pt modelId="{0C62833B-7F99-421F-BB29-22C8B59277FB}">
      <dgm:prSet phldrT="[Text]"/>
      <dgm:spPr>
        <a:solidFill>
          <a:srgbClr val="FABB00"/>
        </a:solidFill>
      </dgm:spPr>
      <dgm:t>
        <a:bodyPr/>
        <a:lstStyle/>
        <a:p>
          <a:r>
            <a:rPr lang="en-CA" dirty="0" smtClean="0"/>
            <a:t>Publishing Framework</a:t>
          </a:r>
          <a:endParaRPr lang="en-CA" dirty="0"/>
        </a:p>
      </dgm:t>
    </dgm:pt>
    <dgm:pt modelId="{F391242B-2CBC-454F-B2DF-0E39A1E563FC}" type="parTrans" cxnId="{E77FD0A0-E64E-474E-9266-32E39EDA2CE2}">
      <dgm:prSet/>
      <dgm:spPr/>
      <dgm:t>
        <a:bodyPr/>
        <a:lstStyle/>
        <a:p>
          <a:endParaRPr lang="en-CA"/>
        </a:p>
      </dgm:t>
    </dgm:pt>
    <dgm:pt modelId="{B022C9D6-302F-4D5B-A93C-507AD9042C90}" type="sibTrans" cxnId="{E77FD0A0-E64E-474E-9266-32E39EDA2CE2}">
      <dgm:prSet/>
      <dgm:spPr/>
      <dgm:t>
        <a:bodyPr/>
        <a:lstStyle/>
        <a:p>
          <a:endParaRPr lang="en-CA"/>
        </a:p>
      </dgm:t>
    </dgm:pt>
    <dgm:pt modelId="{7E428E05-8B22-42E0-AA1E-9E33EC2DFBB1}">
      <dgm:prSet phldrT="[Text]"/>
      <dgm:spPr>
        <a:solidFill>
          <a:srgbClr val="F08A00"/>
        </a:solidFill>
      </dgm:spPr>
      <dgm:t>
        <a:bodyPr/>
        <a:lstStyle/>
        <a:p>
          <a:r>
            <a:rPr lang="en-CA" dirty="0" smtClean="0"/>
            <a:t>Cross-Adaptor Orchestration</a:t>
          </a:r>
          <a:endParaRPr lang="en-CA" dirty="0"/>
        </a:p>
      </dgm:t>
    </dgm:pt>
    <dgm:pt modelId="{18F2A822-1F1B-42C5-80D9-F5C7198DB7C9}" type="parTrans" cxnId="{D2B9DAB9-F90D-4A08-816C-CD0C1EB855A2}">
      <dgm:prSet/>
      <dgm:spPr/>
      <dgm:t>
        <a:bodyPr/>
        <a:lstStyle/>
        <a:p>
          <a:endParaRPr lang="en-CA"/>
        </a:p>
      </dgm:t>
    </dgm:pt>
    <dgm:pt modelId="{9E944F55-46A9-44E8-9A0E-A67215CA2832}" type="sibTrans" cxnId="{D2B9DAB9-F90D-4A08-816C-CD0C1EB855A2}">
      <dgm:prSet/>
      <dgm:spPr/>
      <dgm:t>
        <a:bodyPr/>
        <a:lstStyle/>
        <a:p>
          <a:endParaRPr lang="en-CA"/>
        </a:p>
      </dgm:t>
    </dgm:pt>
    <dgm:pt modelId="{C57A9E6D-F0D4-4362-A617-38658A2EACFD}">
      <dgm:prSet phldrT="[Text]"/>
      <dgm:spPr>
        <a:solidFill>
          <a:srgbClr val="00285F"/>
        </a:solidFill>
      </dgm:spPr>
      <dgm:t>
        <a:bodyPr/>
        <a:lstStyle/>
        <a:p>
          <a:r>
            <a:rPr lang="en-CA" dirty="0" smtClean="0"/>
            <a:t>Sequencing</a:t>
          </a:r>
          <a:endParaRPr lang="en-CA" dirty="0"/>
        </a:p>
      </dgm:t>
    </dgm:pt>
    <dgm:pt modelId="{8D1D0DE3-C835-4D3C-BB7E-1024EE5844AA}" type="parTrans" cxnId="{B3879CBA-7DE8-469C-B16D-2E4B8148C28B}">
      <dgm:prSet/>
      <dgm:spPr/>
      <dgm:t>
        <a:bodyPr/>
        <a:lstStyle/>
        <a:p>
          <a:endParaRPr lang="en-CA"/>
        </a:p>
      </dgm:t>
    </dgm:pt>
    <dgm:pt modelId="{BC13954F-54D6-45DB-BB42-F85B3217FCE6}" type="sibTrans" cxnId="{B3879CBA-7DE8-469C-B16D-2E4B8148C28B}">
      <dgm:prSet/>
      <dgm:spPr/>
      <dgm:t>
        <a:bodyPr/>
        <a:lstStyle/>
        <a:p>
          <a:endParaRPr lang="en-CA"/>
        </a:p>
      </dgm:t>
    </dgm:pt>
    <dgm:pt modelId="{813FDA44-1A4E-44BA-8FBF-199A83F886ED}">
      <dgm:prSet phldrT="[Text]"/>
      <dgm:spPr>
        <a:solidFill>
          <a:srgbClr val="007B78"/>
        </a:solidFill>
      </dgm:spPr>
      <dgm:t>
        <a:bodyPr/>
        <a:lstStyle/>
        <a:p>
          <a:r>
            <a:rPr lang="en-CA" dirty="0" smtClean="0"/>
            <a:t>Exception Management</a:t>
          </a:r>
          <a:endParaRPr lang="en-CA" dirty="0"/>
        </a:p>
      </dgm:t>
    </dgm:pt>
    <dgm:pt modelId="{0337049D-B279-4CDA-BC58-9012A6C8D866}" type="parTrans" cxnId="{C80ADA5D-EDDE-4039-AE76-5D16C5DEF4D6}">
      <dgm:prSet/>
      <dgm:spPr/>
      <dgm:t>
        <a:bodyPr/>
        <a:lstStyle/>
        <a:p>
          <a:endParaRPr lang="en-CA"/>
        </a:p>
      </dgm:t>
    </dgm:pt>
    <dgm:pt modelId="{7057E05D-BA21-4D5D-AA15-7A34AE17A50A}" type="sibTrans" cxnId="{C80ADA5D-EDDE-4039-AE76-5D16C5DEF4D6}">
      <dgm:prSet/>
      <dgm:spPr/>
      <dgm:t>
        <a:bodyPr/>
        <a:lstStyle/>
        <a:p>
          <a:endParaRPr lang="en-CA"/>
        </a:p>
      </dgm:t>
    </dgm:pt>
    <dgm:pt modelId="{DE18D377-5697-4E82-81A4-7F2A4849AA4A}">
      <dgm:prSet phldrT="[Text]"/>
      <dgm:spPr>
        <a:solidFill>
          <a:srgbClr val="00A9D4"/>
        </a:solidFill>
      </dgm:spPr>
      <dgm:t>
        <a:bodyPr/>
        <a:lstStyle/>
        <a:p>
          <a:r>
            <a:rPr lang="en-CA" dirty="0" smtClean="0"/>
            <a:t>Adaptor</a:t>
          </a:r>
          <a:endParaRPr lang="en-CA" dirty="0"/>
        </a:p>
      </dgm:t>
    </dgm:pt>
    <dgm:pt modelId="{864D9F1D-4F2B-4886-A1B5-5EEF04380FE8}" type="parTrans" cxnId="{85F10F79-4ECD-4D27-97DF-3A27D0229FA7}">
      <dgm:prSet/>
      <dgm:spPr/>
      <dgm:t>
        <a:bodyPr/>
        <a:lstStyle/>
        <a:p>
          <a:endParaRPr lang="en-CA"/>
        </a:p>
      </dgm:t>
    </dgm:pt>
    <dgm:pt modelId="{AA778D48-59A8-4AFB-9BF3-280F7A24D480}" type="sibTrans" cxnId="{85F10F79-4ECD-4D27-97DF-3A27D0229FA7}">
      <dgm:prSet/>
      <dgm:spPr/>
      <dgm:t>
        <a:bodyPr/>
        <a:lstStyle/>
        <a:p>
          <a:endParaRPr lang="en-CA"/>
        </a:p>
      </dgm:t>
    </dgm:pt>
    <dgm:pt modelId="{F1ACA930-DE0B-4D9E-9752-4EA8E5C292B5}">
      <dgm:prSet phldrT="[Text]"/>
      <dgm:spPr>
        <a:solidFill>
          <a:srgbClr val="8F3F7B"/>
        </a:solidFill>
      </dgm:spPr>
      <dgm:t>
        <a:bodyPr/>
        <a:lstStyle/>
        <a:p>
          <a:r>
            <a:rPr lang="en-CA" dirty="0" smtClean="0"/>
            <a:t>Target System Publishing</a:t>
          </a:r>
        </a:p>
      </dgm:t>
    </dgm:pt>
    <dgm:pt modelId="{75685D82-6F1C-4917-A029-B7DFC842C091}" type="parTrans" cxnId="{8C58769E-EA4B-4876-85FF-3216F527A654}">
      <dgm:prSet/>
      <dgm:spPr/>
      <dgm:t>
        <a:bodyPr/>
        <a:lstStyle/>
        <a:p>
          <a:endParaRPr lang="en-CA"/>
        </a:p>
      </dgm:t>
    </dgm:pt>
    <dgm:pt modelId="{C3A76F86-47DD-49F0-B098-FBE3BEC50A91}" type="sibTrans" cxnId="{8C58769E-EA4B-4876-85FF-3216F527A654}">
      <dgm:prSet/>
      <dgm:spPr/>
      <dgm:t>
        <a:bodyPr/>
        <a:lstStyle/>
        <a:p>
          <a:endParaRPr lang="en-CA"/>
        </a:p>
      </dgm:t>
    </dgm:pt>
    <dgm:pt modelId="{93C1421F-F5EE-46D5-ADF3-1072098D1439}">
      <dgm:prSet phldrT="[Text]"/>
      <dgm:spPr/>
      <dgm:t>
        <a:bodyPr/>
        <a:lstStyle/>
        <a:p>
          <a:r>
            <a:rPr lang="en-CA" dirty="0" smtClean="0"/>
            <a:t>Rollback</a:t>
          </a:r>
          <a:endParaRPr lang="en-CA" dirty="0"/>
        </a:p>
      </dgm:t>
    </dgm:pt>
    <dgm:pt modelId="{85887C5E-E213-4B67-939E-8B85029BA5CF}" type="parTrans" cxnId="{7F10CF79-8F6B-4E28-9290-3D83590C5F4A}">
      <dgm:prSet/>
      <dgm:spPr/>
      <dgm:t>
        <a:bodyPr/>
        <a:lstStyle/>
        <a:p>
          <a:endParaRPr lang="en-CA"/>
        </a:p>
      </dgm:t>
    </dgm:pt>
    <dgm:pt modelId="{780A1592-2931-4198-BE13-588D51A0F413}" type="sibTrans" cxnId="{7F10CF79-8F6B-4E28-9290-3D83590C5F4A}">
      <dgm:prSet/>
      <dgm:spPr/>
      <dgm:t>
        <a:bodyPr/>
        <a:lstStyle/>
        <a:p>
          <a:endParaRPr lang="en-CA"/>
        </a:p>
      </dgm:t>
    </dgm:pt>
    <dgm:pt modelId="{999B15E2-CF32-4D69-AF09-E71A3D22098A}">
      <dgm:prSet phldrT="[Text]"/>
      <dgm:spPr>
        <a:solidFill>
          <a:srgbClr val="00285F"/>
        </a:solidFill>
      </dgm:spPr>
      <dgm:t>
        <a:bodyPr/>
        <a:lstStyle/>
        <a:p>
          <a:r>
            <a:rPr lang="en-CA" dirty="0" smtClean="0"/>
            <a:t>Mapping</a:t>
          </a:r>
        </a:p>
      </dgm:t>
    </dgm:pt>
    <dgm:pt modelId="{929A425D-6BCD-4306-BB84-83420E8C0BB1}" type="parTrans" cxnId="{430B1A8C-E430-4CA0-BDF5-D0C7A50841F9}">
      <dgm:prSet/>
      <dgm:spPr/>
      <dgm:t>
        <a:bodyPr/>
        <a:lstStyle/>
        <a:p>
          <a:endParaRPr lang="en-CA"/>
        </a:p>
      </dgm:t>
    </dgm:pt>
    <dgm:pt modelId="{80CA72C9-4F6B-4282-958C-D4673A667063}" type="sibTrans" cxnId="{430B1A8C-E430-4CA0-BDF5-D0C7A50841F9}">
      <dgm:prSet/>
      <dgm:spPr/>
      <dgm:t>
        <a:bodyPr/>
        <a:lstStyle/>
        <a:p>
          <a:endParaRPr lang="en-CA"/>
        </a:p>
      </dgm:t>
    </dgm:pt>
    <dgm:pt modelId="{3F898EDD-B700-4FE0-8FD9-083488F5F8D7}">
      <dgm:prSet phldrT="[Text]"/>
      <dgm:spPr>
        <a:solidFill>
          <a:srgbClr val="007B78"/>
        </a:solidFill>
      </dgm:spPr>
      <dgm:t>
        <a:bodyPr/>
        <a:lstStyle/>
        <a:p>
          <a:r>
            <a:rPr lang="en-CA" dirty="0" smtClean="0"/>
            <a:t>Sequencing</a:t>
          </a:r>
        </a:p>
      </dgm:t>
    </dgm:pt>
    <dgm:pt modelId="{B85C4002-E4DC-4129-8E61-FF3382B094DB}" type="parTrans" cxnId="{481F7BFB-F1BC-49E8-97B0-E756ED9DA4C9}">
      <dgm:prSet/>
      <dgm:spPr/>
      <dgm:t>
        <a:bodyPr/>
        <a:lstStyle/>
        <a:p>
          <a:endParaRPr lang="en-CA"/>
        </a:p>
      </dgm:t>
    </dgm:pt>
    <dgm:pt modelId="{5E740CB8-7A01-4DAB-AB6F-DCD0BBE52CE3}" type="sibTrans" cxnId="{481F7BFB-F1BC-49E8-97B0-E756ED9DA4C9}">
      <dgm:prSet/>
      <dgm:spPr/>
      <dgm:t>
        <a:bodyPr/>
        <a:lstStyle/>
        <a:p>
          <a:endParaRPr lang="en-CA"/>
        </a:p>
      </dgm:t>
    </dgm:pt>
    <dgm:pt modelId="{52A9EEEC-E730-4984-80C6-38E248B507A7}">
      <dgm:prSet phldrT="[Text]"/>
      <dgm:spPr/>
      <dgm:t>
        <a:bodyPr/>
        <a:lstStyle/>
        <a:p>
          <a:r>
            <a:rPr lang="en-CA" dirty="0" smtClean="0"/>
            <a:t>Exceptions</a:t>
          </a:r>
        </a:p>
      </dgm:t>
    </dgm:pt>
    <dgm:pt modelId="{EAC98B18-D380-4023-B853-11E8F525D4D9}" type="parTrans" cxnId="{BCC1BB21-E95B-4F18-A5C2-E1663E170E6A}">
      <dgm:prSet/>
      <dgm:spPr/>
      <dgm:t>
        <a:bodyPr/>
        <a:lstStyle/>
        <a:p>
          <a:endParaRPr lang="en-CA"/>
        </a:p>
      </dgm:t>
    </dgm:pt>
    <dgm:pt modelId="{8F3D7744-739F-4E7A-B87E-883908CE8E51}" type="sibTrans" cxnId="{BCC1BB21-E95B-4F18-A5C2-E1663E170E6A}">
      <dgm:prSet/>
      <dgm:spPr/>
      <dgm:t>
        <a:bodyPr/>
        <a:lstStyle/>
        <a:p>
          <a:endParaRPr lang="en-CA"/>
        </a:p>
      </dgm:t>
    </dgm:pt>
    <dgm:pt modelId="{498F3404-F2C3-491B-A98E-907463AB42E0}" type="pres">
      <dgm:prSet presAssocID="{7F39982F-431C-40A5-B289-9FDF548D3581}" presName="Name0" presStyleCnt="0">
        <dgm:presLayoutVars>
          <dgm:chPref val="1"/>
          <dgm:dir/>
          <dgm:animOne val="branch"/>
          <dgm:animLvl val="lvl"/>
          <dgm:resizeHandles/>
        </dgm:presLayoutVars>
      </dgm:prSet>
      <dgm:spPr/>
      <dgm:t>
        <a:bodyPr/>
        <a:lstStyle/>
        <a:p>
          <a:endParaRPr lang="en-CA"/>
        </a:p>
      </dgm:t>
    </dgm:pt>
    <dgm:pt modelId="{78F88878-D342-4284-900A-137D4E47823C}" type="pres">
      <dgm:prSet presAssocID="{0C62833B-7F99-421F-BB29-22C8B59277FB}" presName="vertOne" presStyleCnt="0"/>
      <dgm:spPr/>
    </dgm:pt>
    <dgm:pt modelId="{0CD20ABF-151A-48AB-ACCB-6C7D26FE880A}" type="pres">
      <dgm:prSet presAssocID="{0C62833B-7F99-421F-BB29-22C8B59277FB}" presName="txOne" presStyleLbl="node0" presStyleIdx="0" presStyleCnt="2">
        <dgm:presLayoutVars>
          <dgm:chPref val="3"/>
        </dgm:presLayoutVars>
      </dgm:prSet>
      <dgm:spPr/>
      <dgm:t>
        <a:bodyPr/>
        <a:lstStyle/>
        <a:p>
          <a:endParaRPr lang="en-CA"/>
        </a:p>
      </dgm:t>
    </dgm:pt>
    <dgm:pt modelId="{79D2A592-D4A2-4337-AB5A-7BF8C9B4108E}" type="pres">
      <dgm:prSet presAssocID="{0C62833B-7F99-421F-BB29-22C8B59277FB}" presName="parTransOne" presStyleCnt="0"/>
      <dgm:spPr/>
    </dgm:pt>
    <dgm:pt modelId="{AC3247BC-B6F0-4B4C-9ADC-B5722C4A349C}" type="pres">
      <dgm:prSet presAssocID="{0C62833B-7F99-421F-BB29-22C8B59277FB}" presName="horzOne" presStyleCnt="0"/>
      <dgm:spPr/>
    </dgm:pt>
    <dgm:pt modelId="{9B27672B-7C69-4415-81B7-0DC348EF4B77}" type="pres">
      <dgm:prSet presAssocID="{7E428E05-8B22-42E0-AA1E-9E33EC2DFBB1}" presName="vertTwo" presStyleCnt="0"/>
      <dgm:spPr/>
    </dgm:pt>
    <dgm:pt modelId="{A467A44E-0A15-4642-A6A4-66A420DC4EEF}" type="pres">
      <dgm:prSet presAssocID="{7E428E05-8B22-42E0-AA1E-9E33EC2DFBB1}" presName="txTwo" presStyleLbl="node2" presStyleIdx="0" presStyleCnt="2">
        <dgm:presLayoutVars>
          <dgm:chPref val="3"/>
        </dgm:presLayoutVars>
      </dgm:prSet>
      <dgm:spPr/>
      <dgm:t>
        <a:bodyPr/>
        <a:lstStyle/>
        <a:p>
          <a:endParaRPr lang="en-CA"/>
        </a:p>
      </dgm:t>
    </dgm:pt>
    <dgm:pt modelId="{3A199C49-A98A-47A2-A8AA-23A62872684D}" type="pres">
      <dgm:prSet presAssocID="{7E428E05-8B22-42E0-AA1E-9E33EC2DFBB1}" presName="parTransTwo" presStyleCnt="0"/>
      <dgm:spPr/>
    </dgm:pt>
    <dgm:pt modelId="{9E2A23FA-7CEA-4771-810F-A4AE55019153}" type="pres">
      <dgm:prSet presAssocID="{7E428E05-8B22-42E0-AA1E-9E33EC2DFBB1}" presName="horzTwo" presStyleCnt="0"/>
      <dgm:spPr/>
    </dgm:pt>
    <dgm:pt modelId="{2CFD24E8-DE09-4100-8297-B11A7A46CD93}" type="pres">
      <dgm:prSet presAssocID="{C57A9E6D-F0D4-4362-A617-38658A2EACFD}" presName="vertThree" presStyleCnt="0"/>
      <dgm:spPr/>
    </dgm:pt>
    <dgm:pt modelId="{888471A4-786E-42B1-817A-653A0F5A0CB3}" type="pres">
      <dgm:prSet presAssocID="{C57A9E6D-F0D4-4362-A617-38658A2EACFD}" presName="txThree" presStyleLbl="node3" presStyleIdx="0" presStyleCnt="6">
        <dgm:presLayoutVars>
          <dgm:chPref val="3"/>
        </dgm:presLayoutVars>
      </dgm:prSet>
      <dgm:spPr/>
      <dgm:t>
        <a:bodyPr/>
        <a:lstStyle/>
        <a:p>
          <a:endParaRPr lang="en-CA"/>
        </a:p>
      </dgm:t>
    </dgm:pt>
    <dgm:pt modelId="{E10484D1-0E3F-4973-90D0-A18C387E059D}" type="pres">
      <dgm:prSet presAssocID="{C57A9E6D-F0D4-4362-A617-38658A2EACFD}" presName="horzThree" presStyleCnt="0"/>
      <dgm:spPr/>
    </dgm:pt>
    <dgm:pt modelId="{1E8A29E4-7BEA-4B26-BC31-186A04C33B7D}" type="pres">
      <dgm:prSet presAssocID="{BC13954F-54D6-45DB-BB42-F85B3217FCE6}" presName="sibSpaceThree" presStyleCnt="0"/>
      <dgm:spPr/>
    </dgm:pt>
    <dgm:pt modelId="{0E456F23-BC29-467C-82F9-4088BCA9B79E}" type="pres">
      <dgm:prSet presAssocID="{813FDA44-1A4E-44BA-8FBF-199A83F886ED}" presName="vertThree" presStyleCnt="0"/>
      <dgm:spPr/>
    </dgm:pt>
    <dgm:pt modelId="{B4226CA6-2E5A-4FFA-85C3-CE3DD11FA0EA}" type="pres">
      <dgm:prSet presAssocID="{813FDA44-1A4E-44BA-8FBF-199A83F886ED}" presName="txThree" presStyleLbl="node3" presStyleIdx="1" presStyleCnt="6">
        <dgm:presLayoutVars>
          <dgm:chPref val="3"/>
        </dgm:presLayoutVars>
      </dgm:prSet>
      <dgm:spPr/>
      <dgm:t>
        <a:bodyPr/>
        <a:lstStyle/>
        <a:p>
          <a:endParaRPr lang="en-CA"/>
        </a:p>
      </dgm:t>
    </dgm:pt>
    <dgm:pt modelId="{D9C35434-6E4C-4AF4-A7F8-95CAF2ACCA73}" type="pres">
      <dgm:prSet presAssocID="{813FDA44-1A4E-44BA-8FBF-199A83F886ED}" presName="horzThree" presStyleCnt="0"/>
      <dgm:spPr/>
    </dgm:pt>
    <dgm:pt modelId="{A1B305A4-40C4-4672-8C7D-469A129BAEDF}" type="pres">
      <dgm:prSet presAssocID="{7057E05D-BA21-4D5D-AA15-7A34AE17A50A}" presName="sibSpaceThree" presStyleCnt="0"/>
      <dgm:spPr/>
    </dgm:pt>
    <dgm:pt modelId="{2A481D6E-3FC7-4CBD-B73C-B3AF8C639D52}" type="pres">
      <dgm:prSet presAssocID="{93C1421F-F5EE-46D5-ADF3-1072098D1439}" presName="vertThree" presStyleCnt="0"/>
      <dgm:spPr/>
    </dgm:pt>
    <dgm:pt modelId="{F8E21356-6202-4196-A695-6222DFF5E471}" type="pres">
      <dgm:prSet presAssocID="{93C1421F-F5EE-46D5-ADF3-1072098D1439}" presName="txThree" presStyleLbl="node3" presStyleIdx="2" presStyleCnt="6">
        <dgm:presLayoutVars>
          <dgm:chPref val="3"/>
        </dgm:presLayoutVars>
      </dgm:prSet>
      <dgm:spPr/>
      <dgm:t>
        <a:bodyPr/>
        <a:lstStyle/>
        <a:p>
          <a:endParaRPr lang="en-CA"/>
        </a:p>
      </dgm:t>
    </dgm:pt>
    <dgm:pt modelId="{1D8BCB71-6BAD-420D-A946-A697DBAF2C5C}" type="pres">
      <dgm:prSet presAssocID="{93C1421F-F5EE-46D5-ADF3-1072098D1439}" presName="horzThree" presStyleCnt="0"/>
      <dgm:spPr/>
    </dgm:pt>
    <dgm:pt modelId="{1A851818-DBD6-41FF-904A-CDD98E9A7584}" type="pres">
      <dgm:prSet presAssocID="{B022C9D6-302F-4D5B-A93C-507AD9042C90}" presName="sibSpaceOne" presStyleCnt="0"/>
      <dgm:spPr/>
    </dgm:pt>
    <dgm:pt modelId="{80732599-FDED-4BC6-AAE3-ED2BBCDEAFCD}" type="pres">
      <dgm:prSet presAssocID="{DE18D377-5697-4E82-81A4-7F2A4849AA4A}" presName="vertOne" presStyleCnt="0"/>
      <dgm:spPr/>
    </dgm:pt>
    <dgm:pt modelId="{A8BC8505-4D87-4E56-9976-840535097FA1}" type="pres">
      <dgm:prSet presAssocID="{DE18D377-5697-4E82-81A4-7F2A4849AA4A}" presName="txOne" presStyleLbl="node0" presStyleIdx="1" presStyleCnt="2">
        <dgm:presLayoutVars>
          <dgm:chPref val="3"/>
        </dgm:presLayoutVars>
      </dgm:prSet>
      <dgm:spPr/>
      <dgm:t>
        <a:bodyPr/>
        <a:lstStyle/>
        <a:p>
          <a:endParaRPr lang="en-CA"/>
        </a:p>
      </dgm:t>
    </dgm:pt>
    <dgm:pt modelId="{2331AFA5-9BD4-4FC5-93D9-CC744EC0E61C}" type="pres">
      <dgm:prSet presAssocID="{DE18D377-5697-4E82-81A4-7F2A4849AA4A}" presName="parTransOne" presStyleCnt="0"/>
      <dgm:spPr/>
    </dgm:pt>
    <dgm:pt modelId="{198B6483-3CAB-4378-A28A-1D5F3B56EEB4}" type="pres">
      <dgm:prSet presAssocID="{DE18D377-5697-4E82-81A4-7F2A4849AA4A}" presName="horzOne" presStyleCnt="0"/>
      <dgm:spPr/>
    </dgm:pt>
    <dgm:pt modelId="{550E8EA6-229D-49C5-A5C5-65F97C3980EC}" type="pres">
      <dgm:prSet presAssocID="{F1ACA930-DE0B-4D9E-9752-4EA8E5C292B5}" presName="vertTwo" presStyleCnt="0"/>
      <dgm:spPr/>
    </dgm:pt>
    <dgm:pt modelId="{6B1461E1-04F1-4AA2-BF13-8CE90B9398A0}" type="pres">
      <dgm:prSet presAssocID="{F1ACA930-DE0B-4D9E-9752-4EA8E5C292B5}" presName="txTwo" presStyleLbl="node2" presStyleIdx="1" presStyleCnt="2">
        <dgm:presLayoutVars>
          <dgm:chPref val="3"/>
        </dgm:presLayoutVars>
      </dgm:prSet>
      <dgm:spPr/>
      <dgm:t>
        <a:bodyPr/>
        <a:lstStyle/>
        <a:p>
          <a:endParaRPr lang="en-CA"/>
        </a:p>
      </dgm:t>
    </dgm:pt>
    <dgm:pt modelId="{F8BA7444-322B-4E82-856C-E05383114644}" type="pres">
      <dgm:prSet presAssocID="{F1ACA930-DE0B-4D9E-9752-4EA8E5C292B5}" presName="parTransTwo" presStyleCnt="0"/>
      <dgm:spPr/>
    </dgm:pt>
    <dgm:pt modelId="{13DF940B-76A2-45FC-91F5-2CAECB95DB43}" type="pres">
      <dgm:prSet presAssocID="{F1ACA930-DE0B-4D9E-9752-4EA8E5C292B5}" presName="horzTwo" presStyleCnt="0"/>
      <dgm:spPr/>
    </dgm:pt>
    <dgm:pt modelId="{5146E992-48C7-4B14-9F72-6B341AB1721C}" type="pres">
      <dgm:prSet presAssocID="{999B15E2-CF32-4D69-AF09-E71A3D22098A}" presName="vertThree" presStyleCnt="0"/>
      <dgm:spPr/>
    </dgm:pt>
    <dgm:pt modelId="{15358DB9-9508-4EB0-B94A-44CABF55AC69}" type="pres">
      <dgm:prSet presAssocID="{999B15E2-CF32-4D69-AF09-E71A3D22098A}" presName="txThree" presStyleLbl="node3" presStyleIdx="3" presStyleCnt="6">
        <dgm:presLayoutVars>
          <dgm:chPref val="3"/>
        </dgm:presLayoutVars>
      </dgm:prSet>
      <dgm:spPr/>
      <dgm:t>
        <a:bodyPr/>
        <a:lstStyle/>
        <a:p>
          <a:endParaRPr lang="en-CA"/>
        </a:p>
      </dgm:t>
    </dgm:pt>
    <dgm:pt modelId="{FDDAEB2E-52D9-4304-8DE4-544244C299E6}" type="pres">
      <dgm:prSet presAssocID="{999B15E2-CF32-4D69-AF09-E71A3D22098A}" presName="horzThree" presStyleCnt="0"/>
      <dgm:spPr/>
    </dgm:pt>
    <dgm:pt modelId="{4733A7B9-D57F-4CE1-B05A-4E5D06BEEBE6}" type="pres">
      <dgm:prSet presAssocID="{80CA72C9-4F6B-4282-958C-D4673A667063}" presName="sibSpaceThree" presStyleCnt="0"/>
      <dgm:spPr/>
    </dgm:pt>
    <dgm:pt modelId="{1D337348-2364-4B6F-BB08-15EDD06B379D}" type="pres">
      <dgm:prSet presAssocID="{3F898EDD-B700-4FE0-8FD9-083488F5F8D7}" presName="vertThree" presStyleCnt="0"/>
      <dgm:spPr/>
    </dgm:pt>
    <dgm:pt modelId="{ACE14E55-72B1-4B46-8728-F302E5862D0E}" type="pres">
      <dgm:prSet presAssocID="{3F898EDD-B700-4FE0-8FD9-083488F5F8D7}" presName="txThree" presStyleLbl="node3" presStyleIdx="4" presStyleCnt="6">
        <dgm:presLayoutVars>
          <dgm:chPref val="3"/>
        </dgm:presLayoutVars>
      </dgm:prSet>
      <dgm:spPr/>
      <dgm:t>
        <a:bodyPr/>
        <a:lstStyle/>
        <a:p>
          <a:endParaRPr lang="en-CA"/>
        </a:p>
      </dgm:t>
    </dgm:pt>
    <dgm:pt modelId="{0F06BFB3-FDA3-4331-ADDD-9705211CCA76}" type="pres">
      <dgm:prSet presAssocID="{3F898EDD-B700-4FE0-8FD9-083488F5F8D7}" presName="horzThree" presStyleCnt="0"/>
      <dgm:spPr/>
    </dgm:pt>
    <dgm:pt modelId="{1A3E1681-D66C-41B9-88A5-9C470E4E7B8B}" type="pres">
      <dgm:prSet presAssocID="{5E740CB8-7A01-4DAB-AB6F-DCD0BBE52CE3}" presName="sibSpaceThree" presStyleCnt="0"/>
      <dgm:spPr/>
    </dgm:pt>
    <dgm:pt modelId="{6CA302F4-125C-4271-9428-8F9B05464B2F}" type="pres">
      <dgm:prSet presAssocID="{52A9EEEC-E730-4984-80C6-38E248B507A7}" presName="vertThree" presStyleCnt="0"/>
      <dgm:spPr/>
    </dgm:pt>
    <dgm:pt modelId="{843EA97C-C119-4300-8CC2-1062C19B2F9F}" type="pres">
      <dgm:prSet presAssocID="{52A9EEEC-E730-4984-80C6-38E248B507A7}" presName="txThree" presStyleLbl="node3" presStyleIdx="5" presStyleCnt="6">
        <dgm:presLayoutVars>
          <dgm:chPref val="3"/>
        </dgm:presLayoutVars>
      </dgm:prSet>
      <dgm:spPr/>
      <dgm:t>
        <a:bodyPr/>
        <a:lstStyle/>
        <a:p>
          <a:endParaRPr lang="en-CA"/>
        </a:p>
      </dgm:t>
    </dgm:pt>
    <dgm:pt modelId="{ADBE424E-3DBA-4741-A1A8-B86D559E931B}" type="pres">
      <dgm:prSet presAssocID="{52A9EEEC-E730-4984-80C6-38E248B507A7}" presName="horzThree" presStyleCnt="0"/>
      <dgm:spPr/>
    </dgm:pt>
  </dgm:ptLst>
  <dgm:cxnLst>
    <dgm:cxn modelId="{D2B9DAB9-F90D-4A08-816C-CD0C1EB855A2}" srcId="{0C62833B-7F99-421F-BB29-22C8B59277FB}" destId="{7E428E05-8B22-42E0-AA1E-9E33EC2DFBB1}" srcOrd="0" destOrd="0" parTransId="{18F2A822-1F1B-42C5-80D9-F5C7198DB7C9}" sibTransId="{9E944F55-46A9-44E8-9A0E-A67215CA2832}"/>
    <dgm:cxn modelId="{B3879CBA-7DE8-469C-B16D-2E4B8148C28B}" srcId="{7E428E05-8B22-42E0-AA1E-9E33EC2DFBB1}" destId="{C57A9E6D-F0D4-4362-A617-38658A2EACFD}" srcOrd="0" destOrd="0" parTransId="{8D1D0DE3-C835-4D3C-BB7E-1024EE5844AA}" sibTransId="{BC13954F-54D6-45DB-BB42-F85B3217FCE6}"/>
    <dgm:cxn modelId="{195748AC-5AB3-4B55-AF56-69436F2807D4}" type="presOf" srcId="{813FDA44-1A4E-44BA-8FBF-199A83F886ED}" destId="{B4226CA6-2E5A-4FFA-85C3-CE3DD11FA0EA}" srcOrd="0" destOrd="0" presId="urn:microsoft.com/office/officeart/2005/8/layout/hierarchy4"/>
    <dgm:cxn modelId="{F445E50E-AC20-4E04-A710-C41EF2B43642}" type="presOf" srcId="{7F39982F-431C-40A5-B289-9FDF548D3581}" destId="{498F3404-F2C3-491B-A98E-907463AB42E0}" srcOrd="0" destOrd="0" presId="urn:microsoft.com/office/officeart/2005/8/layout/hierarchy4"/>
    <dgm:cxn modelId="{2A0E0480-99F4-4B1E-B9CC-383B8B48F101}" type="presOf" srcId="{3F898EDD-B700-4FE0-8FD9-083488F5F8D7}" destId="{ACE14E55-72B1-4B46-8728-F302E5862D0E}" srcOrd="0" destOrd="0" presId="urn:microsoft.com/office/officeart/2005/8/layout/hierarchy4"/>
    <dgm:cxn modelId="{C80ADA5D-EDDE-4039-AE76-5D16C5DEF4D6}" srcId="{7E428E05-8B22-42E0-AA1E-9E33EC2DFBB1}" destId="{813FDA44-1A4E-44BA-8FBF-199A83F886ED}" srcOrd="1" destOrd="0" parTransId="{0337049D-B279-4CDA-BC58-9012A6C8D866}" sibTransId="{7057E05D-BA21-4D5D-AA15-7A34AE17A50A}"/>
    <dgm:cxn modelId="{481F7BFB-F1BC-49E8-97B0-E756ED9DA4C9}" srcId="{F1ACA930-DE0B-4D9E-9752-4EA8E5C292B5}" destId="{3F898EDD-B700-4FE0-8FD9-083488F5F8D7}" srcOrd="1" destOrd="0" parTransId="{B85C4002-E4DC-4129-8E61-FF3382B094DB}" sibTransId="{5E740CB8-7A01-4DAB-AB6F-DCD0BBE52CE3}"/>
    <dgm:cxn modelId="{AFB4ED96-C2F2-47DE-BFFE-A18B48BF1669}" type="presOf" srcId="{F1ACA930-DE0B-4D9E-9752-4EA8E5C292B5}" destId="{6B1461E1-04F1-4AA2-BF13-8CE90B9398A0}" srcOrd="0" destOrd="0" presId="urn:microsoft.com/office/officeart/2005/8/layout/hierarchy4"/>
    <dgm:cxn modelId="{E6D51033-B64C-4053-9BE8-1D340AF087D1}" type="presOf" srcId="{52A9EEEC-E730-4984-80C6-38E248B507A7}" destId="{843EA97C-C119-4300-8CC2-1062C19B2F9F}" srcOrd="0" destOrd="0" presId="urn:microsoft.com/office/officeart/2005/8/layout/hierarchy4"/>
    <dgm:cxn modelId="{E77FD0A0-E64E-474E-9266-32E39EDA2CE2}" srcId="{7F39982F-431C-40A5-B289-9FDF548D3581}" destId="{0C62833B-7F99-421F-BB29-22C8B59277FB}" srcOrd="0" destOrd="0" parTransId="{F391242B-2CBC-454F-B2DF-0E39A1E563FC}" sibTransId="{B022C9D6-302F-4D5B-A93C-507AD9042C90}"/>
    <dgm:cxn modelId="{BCC1BB21-E95B-4F18-A5C2-E1663E170E6A}" srcId="{F1ACA930-DE0B-4D9E-9752-4EA8E5C292B5}" destId="{52A9EEEC-E730-4984-80C6-38E248B507A7}" srcOrd="2" destOrd="0" parTransId="{EAC98B18-D380-4023-B853-11E8F525D4D9}" sibTransId="{8F3D7744-739F-4E7A-B87E-883908CE8E51}"/>
    <dgm:cxn modelId="{A2BDF38C-D884-498D-B79C-992EBB103D5E}" type="presOf" srcId="{999B15E2-CF32-4D69-AF09-E71A3D22098A}" destId="{15358DB9-9508-4EB0-B94A-44CABF55AC69}" srcOrd="0" destOrd="0" presId="urn:microsoft.com/office/officeart/2005/8/layout/hierarchy4"/>
    <dgm:cxn modelId="{7F10CF79-8F6B-4E28-9290-3D83590C5F4A}" srcId="{7E428E05-8B22-42E0-AA1E-9E33EC2DFBB1}" destId="{93C1421F-F5EE-46D5-ADF3-1072098D1439}" srcOrd="2" destOrd="0" parTransId="{85887C5E-E213-4B67-939E-8B85029BA5CF}" sibTransId="{780A1592-2931-4198-BE13-588D51A0F413}"/>
    <dgm:cxn modelId="{E6EA4B65-9751-4B58-B054-2AE0265DA26B}" type="presOf" srcId="{C57A9E6D-F0D4-4362-A617-38658A2EACFD}" destId="{888471A4-786E-42B1-817A-653A0F5A0CB3}" srcOrd="0" destOrd="0" presId="urn:microsoft.com/office/officeart/2005/8/layout/hierarchy4"/>
    <dgm:cxn modelId="{85F10F79-4ECD-4D27-97DF-3A27D0229FA7}" srcId="{7F39982F-431C-40A5-B289-9FDF548D3581}" destId="{DE18D377-5697-4E82-81A4-7F2A4849AA4A}" srcOrd="1" destOrd="0" parTransId="{864D9F1D-4F2B-4886-A1B5-5EEF04380FE8}" sibTransId="{AA778D48-59A8-4AFB-9BF3-280F7A24D480}"/>
    <dgm:cxn modelId="{A48BBD1C-AFD6-4858-A5B3-CCDF1D452087}" type="presOf" srcId="{93C1421F-F5EE-46D5-ADF3-1072098D1439}" destId="{F8E21356-6202-4196-A695-6222DFF5E471}" srcOrd="0" destOrd="0" presId="urn:microsoft.com/office/officeart/2005/8/layout/hierarchy4"/>
    <dgm:cxn modelId="{8C58769E-EA4B-4876-85FF-3216F527A654}" srcId="{DE18D377-5697-4E82-81A4-7F2A4849AA4A}" destId="{F1ACA930-DE0B-4D9E-9752-4EA8E5C292B5}" srcOrd="0" destOrd="0" parTransId="{75685D82-6F1C-4917-A029-B7DFC842C091}" sibTransId="{C3A76F86-47DD-49F0-B098-FBE3BEC50A91}"/>
    <dgm:cxn modelId="{277A708A-DB25-4E10-BCD3-66FC3143ACD7}" type="presOf" srcId="{7E428E05-8B22-42E0-AA1E-9E33EC2DFBB1}" destId="{A467A44E-0A15-4642-A6A4-66A420DC4EEF}" srcOrd="0" destOrd="0" presId="urn:microsoft.com/office/officeart/2005/8/layout/hierarchy4"/>
    <dgm:cxn modelId="{0CBCA85E-0032-4DFD-8A0E-3E39312B3418}" type="presOf" srcId="{DE18D377-5697-4E82-81A4-7F2A4849AA4A}" destId="{A8BC8505-4D87-4E56-9976-840535097FA1}" srcOrd="0" destOrd="0" presId="urn:microsoft.com/office/officeart/2005/8/layout/hierarchy4"/>
    <dgm:cxn modelId="{41691147-C648-41D5-AC35-B42A6B8D01DA}" type="presOf" srcId="{0C62833B-7F99-421F-BB29-22C8B59277FB}" destId="{0CD20ABF-151A-48AB-ACCB-6C7D26FE880A}" srcOrd="0" destOrd="0" presId="urn:microsoft.com/office/officeart/2005/8/layout/hierarchy4"/>
    <dgm:cxn modelId="{430B1A8C-E430-4CA0-BDF5-D0C7A50841F9}" srcId="{F1ACA930-DE0B-4D9E-9752-4EA8E5C292B5}" destId="{999B15E2-CF32-4D69-AF09-E71A3D22098A}" srcOrd="0" destOrd="0" parTransId="{929A425D-6BCD-4306-BB84-83420E8C0BB1}" sibTransId="{80CA72C9-4F6B-4282-958C-D4673A667063}"/>
    <dgm:cxn modelId="{040C738C-F968-4513-B9B6-8C8479E78DC0}" type="presParOf" srcId="{498F3404-F2C3-491B-A98E-907463AB42E0}" destId="{78F88878-D342-4284-900A-137D4E47823C}" srcOrd="0" destOrd="0" presId="urn:microsoft.com/office/officeart/2005/8/layout/hierarchy4"/>
    <dgm:cxn modelId="{7E9C8DFF-F15E-4E1A-B005-13A1639F0DFB}" type="presParOf" srcId="{78F88878-D342-4284-900A-137D4E47823C}" destId="{0CD20ABF-151A-48AB-ACCB-6C7D26FE880A}" srcOrd="0" destOrd="0" presId="urn:microsoft.com/office/officeart/2005/8/layout/hierarchy4"/>
    <dgm:cxn modelId="{11F4B256-56C0-4F5E-B408-2C789A3B33D0}" type="presParOf" srcId="{78F88878-D342-4284-900A-137D4E47823C}" destId="{79D2A592-D4A2-4337-AB5A-7BF8C9B4108E}" srcOrd="1" destOrd="0" presId="urn:microsoft.com/office/officeart/2005/8/layout/hierarchy4"/>
    <dgm:cxn modelId="{1D69AC74-E6CC-49CD-A3C3-032FEC90B6B4}" type="presParOf" srcId="{78F88878-D342-4284-900A-137D4E47823C}" destId="{AC3247BC-B6F0-4B4C-9ADC-B5722C4A349C}" srcOrd="2" destOrd="0" presId="urn:microsoft.com/office/officeart/2005/8/layout/hierarchy4"/>
    <dgm:cxn modelId="{997698F1-6325-48D8-860B-577790AF9666}" type="presParOf" srcId="{AC3247BC-B6F0-4B4C-9ADC-B5722C4A349C}" destId="{9B27672B-7C69-4415-81B7-0DC348EF4B77}" srcOrd="0" destOrd="0" presId="urn:microsoft.com/office/officeart/2005/8/layout/hierarchy4"/>
    <dgm:cxn modelId="{264EBDC2-AADF-415C-92F1-5AB93BB8FEEE}" type="presParOf" srcId="{9B27672B-7C69-4415-81B7-0DC348EF4B77}" destId="{A467A44E-0A15-4642-A6A4-66A420DC4EEF}" srcOrd="0" destOrd="0" presId="urn:microsoft.com/office/officeart/2005/8/layout/hierarchy4"/>
    <dgm:cxn modelId="{25AFD97D-AF1E-4F5F-9F8D-F3FF62AD2F35}" type="presParOf" srcId="{9B27672B-7C69-4415-81B7-0DC348EF4B77}" destId="{3A199C49-A98A-47A2-A8AA-23A62872684D}" srcOrd="1" destOrd="0" presId="urn:microsoft.com/office/officeart/2005/8/layout/hierarchy4"/>
    <dgm:cxn modelId="{FB73692B-2609-449B-A073-7A0B8AB4EC68}" type="presParOf" srcId="{9B27672B-7C69-4415-81B7-0DC348EF4B77}" destId="{9E2A23FA-7CEA-4771-810F-A4AE55019153}" srcOrd="2" destOrd="0" presId="urn:microsoft.com/office/officeart/2005/8/layout/hierarchy4"/>
    <dgm:cxn modelId="{CC313DC8-E4EA-4030-A500-7F5B892F99F5}" type="presParOf" srcId="{9E2A23FA-7CEA-4771-810F-A4AE55019153}" destId="{2CFD24E8-DE09-4100-8297-B11A7A46CD93}" srcOrd="0" destOrd="0" presId="urn:microsoft.com/office/officeart/2005/8/layout/hierarchy4"/>
    <dgm:cxn modelId="{126B1DDF-D948-4457-ACE1-D5189050AC33}" type="presParOf" srcId="{2CFD24E8-DE09-4100-8297-B11A7A46CD93}" destId="{888471A4-786E-42B1-817A-653A0F5A0CB3}" srcOrd="0" destOrd="0" presId="urn:microsoft.com/office/officeart/2005/8/layout/hierarchy4"/>
    <dgm:cxn modelId="{5F7C4893-C65B-4D23-8CFE-C7BD426C1FA9}" type="presParOf" srcId="{2CFD24E8-DE09-4100-8297-B11A7A46CD93}" destId="{E10484D1-0E3F-4973-90D0-A18C387E059D}" srcOrd="1" destOrd="0" presId="urn:microsoft.com/office/officeart/2005/8/layout/hierarchy4"/>
    <dgm:cxn modelId="{1871E211-AFD1-4B34-AC34-98804EDC5530}" type="presParOf" srcId="{9E2A23FA-7CEA-4771-810F-A4AE55019153}" destId="{1E8A29E4-7BEA-4B26-BC31-186A04C33B7D}" srcOrd="1" destOrd="0" presId="urn:microsoft.com/office/officeart/2005/8/layout/hierarchy4"/>
    <dgm:cxn modelId="{A65C4A1B-72CF-4B98-8FA8-561EFA964B39}" type="presParOf" srcId="{9E2A23FA-7CEA-4771-810F-A4AE55019153}" destId="{0E456F23-BC29-467C-82F9-4088BCA9B79E}" srcOrd="2" destOrd="0" presId="urn:microsoft.com/office/officeart/2005/8/layout/hierarchy4"/>
    <dgm:cxn modelId="{71B99F69-32A7-44A3-A53B-D3DD7D3C3BA2}" type="presParOf" srcId="{0E456F23-BC29-467C-82F9-4088BCA9B79E}" destId="{B4226CA6-2E5A-4FFA-85C3-CE3DD11FA0EA}" srcOrd="0" destOrd="0" presId="urn:microsoft.com/office/officeart/2005/8/layout/hierarchy4"/>
    <dgm:cxn modelId="{1A42D926-9A08-4602-80A7-D0E5A82E623F}" type="presParOf" srcId="{0E456F23-BC29-467C-82F9-4088BCA9B79E}" destId="{D9C35434-6E4C-4AF4-A7F8-95CAF2ACCA73}" srcOrd="1" destOrd="0" presId="urn:microsoft.com/office/officeart/2005/8/layout/hierarchy4"/>
    <dgm:cxn modelId="{AE3768C3-4BC2-4606-908C-DCCB3E668889}" type="presParOf" srcId="{9E2A23FA-7CEA-4771-810F-A4AE55019153}" destId="{A1B305A4-40C4-4672-8C7D-469A129BAEDF}" srcOrd="3" destOrd="0" presId="urn:microsoft.com/office/officeart/2005/8/layout/hierarchy4"/>
    <dgm:cxn modelId="{7E516B65-2E20-4544-8276-E5E8732A7A62}" type="presParOf" srcId="{9E2A23FA-7CEA-4771-810F-A4AE55019153}" destId="{2A481D6E-3FC7-4CBD-B73C-B3AF8C639D52}" srcOrd="4" destOrd="0" presId="urn:microsoft.com/office/officeart/2005/8/layout/hierarchy4"/>
    <dgm:cxn modelId="{A824F954-7F8C-4C3B-892C-451FF890850C}" type="presParOf" srcId="{2A481D6E-3FC7-4CBD-B73C-B3AF8C639D52}" destId="{F8E21356-6202-4196-A695-6222DFF5E471}" srcOrd="0" destOrd="0" presId="urn:microsoft.com/office/officeart/2005/8/layout/hierarchy4"/>
    <dgm:cxn modelId="{27186EF0-B2E4-4B90-B86D-AF1536D51D68}" type="presParOf" srcId="{2A481D6E-3FC7-4CBD-B73C-B3AF8C639D52}" destId="{1D8BCB71-6BAD-420D-A946-A697DBAF2C5C}" srcOrd="1" destOrd="0" presId="urn:microsoft.com/office/officeart/2005/8/layout/hierarchy4"/>
    <dgm:cxn modelId="{DB01A500-533F-4B48-848B-4DAFF819733C}" type="presParOf" srcId="{498F3404-F2C3-491B-A98E-907463AB42E0}" destId="{1A851818-DBD6-41FF-904A-CDD98E9A7584}" srcOrd="1" destOrd="0" presId="urn:microsoft.com/office/officeart/2005/8/layout/hierarchy4"/>
    <dgm:cxn modelId="{6916A44E-72B0-4680-BE6B-28D21DFB7F6F}" type="presParOf" srcId="{498F3404-F2C3-491B-A98E-907463AB42E0}" destId="{80732599-FDED-4BC6-AAE3-ED2BBCDEAFCD}" srcOrd="2" destOrd="0" presId="urn:microsoft.com/office/officeart/2005/8/layout/hierarchy4"/>
    <dgm:cxn modelId="{2F7246D6-04D3-4BD2-B87B-A21C4F427481}" type="presParOf" srcId="{80732599-FDED-4BC6-AAE3-ED2BBCDEAFCD}" destId="{A8BC8505-4D87-4E56-9976-840535097FA1}" srcOrd="0" destOrd="0" presId="urn:microsoft.com/office/officeart/2005/8/layout/hierarchy4"/>
    <dgm:cxn modelId="{7044BA4A-22D2-40A7-98D6-FD0AF9615099}" type="presParOf" srcId="{80732599-FDED-4BC6-AAE3-ED2BBCDEAFCD}" destId="{2331AFA5-9BD4-4FC5-93D9-CC744EC0E61C}" srcOrd="1" destOrd="0" presId="urn:microsoft.com/office/officeart/2005/8/layout/hierarchy4"/>
    <dgm:cxn modelId="{05EAE954-01D3-42F5-812B-DCD449B7583E}" type="presParOf" srcId="{80732599-FDED-4BC6-AAE3-ED2BBCDEAFCD}" destId="{198B6483-3CAB-4378-A28A-1D5F3B56EEB4}" srcOrd="2" destOrd="0" presId="urn:microsoft.com/office/officeart/2005/8/layout/hierarchy4"/>
    <dgm:cxn modelId="{DC7F362E-CD93-4632-9A10-B8D4D008B4E1}" type="presParOf" srcId="{198B6483-3CAB-4378-A28A-1D5F3B56EEB4}" destId="{550E8EA6-229D-49C5-A5C5-65F97C3980EC}" srcOrd="0" destOrd="0" presId="urn:microsoft.com/office/officeart/2005/8/layout/hierarchy4"/>
    <dgm:cxn modelId="{59BE1009-1CB5-4013-B8DC-5BFD5468BDA5}" type="presParOf" srcId="{550E8EA6-229D-49C5-A5C5-65F97C3980EC}" destId="{6B1461E1-04F1-4AA2-BF13-8CE90B9398A0}" srcOrd="0" destOrd="0" presId="urn:microsoft.com/office/officeart/2005/8/layout/hierarchy4"/>
    <dgm:cxn modelId="{40F3096C-D78A-4919-A519-BD6C00BA1F3E}" type="presParOf" srcId="{550E8EA6-229D-49C5-A5C5-65F97C3980EC}" destId="{F8BA7444-322B-4E82-856C-E05383114644}" srcOrd="1" destOrd="0" presId="urn:microsoft.com/office/officeart/2005/8/layout/hierarchy4"/>
    <dgm:cxn modelId="{F2CE5242-04E4-48AB-BED5-7C53C3C08108}" type="presParOf" srcId="{550E8EA6-229D-49C5-A5C5-65F97C3980EC}" destId="{13DF940B-76A2-45FC-91F5-2CAECB95DB43}" srcOrd="2" destOrd="0" presId="urn:microsoft.com/office/officeart/2005/8/layout/hierarchy4"/>
    <dgm:cxn modelId="{3F87017C-A922-44EB-AACF-A67AABA6363C}" type="presParOf" srcId="{13DF940B-76A2-45FC-91F5-2CAECB95DB43}" destId="{5146E992-48C7-4B14-9F72-6B341AB1721C}" srcOrd="0" destOrd="0" presId="urn:microsoft.com/office/officeart/2005/8/layout/hierarchy4"/>
    <dgm:cxn modelId="{7D844F2A-282A-4A89-8AAD-016BBC8BA595}" type="presParOf" srcId="{5146E992-48C7-4B14-9F72-6B341AB1721C}" destId="{15358DB9-9508-4EB0-B94A-44CABF55AC69}" srcOrd="0" destOrd="0" presId="urn:microsoft.com/office/officeart/2005/8/layout/hierarchy4"/>
    <dgm:cxn modelId="{131ADFED-BC43-4484-9FAB-E3DC6C4B42A7}" type="presParOf" srcId="{5146E992-48C7-4B14-9F72-6B341AB1721C}" destId="{FDDAEB2E-52D9-4304-8DE4-544244C299E6}" srcOrd="1" destOrd="0" presId="urn:microsoft.com/office/officeart/2005/8/layout/hierarchy4"/>
    <dgm:cxn modelId="{435EA15D-261E-44F1-9164-982591EB0062}" type="presParOf" srcId="{13DF940B-76A2-45FC-91F5-2CAECB95DB43}" destId="{4733A7B9-D57F-4CE1-B05A-4E5D06BEEBE6}" srcOrd="1" destOrd="0" presId="urn:microsoft.com/office/officeart/2005/8/layout/hierarchy4"/>
    <dgm:cxn modelId="{E42E129E-4986-4225-AB1E-9D73181CF2B3}" type="presParOf" srcId="{13DF940B-76A2-45FC-91F5-2CAECB95DB43}" destId="{1D337348-2364-4B6F-BB08-15EDD06B379D}" srcOrd="2" destOrd="0" presId="urn:microsoft.com/office/officeart/2005/8/layout/hierarchy4"/>
    <dgm:cxn modelId="{A7CCA6BB-E983-4B0F-B6ED-6049977355EF}" type="presParOf" srcId="{1D337348-2364-4B6F-BB08-15EDD06B379D}" destId="{ACE14E55-72B1-4B46-8728-F302E5862D0E}" srcOrd="0" destOrd="0" presId="urn:microsoft.com/office/officeart/2005/8/layout/hierarchy4"/>
    <dgm:cxn modelId="{55831B77-452A-4693-A405-6684BBC69CB2}" type="presParOf" srcId="{1D337348-2364-4B6F-BB08-15EDD06B379D}" destId="{0F06BFB3-FDA3-4331-ADDD-9705211CCA76}" srcOrd="1" destOrd="0" presId="urn:microsoft.com/office/officeart/2005/8/layout/hierarchy4"/>
    <dgm:cxn modelId="{B4497551-213A-4670-A46E-5374AEE2E934}" type="presParOf" srcId="{13DF940B-76A2-45FC-91F5-2CAECB95DB43}" destId="{1A3E1681-D66C-41B9-88A5-9C470E4E7B8B}" srcOrd="3" destOrd="0" presId="urn:microsoft.com/office/officeart/2005/8/layout/hierarchy4"/>
    <dgm:cxn modelId="{D0515FFE-3890-449C-BCFC-C4EAF38AB423}" type="presParOf" srcId="{13DF940B-76A2-45FC-91F5-2CAECB95DB43}" destId="{6CA302F4-125C-4271-9428-8F9B05464B2F}" srcOrd="4" destOrd="0" presId="urn:microsoft.com/office/officeart/2005/8/layout/hierarchy4"/>
    <dgm:cxn modelId="{DA56A886-671F-437E-9760-1332934A0FF1}" type="presParOf" srcId="{6CA302F4-125C-4271-9428-8F9B05464B2F}" destId="{843EA97C-C119-4300-8CC2-1062C19B2F9F}" srcOrd="0" destOrd="0" presId="urn:microsoft.com/office/officeart/2005/8/layout/hierarchy4"/>
    <dgm:cxn modelId="{7C59B466-1779-4E8A-9C0B-F96EFAE23976}" type="presParOf" srcId="{6CA302F4-125C-4271-9428-8F9B05464B2F}" destId="{ADBE424E-3DBA-4741-A1A8-B86D559E931B}"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F39982F-431C-40A5-B289-9FDF548D3581}"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CA"/>
        </a:p>
      </dgm:t>
    </dgm:pt>
    <dgm:pt modelId="{0C62833B-7F99-421F-BB29-22C8B59277FB}">
      <dgm:prSet phldrT="[Text]"/>
      <dgm:spPr>
        <a:solidFill>
          <a:srgbClr val="FABB00"/>
        </a:solidFill>
      </dgm:spPr>
      <dgm:t>
        <a:bodyPr/>
        <a:lstStyle/>
        <a:p>
          <a:r>
            <a:rPr lang="en-CA" dirty="0" smtClean="0"/>
            <a:t>Publishing Framework</a:t>
          </a:r>
          <a:endParaRPr lang="en-CA" dirty="0"/>
        </a:p>
      </dgm:t>
    </dgm:pt>
    <dgm:pt modelId="{F391242B-2CBC-454F-B2DF-0E39A1E563FC}" type="parTrans" cxnId="{E77FD0A0-E64E-474E-9266-32E39EDA2CE2}">
      <dgm:prSet/>
      <dgm:spPr/>
      <dgm:t>
        <a:bodyPr/>
        <a:lstStyle/>
        <a:p>
          <a:endParaRPr lang="en-CA"/>
        </a:p>
      </dgm:t>
    </dgm:pt>
    <dgm:pt modelId="{B022C9D6-302F-4D5B-A93C-507AD9042C90}" type="sibTrans" cxnId="{E77FD0A0-E64E-474E-9266-32E39EDA2CE2}">
      <dgm:prSet/>
      <dgm:spPr/>
      <dgm:t>
        <a:bodyPr/>
        <a:lstStyle/>
        <a:p>
          <a:endParaRPr lang="en-CA"/>
        </a:p>
      </dgm:t>
    </dgm:pt>
    <dgm:pt modelId="{7E428E05-8B22-42E0-AA1E-9E33EC2DFBB1}">
      <dgm:prSet phldrT="[Text]"/>
      <dgm:spPr>
        <a:solidFill>
          <a:srgbClr val="F08A00"/>
        </a:solidFill>
      </dgm:spPr>
      <dgm:t>
        <a:bodyPr/>
        <a:lstStyle/>
        <a:p>
          <a:r>
            <a:rPr lang="en-CA" dirty="0" smtClean="0"/>
            <a:t>Cross-Adaptor Orchestration</a:t>
          </a:r>
          <a:endParaRPr lang="en-CA" dirty="0"/>
        </a:p>
      </dgm:t>
    </dgm:pt>
    <dgm:pt modelId="{18F2A822-1F1B-42C5-80D9-F5C7198DB7C9}" type="parTrans" cxnId="{D2B9DAB9-F90D-4A08-816C-CD0C1EB855A2}">
      <dgm:prSet/>
      <dgm:spPr/>
      <dgm:t>
        <a:bodyPr/>
        <a:lstStyle/>
        <a:p>
          <a:endParaRPr lang="en-CA"/>
        </a:p>
      </dgm:t>
    </dgm:pt>
    <dgm:pt modelId="{9E944F55-46A9-44E8-9A0E-A67215CA2832}" type="sibTrans" cxnId="{D2B9DAB9-F90D-4A08-816C-CD0C1EB855A2}">
      <dgm:prSet/>
      <dgm:spPr/>
      <dgm:t>
        <a:bodyPr/>
        <a:lstStyle/>
        <a:p>
          <a:endParaRPr lang="en-CA"/>
        </a:p>
      </dgm:t>
    </dgm:pt>
    <dgm:pt modelId="{C57A9E6D-F0D4-4362-A617-38658A2EACFD}">
      <dgm:prSet phldrT="[Text]"/>
      <dgm:spPr>
        <a:solidFill>
          <a:srgbClr val="00285F"/>
        </a:solidFill>
      </dgm:spPr>
      <dgm:t>
        <a:bodyPr/>
        <a:lstStyle/>
        <a:p>
          <a:r>
            <a:rPr lang="en-CA" dirty="0" smtClean="0"/>
            <a:t>Sequencing</a:t>
          </a:r>
          <a:endParaRPr lang="en-CA" dirty="0"/>
        </a:p>
      </dgm:t>
    </dgm:pt>
    <dgm:pt modelId="{8D1D0DE3-C835-4D3C-BB7E-1024EE5844AA}" type="parTrans" cxnId="{B3879CBA-7DE8-469C-B16D-2E4B8148C28B}">
      <dgm:prSet/>
      <dgm:spPr/>
      <dgm:t>
        <a:bodyPr/>
        <a:lstStyle/>
        <a:p>
          <a:endParaRPr lang="en-CA"/>
        </a:p>
      </dgm:t>
    </dgm:pt>
    <dgm:pt modelId="{BC13954F-54D6-45DB-BB42-F85B3217FCE6}" type="sibTrans" cxnId="{B3879CBA-7DE8-469C-B16D-2E4B8148C28B}">
      <dgm:prSet/>
      <dgm:spPr/>
      <dgm:t>
        <a:bodyPr/>
        <a:lstStyle/>
        <a:p>
          <a:endParaRPr lang="en-CA"/>
        </a:p>
      </dgm:t>
    </dgm:pt>
    <dgm:pt modelId="{813FDA44-1A4E-44BA-8FBF-199A83F886ED}">
      <dgm:prSet phldrT="[Text]"/>
      <dgm:spPr>
        <a:solidFill>
          <a:srgbClr val="007B78"/>
        </a:solidFill>
      </dgm:spPr>
      <dgm:t>
        <a:bodyPr/>
        <a:lstStyle/>
        <a:p>
          <a:r>
            <a:rPr lang="en-CA" dirty="0" smtClean="0"/>
            <a:t>Exception Management</a:t>
          </a:r>
          <a:endParaRPr lang="en-CA" dirty="0"/>
        </a:p>
      </dgm:t>
    </dgm:pt>
    <dgm:pt modelId="{0337049D-B279-4CDA-BC58-9012A6C8D866}" type="parTrans" cxnId="{C80ADA5D-EDDE-4039-AE76-5D16C5DEF4D6}">
      <dgm:prSet/>
      <dgm:spPr/>
      <dgm:t>
        <a:bodyPr/>
        <a:lstStyle/>
        <a:p>
          <a:endParaRPr lang="en-CA"/>
        </a:p>
      </dgm:t>
    </dgm:pt>
    <dgm:pt modelId="{7057E05D-BA21-4D5D-AA15-7A34AE17A50A}" type="sibTrans" cxnId="{C80ADA5D-EDDE-4039-AE76-5D16C5DEF4D6}">
      <dgm:prSet/>
      <dgm:spPr/>
      <dgm:t>
        <a:bodyPr/>
        <a:lstStyle/>
        <a:p>
          <a:endParaRPr lang="en-CA"/>
        </a:p>
      </dgm:t>
    </dgm:pt>
    <dgm:pt modelId="{DE18D377-5697-4E82-81A4-7F2A4849AA4A}">
      <dgm:prSet phldrT="[Text]"/>
      <dgm:spPr>
        <a:solidFill>
          <a:srgbClr val="00A9D4"/>
        </a:solidFill>
      </dgm:spPr>
      <dgm:t>
        <a:bodyPr/>
        <a:lstStyle/>
        <a:p>
          <a:r>
            <a:rPr lang="en-CA" dirty="0" smtClean="0"/>
            <a:t>Adaptor</a:t>
          </a:r>
          <a:endParaRPr lang="en-CA" dirty="0"/>
        </a:p>
      </dgm:t>
    </dgm:pt>
    <dgm:pt modelId="{864D9F1D-4F2B-4886-A1B5-5EEF04380FE8}" type="parTrans" cxnId="{85F10F79-4ECD-4D27-97DF-3A27D0229FA7}">
      <dgm:prSet/>
      <dgm:spPr/>
      <dgm:t>
        <a:bodyPr/>
        <a:lstStyle/>
        <a:p>
          <a:endParaRPr lang="en-CA"/>
        </a:p>
      </dgm:t>
    </dgm:pt>
    <dgm:pt modelId="{AA778D48-59A8-4AFB-9BF3-280F7A24D480}" type="sibTrans" cxnId="{85F10F79-4ECD-4D27-97DF-3A27D0229FA7}">
      <dgm:prSet/>
      <dgm:spPr/>
      <dgm:t>
        <a:bodyPr/>
        <a:lstStyle/>
        <a:p>
          <a:endParaRPr lang="en-CA"/>
        </a:p>
      </dgm:t>
    </dgm:pt>
    <dgm:pt modelId="{F1ACA930-DE0B-4D9E-9752-4EA8E5C292B5}">
      <dgm:prSet phldrT="[Text]"/>
      <dgm:spPr>
        <a:solidFill>
          <a:srgbClr val="8F3F7B"/>
        </a:solidFill>
      </dgm:spPr>
      <dgm:t>
        <a:bodyPr/>
        <a:lstStyle/>
        <a:p>
          <a:r>
            <a:rPr lang="en-CA" dirty="0" smtClean="0"/>
            <a:t>Target System Publishing</a:t>
          </a:r>
        </a:p>
      </dgm:t>
    </dgm:pt>
    <dgm:pt modelId="{75685D82-6F1C-4917-A029-B7DFC842C091}" type="parTrans" cxnId="{8C58769E-EA4B-4876-85FF-3216F527A654}">
      <dgm:prSet/>
      <dgm:spPr/>
      <dgm:t>
        <a:bodyPr/>
        <a:lstStyle/>
        <a:p>
          <a:endParaRPr lang="en-CA"/>
        </a:p>
      </dgm:t>
    </dgm:pt>
    <dgm:pt modelId="{C3A76F86-47DD-49F0-B098-FBE3BEC50A91}" type="sibTrans" cxnId="{8C58769E-EA4B-4876-85FF-3216F527A654}">
      <dgm:prSet/>
      <dgm:spPr/>
      <dgm:t>
        <a:bodyPr/>
        <a:lstStyle/>
        <a:p>
          <a:endParaRPr lang="en-CA"/>
        </a:p>
      </dgm:t>
    </dgm:pt>
    <dgm:pt modelId="{93C1421F-F5EE-46D5-ADF3-1072098D1439}">
      <dgm:prSet phldrT="[Text]"/>
      <dgm:spPr/>
      <dgm:t>
        <a:bodyPr/>
        <a:lstStyle/>
        <a:p>
          <a:r>
            <a:rPr lang="en-CA" dirty="0" smtClean="0"/>
            <a:t>Rollback</a:t>
          </a:r>
          <a:endParaRPr lang="en-CA" dirty="0"/>
        </a:p>
      </dgm:t>
    </dgm:pt>
    <dgm:pt modelId="{85887C5E-E213-4B67-939E-8B85029BA5CF}" type="parTrans" cxnId="{7F10CF79-8F6B-4E28-9290-3D83590C5F4A}">
      <dgm:prSet/>
      <dgm:spPr/>
      <dgm:t>
        <a:bodyPr/>
        <a:lstStyle/>
        <a:p>
          <a:endParaRPr lang="en-CA"/>
        </a:p>
      </dgm:t>
    </dgm:pt>
    <dgm:pt modelId="{780A1592-2931-4198-BE13-588D51A0F413}" type="sibTrans" cxnId="{7F10CF79-8F6B-4E28-9290-3D83590C5F4A}">
      <dgm:prSet/>
      <dgm:spPr/>
      <dgm:t>
        <a:bodyPr/>
        <a:lstStyle/>
        <a:p>
          <a:endParaRPr lang="en-CA"/>
        </a:p>
      </dgm:t>
    </dgm:pt>
    <dgm:pt modelId="{999B15E2-CF32-4D69-AF09-E71A3D22098A}">
      <dgm:prSet phldrT="[Text]"/>
      <dgm:spPr>
        <a:solidFill>
          <a:srgbClr val="00285F"/>
        </a:solidFill>
      </dgm:spPr>
      <dgm:t>
        <a:bodyPr/>
        <a:lstStyle/>
        <a:p>
          <a:r>
            <a:rPr lang="en-CA" dirty="0" smtClean="0"/>
            <a:t>Mapping</a:t>
          </a:r>
        </a:p>
      </dgm:t>
    </dgm:pt>
    <dgm:pt modelId="{929A425D-6BCD-4306-BB84-83420E8C0BB1}" type="parTrans" cxnId="{430B1A8C-E430-4CA0-BDF5-D0C7A50841F9}">
      <dgm:prSet/>
      <dgm:spPr/>
      <dgm:t>
        <a:bodyPr/>
        <a:lstStyle/>
        <a:p>
          <a:endParaRPr lang="en-CA"/>
        </a:p>
      </dgm:t>
    </dgm:pt>
    <dgm:pt modelId="{80CA72C9-4F6B-4282-958C-D4673A667063}" type="sibTrans" cxnId="{430B1A8C-E430-4CA0-BDF5-D0C7A50841F9}">
      <dgm:prSet/>
      <dgm:spPr/>
      <dgm:t>
        <a:bodyPr/>
        <a:lstStyle/>
        <a:p>
          <a:endParaRPr lang="en-CA"/>
        </a:p>
      </dgm:t>
    </dgm:pt>
    <dgm:pt modelId="{3F898EDD-B700-4FE0-8FD9-083488F5F8D7}">
      <dgm:prSet phldrT="[Text]"/>
      <dgm:spPr>
        <a:solidFill>
          <a:srgbClr val="007B78"/>
        </a:solidFill>
      </dgm:spPr>
      <dgm:t>
        <a:bodyPr/>
        <a:lstStyle/>
        <a:p>
          <a:r>
            <a:rPr lang="en-CA" dirty="0" smtClean="0"/>
            <a:t>Sequencing</a:t>
          </a:r>
        </a:p>
      </dgm:t>
    </dgm:pt>
    <dgm:pt modelId="{B85C4002-E4DC-4129-8E61-FF3382B094DB}" type="parTrans" cxnId="{481F7BFB-F1BC-49E8-97B0-E756ED9DA4C9}">
      <dgm:prSet/>
      <dgm:spPr/>
      <dgm:t>
        <a:bodyPr/>
        <a:lstStyle/>
        <a:p>
          <a:endParaRPr lang="en-CA"/>
        </a:p>
      </dgm:t>
    </dgm:pt>
    <dgm:pt modelId="{5E740CB8-7A01-4DAB-AB6F-DCD0BBE52CE3}" type="sibTrans" cxnId="{481F7BFB-F1BC-49E8-97B0-E756ED9DA4C9}">
      <dgm:prSet/>
      <dgm:spPr/>
      <dgm:t>
        <a:bodyPr/>
        <a:lstStyle/>
        <a:p>
          <a:endParaRPr lang="en-CA"/>
        </a:p>
      </dgm:t>
    </dgm:pt>
    <dgm:pt modelId="{52A9EEEC-E730-4984-80C6-38E248B507A7}">
      <dgm:prSet phldrT="[Text]"/>
      <dgm:spPr/>
      <dgm:t>
        <a:bodyPr/>
        <a:lstStyle/>
        <a:p>
          <a:r>
            <a:rPr lang="en-CA" dirty="0" smtClean="0"/>
            <a:t>Exceptions</a:t>
          </a:r>
        </a:p>
      </dgm:t>
    </dgm:pt>
    <dgm:pt modelId="{EAC98B18-D380-4023-B853-11E8F525D4D9}" type="parTrans" cxnId="{BCC1BB21-E95B-4F18-A5C2-E1663E170E6A}">
      <dgm:prSet/>
      <dgm:spPr/>
      <dgm:t>
        <a:bodyPr/>
        <a:lstStyle/>
        <a:p>
          <a:endParaRPr lang="en-CA"/>
        </a:p>
      </dgm:t>
    </dgm:pt>
    <dgm:pt modelId="{8F3D7744-739F-4E7A-B87E-883908CE8E51}" type="sibTrans" cxnId="{BCC1BB21-E95B-4F18-A5C2-E1663E170E6A}">
      <dgm:prSet/>
      <dgm:spPr/>
      <dgm:t>
        <a:bodyPr/>
        <a:lstStyle/>
        <a:p>
          <a:endParaRPr lang="en-CA"/>
        </a:p>
      </dgm:t>
    </dgm:pt>
    <dgm:pt modelId="{498F3404-F2C3-491B-A98E-907463AB42E0}" type="pres">
      <dgm:prSet presAssocID="{7F39982F-431C-40A5-B289-9FDF548D3581}" presName="Name0" presStyleCnt="0">
        <dgm:presLayoutVars>
          <dgm:chPref val="1"/>
          <dgm:dir/>
          <dgm:animOne val="branch"/>
          <dgm:animLvl val="lvl"/>
          <dgm:resizeHandles/>
        </dgm:presLayoutVars>
      </dgm:prSet>
      <dgm:spPr/>
      <dgm:t>
        <a:bodyPr/>
        <a:lstStyle/>
        <a:p>
          <a:endParaRPr lang="en-CA"/>
        </a:p>
      </dgm:t>
    </dgm:pt>
    <dgm:pt modelId="{78F88878-D342-4284-900A-137D4E47823C}" type="pres">
      <dgm:prSet presAssocID="{0C62833B-7F99-421F-BB29-22C8B59277FB}" presName="vertOne" presStyleCnt="0"/>
      <dgm:spPr/>
    </dgm:pt>
    <dgm:pt modelId="{0CD20ABF-151A-48AB-ACCB-6C7D26FE880A}" type="pres">
      <dgm:prSet presAssocID="{0C62833B-7F99-421F-BB29-22C8B59277FB}" presName="txOne" presStyleLbl="node0" presStyleIdx="0" presStyleCnt="2">
        <dgm:presLayoutVars>
          <dgm:chPref val="3"/>
        </dgm:presLayoutVars>
      </dgm:prSet>
      <dgm:spPr/>
      <dgm:t>
        <a:bodyPr/>
        <a:lstStyle/>
        <a:p>
          <a:endParaRPr lang="en-CA"/>
        </a:p>
      </dgm:t>
    </dgm:pt>
    <dgm:pt modelId="{79D2A592-D4A2-4337-AB5A-7BF8C9B4108E}" type="pres">
      <dgm:prSet presAssocID="{0C62833B-7F99-421F-BB29-22C8B59277FB}" presName="parTransOne" presStyleCnt="0"/>
      <dgm:spPr/>
    </dgm:pt>
    <dgm:pt modelId="{AC3247BC-B6F0-4B4C-9ADC-B5722C4A349C}" type="pres">
      <dgm:prSet presAssocID="{0C62833B-7F99-421F-BB29-22C8B59277FB}" presName="horzOne" presStyleCnt="0"/>
      <dgm:spPr/>
    </dgm:pt>
    <dgm:pt modelId="{9B27672B-7C69-4415-81B7-0DC348EF4B77}" type="pres">
      <dgm:prSet presAssocID="{7E428E05-8B22-42E0-AA1E-9E33EC2DFBB1}" presName="vertTwo" presStyleCnt="0"/>
      <dgm:spPr/>
    </dgm:pt>
    <dgm:pt modelId="{A467A44E-0A15-4642-A6A4-66A420DC4EEF}" type="pres">
      <dgm:prSet presAssocID="{7E428E05-8B22-42E0-AA1E-9E33EC2DFBB1}" presName="txTwo" presStyleLbl="node2" presStyleIdx="0" presStyleCnt="2">
        <dgm:presLayoutVars>
          <dgm:chPref val="3"/>
        </dgm:presLayoutVars>
      </dgm:prSet>
      <dgm:spPr/>
      <dgm:t>
        <a:bodyPr/>
        <a:lstStyle/>
        <a:p>
          <a:endParaRPr lang="en-CA"/>
        </a:p>
      </dgm:t>
    </dgm:pt>
    <dgm:pt modelId="{3A199C49-A98A-47A2-A8AA-23A62872684D}" type="pres">
      <dgm:prSet presAssocID="{7E428E05-8B22-42E0-AA1E-9E33EC2DFBB1}" presName="parTransTwo" presStyleCnt="0"/>
      <dgm:spPr/>
    </dgm:pt>
    <dgm:pt modelId="{9E2A23FA-7CEA-4771-810F-A4AE55019153}" type="pres">
      <dgm:prSet presAssocID="{7E428E05-8B22-42E0-AA1E-9E33EC2DFBB1}" presName="horzTwo" presStyleCnt="0"/>
      <dgm:spPr/>
    </dgm:pt>
    <dgm:pt modelId="{2CFD24E8-DE09-4100-8297-B11A7A46CD93}" type="pres">
      <dgm:prSet presAssocID="{C57A9E6D-F0D4-4362-A617-38658A2EACFD}" presName="vertThree" presStyleCnt="0"/>
      <dgm:spPr/>
    </dgm:pt>
    <dgm:pt modelId="{888471A4-786E-42B1-817A-653A0F5A0CB3}" type="pres">
      <dgm:prSet presAssocID="{C57A9E6D-F0D4-4362-A617-38658A2EACFD}" presName="txThree" presStyleLbl="node3" presStyleIdx="0" presStyleCnt="6">
        <dgm:presLayoutVars>
          <dgm:chPref val="3"/>
        </dgm:presLayoutVars>
      </dgm:prSet>
      <dgm:spPr/>
      <dgm:t>
        <a:bodyPr/>
        <a:lstStyle/>
        <a:p>
          <a:endParaRPr lang="en-CA"/>
        </a:p>
      </dgm:t>
    </dgm:pt>
    <dgm:pt modelId="{E10484D1-0E3F-4973-90D0-A18C387E059D}" type="pres">
      <dgm:prSet presAssocID="{C57A9E6D-F0D4-4362-A617-38658A2EACFD}" presName="horzThree" presStyleCnt="0"/>
      <dgm:spPr/>
    </dgm:pt>
    <dgm:pt modelId="{1E8A29E4-7BEA-4B26-BC31-186A04C33B7D}" type="pres">
      <dgm:prSet presAssocID="{BC13954F-54D6-45DB-BB42-F85B3217FCE6}" presName="sibSpaceThree" presStyleCnt="0"/>
      <dgm:spPr/>
    </dgm:pt>
    <dgm:pt modelId="{0E456F23-BC29-467C-82F9-4088BCA9B79E}" type="pres">
      <dgm:prSet presAssocID="{813FDA44-1A4E-44BA-8FBF-199A83F886ED}" presName="vertThree" presStyleCnt="0"/>
      <dgm:spPr/>
    </dgm:pt>
    <dgm:pt modelId="{B4226CA6-2E5A-4FFA-85C3-CE3DD11FA0EA}" type="pres">
      <dgm:prSet presAssocID="{813FDA44-1A4E-44BA-8FBF-199A83F886ED}" presName="txThree" presStyleLbl="node3" presStyleIdx="1" presStyleCnt="6">
        <dgm:presLayoutVars>
          <dgm:chPref val="3"/>
        </dgm:presLayoutVars>
      </dgm:prSet>
      <dgm:spPr/>
      <dgm:t>
        <a:bodyPr/>
        <a:lstStyle/>
        <a:p>
          <a:endParaRPr lang="en-CA"/>
        </a:p>
      </dgm:t>
    </dgm:pt>
    <dgm:pt modelId="{D9C35434-6E4C-4AF4-A7F8-95CAF2ACCA73}" type="pres">
      <dgm:prSet presAssocID="{813FDA44-1A4E-44BA-8FBF-199A83F886ED}" presName="horzThree" presStyleCnt="0"/>
      <dgm:spPr/>
    </dgm:pt>
    <dgm:pt modelId="{A1B305A4-40C4-4672-8C7D-469A129BAEDF}" type="pres">
      <dgm:prSet presAssocID="{7057E05D-BA21-4D5D-AA15-7A34AE17A50A}" presName="sibSpaceThree" presStyleCnt="0"/>
      <dgm:spPr/>
    </dgm:pt>
    <dgm:pt modelId="{2A481D6E-3FC7-4CBD-B73C-B3AF8C639D52}" type="pres">
      <dgm:prSet presAssocID="{93C1421F-F5EE-46D5-ADF3-1072098D1439}" presName="vertThree" presStyleCnt="0"/>
      <dgm:spPr/>
    </dgm:pt>
    <dgm:pt modelId="{F8E21356-6202-4196-A695-6222DFF5E471}" type="pres">
      <dgm:prSet presAssocID="{93C1421F-F5EE-46D5-ADF3-1072098D1439}" presName="txThree" presStyleLbl="node3" presStyleIdx="2" presStyleCnt="6">
        <dgm:presLayoutVars>
          <dgm:chPref val="3"/>
        </dgm:presLayoutVars>
      </dgm:prSet>
      <dgm:spPr/>
      <dgm:t>
        <a:bodyPr/>
        <a:lstStyle/>
        <a:p>
          <a:endParaRPr lang="en-CA"/>
        </a:p>
      </dgm:t>
    </dgm:pt>
    <dgm:pt modelId="{1D8BCB71-6BAD-420D-A946-A697DBAF2C5C}" type="pres">
      <dgm:prSet presAssocID="{93C1421F-F5EE-46D5-ADF3-1072098D1439}" presName="horzThree" presStyleCnt="0"/>
      <dgm:spPr/>
    </dgm:pt>
    <dgm:pt modelId="{1A851818-DBD6-41FF-904A-CDD98E9A7584}" type="pres">
      <dgm:prSet presAssocID="{B022C9D6-302F-4D5B-A93C-507AD9042C90}" presName="sibSpaceOne" presStyleCnt="0"/>
      <dgm:spPr/>
    </dgm:pt>
    <dgm:pt modelId="{80732599-FDED-4BC6-AAE3-ED2BBCDEAFCD}" type="pres">
      <dgm:prSet presAssocID="{DE18D377-5697-4E82-81A4-7F2A4849AA4A}" presName="vertOne" presStyleCnt="0"/>
      <dgm:spPr/>
    </dgm:pt>
    <dgm:pt modelId="{A8BC8505-4D87-4E56-9976-840535097FA1}" type="pres">
      <dgm:prSet presAssocID="{DE18D377-5697-4E82-81A4-7F2A4849AA4A}" presName="txOne" presStyleLbl="node0" presStyleIdx="1" presStyleCnt="2">
        <dgm:presLayoutVars>
          <dgm:chPref val="3"/>
        </dgm:presLayoutVars>
      </dgm:prSet>
      <dgm:spPr/>
      <dgm:t>
        <a:bodyPr/>
        <a:lstStyle/>
        <a:p>
          <a:endParaRPr lang="en-CA"/>
        </a:p>
      </dgm:t>
    </dgm:pt>
    <dgm:pt modelId="{2331AFA5-9BD4-4FC5-93D9-CC744EC0E61C}" type="pres">
      <dgm:prSet presAssocID="{DE18D377-5697-4E82-81A4-7F2A4849AA4A}" presName="parTransOne" presStyleCnt="0"/>
      <dgm:spPr/>
    </dgm:pt>
    <dgm:pt modelId="{198B6483-3CAB-4378-A28A-1D5F3B56EEB4}" type="pres">
      <dgm:prSet presAssocID="{DE18D377-5697-4E82-81A4-7F2A4849AA4A}" presName="horzOne" presStyleCnt="0"/>
      <dgm:spPr/>
    </dgm:pt>
    <dgm:pt modelId="{550E8EA6-229D-49C5-A5C5-65F97C3980EC}" type="pres">
      <dgm:prSet presAssocID="{F1ACA930-DE0B-4D9E-9752-4EA8E5C292B5}" presName="vertTwo" presStyleCnt="0"/>
      <dgm:spPr/>
    </dgm:pt>
    <dgm:pt modelId="{6B1461E1-04F1-4AA2-BF13-8CE90B9398A0}" type="pres">
      <dgm:prSet presAssocID="{F1ACA930-DE0B-4D9E-9752-4EA8E5C292B5}" presName="txTwo" presStyleLbl="node2" presStyleIdx="1" presStyleCnt="2">
        <dgm:presLayoutVars>
          <dgm:chPref val="3"/>
        </dgm:presLayoutVars>
      </dgm:prSet>
      <dgm:spPr/>
      <dgm:t>
        <a:bodyPr/>
        <a:lstStyle/>
        <a:p>
          <a:endParaRPr lang="en-CA"/>
        </a:p>
      </dgm:t>
    </dgm:pt>
    <dgm:pt modelId="{F8BA7444-322B-4E82-856C-E05383114644}" type="pres">
      <dgm:prSet presAssocID="{F1ACA930-DE0B-4D9E-9752-4EA8E5C292B5}" presName="parTransTwo" presStyleCnt="0"/>
      <dgm:spPr/>
    </dgm:pt>
    <dgm:pt modelId="{13DF940B-76A2-45FC-91F5-2CAECB95DB43}" type="pres">
      <dgm:prSet presAssocID="{F1ACA930-DE0B-4D9E-9752-4EA8E5C292B5}" presName="horzTwo" presStyleCnt="0"/>
      <dgm:spPr/>
    </dgm:pt>
    <dgm:pt modelId="{5146E992-48C7-4B14-9F72-6B341AB1721C}" type="pres">
      <dgm:prSet presAssocID="{999B15E2-CF32-4D69-AF09-E71A3D22098A}" presName="vertThree" presStyleCnt="0"/>
      <dgm:spPr/>
    </dgm:pt>
    <dgm:pt modelId="{15358DB9-9508-4EB0-B94A-44CABF55AC69}" type="pres">
      <dgm:prSet presAssocID="{999B15E2-CF32-4D69-AF09-E71A3D22098A}" presName="txThree" presStyleLbl="node3" presStyleIdx="3" presStyleCnt="6">
        <dgm:presLayoutVars>
          <dgm:chPref val="3"/>
        </dgm:presLayoutVars>
      </dgm:prSet>
      <dgm:spPr/>
      <dgm:t>
        <a:bodyPr/>
        <a:lstStyle/>
        <a:p>
          <a:endParaRPr lang="en-CA"/>
        </a:p>
      </dgm:t>
    </dgm:pt>
    <dgm:pt modelId="{FDDAEB2E-52D9-4304-8DE4-544244C299E6}" type="pres">
      <dgm:prSet presAssocID="{999B15E2-CF32-4D69-AF09-E71A3D22098A}" presName="horzThree" presStyleCnt="0"/>
      <dgm:spPr/>
    </dgm:pt>
    <dgm:pt modelId="{4733A7B9-D57F-4CE1-B05A-4E5D06BEEBE6}" type="pres">
      <dgm:prSet presAssocID="{80CA72C9-4F6B-4282-958C-D4673A667063}" presName="sibSpaceThree" presStyleCnt="0"/>
      <dgm:spPr/>
    </dgm:pt>
    <dgm:pt modelId="{1D337348-2364-4B6F-BB08-15EDD06B379D}" type="pres">
      <dgm:prSet presAssocID="{3F898EDD-B700-4FE0-8FD9-083488F5F8D7}" presName="vertThree" presStyleCnt="0"/>
      <dgm:spPr/>
    </dgm:pt>
    <dgm:pt modelId="{ACE14E55-72B1-4B46-8728-F302E5862D0E}" type="pres">
      <dgm:prSet presAssocID="{3F898EDD-B700-4FE0-8FD9-083488F5F8D7}" presName="txThree" presStyleLbl="node3" presStyleIdx="4" presStyleCnt="6">
        <dgm:presLayoutVars>
          <dgm:chPref val="3"/>
        </dgm:presLayoutVars>
      </dgm:prSet>
      <dgm:spPr/>
      <dgm:t>
        <a:bodyPr/>
        <a:lstStyle/>
        <a:p>
          <a:endParaRPr lang="en-CA"/>
        </a:p>
      </dgm:t>
    </dgm:pt>
    <dgm:pt modelId="{0F06BFB3-FDA3-4331-ADDD-9705211CCA76}" type="pres">
      <dgm:prSet presAssocID="{3F898EDD-B700-4FE0-8FD9-083488F5F8D7}" presName="horzThree" presStyleCnt="0"/>
      <dgm:spPr/>
    </dgm:pt>
    <dgm:pt modelId="{1A3E1681-D66C-41B9-88A5-9C470E4E7B8B}" type="pres">
      <dgm:prSet presAssocID="{5E740CB8-7A01-4DAB-AB6F-DCD0BBE52CE3}" presName="sibSpaceThree" presStyleCnt="0"/>
      <dgm:spPr/>
    </dgm:pt>
    <dgm:pt modelId="{6CA302F4-125C-4271-9428-8F9B05464B2F}" type="pres">
      <dgm:prSet presAssocID="{52A9EEEC-E730-4984-80C6-38E248B507A7}" presName="vertThree" presStyleCnt="0"/>
      <dgm:spPr/>
    </dgm:pt>
    <dgm:pt modelId="{843EA97C-C119-4300-8CC2-1062C19B2F9F}" type="pres">
      <dgm:prSet presAssocID="{52A9EEEC-E730-4984-80C6-38E248B507A7}" presName="txThree" presStyleLbl="node3" presStyleIdx="5" presStyleCnt="6">
        <dgm:presLayoutVars>
          <dgm:chPref val="3"/>
        </dgm:presLayoutVars>
      </dgm:prSet>
      <dgm:spPr/>
      <dgm:t>
        <a:bodyPr/>
        <a:lstStyle/>
        <a:p>
          <a:endParaRPr lang="en-CA"/>
        </a:p>
      </dgm:t>
    </dgm:pt>
    <dgm:pt modelId="{ADBE424E-3DBA-4741-A1A8-B86D559E931B}" type="pres">
      <dgm:prSet presAssocID="{52A9EEEC-E730-4984-80C6-38E248B507A7}" presName="horzThree" presStyleCnt="0"/>
      <dgm:spPr/>
    </dgm:pt>
  </dgm:ptLst>
  <dgm:cxnLst>
    <dgm:cxn modelId="{BCC1BB21-E95B-4F18-A5C2-E1663E170E6A}" srcId="{F1ACA930-DE0B-4D9E-9752-4EA8E5C292B5}" destId="{52A9EEEC-E730-4984-80C6-38E248B507A7}" srcOrd="2" destOrd="0" parTransId="{EAC98B18-D380-4023-B853-11E8F525D4D9}" sibTransId="{8F3D7744-739F-4E7A-B87E-883908CE8E51}"/>
    <dgm:cxn modelId="{AB829399-8E06-4AF5-9F73-8701F81B5DFE}" type="presOf" srcId="{0C62833B-7F99-421F-BB29-22C8B59277FB}" destId="{0CD20ABF-151A-48AB-ACCB-6C7D26FE880A}" srcOrd="0" destOrd="0" presId="urn:microsoft.com/office/officeart/2005/8/layout/hierarchy4"/>
    <dgm:cxn modelId="{B3879CBA-7DE8-469C-B16D-2E4B8148C28B}" srcId="{7E428E05-8B22-42E0-AA1E-9E33EC2DFBB1}" destId="{C57A9E6D-F0D4-4362-A617-38658A2EACFD}" srcOrd="0" destOrd="0" parTransId="{8D1D0DE3-C835-4D3C-BB7E-1024EE5844AA}" sibTransId="{BC13954F-54D6-45DB-BB42-F85B3217FCE6}"/>
    <dgm:cxn modelId="{30416162-474D-4727-9610-72EA816AC368}" type="presOf" srcId="{999B15E2-CF32-4D69-AF09-E71A3D22098A}" destId="{15358DB9-9508-4EB0-B94A-44CABF55AC69}" srcOrd="0" destOrd="0" presId="urn:microsoft.com/office/officeart/2005/8/layout/hierarchy4"/>
    <dgm:cxn modelId="{B90A6B25-C39C-42ED-B9D9-86E0CB212680}" type="presOf" srcId="{C57A9E6D-F0D4-4362-A617-38658A2EACFD}" destId="{888471A4-786E-42B1-817A-653A0F5A0CB3}" srcOrd="0" destOrd="0" presId="urn:microsoft.com/office/officeart/2005/8/layout/hierarchy4"/>
    <dgm:cxn modelId="{3F54AA2B-5E51-47CF-8F29-D49DBC1660F0}" type="presOf" srcId="{7F39982F-431C-40A5-B289-9FDF548D3581}" destId="{498F3404-F2C3-491B-A98E-907463AB42E0}" srcOrd="0" destOrd="0" presId="urn:microsoft.com/office/officeart/2005/8/layout/hierarchy4"/>
    <dgm:cxn modelId="{4F30B6AE-3CD8-48BC-AD98-835FE914E22D}" type="presOf" srcId="{F1ACA930-DE0B-4D9E-9752-4EA8E5C292B5}" destId="{6B1461E1-04F1-4AA2-BF13-8CE90B9398A0}" srcOrd="0" destOrd="0" presId="urn:microsoft.com/office/officeart/2005/8/layout/hierarchy4"/>
    <dgm:cxn modelId="{D7967C0C-AF4A-41B9-AAC8-83E544055DC2}" type="presOf" srcId="{7E428E05-8B22-42E0-AA1E-9E33EC2DFBB1}" destId="{A467A44E-0A15-4642-A6A4-66A420DC4EEF}" srcOrd="0" destOrd="0" presId="urn:microsoft.com/office/officeart/2005/8/layout/hierarchy4"/>
    <dgm:cxn modelId="{CEEE7FD8-7AE8-4BD4-AE80-6A5A1AE5CFF6}" type="presOf" srcId="{DE18D377-5697-4E82-81A4-7F2A4849AA4A}" destId="{A8BC8505-4D87-4E56-9976-840535097FA1}" srcOrd="0" destOrd="0" presId="urn:microsoft.com/office/officeart/2005/8/layout/hierarchy4"/>
    <dgm:cxn modelId="{430B1A8C-E430-4CA0-BDF5-D0C7A50841F9}" srcId="{F1ACA930-DE0B-4D9E-9752-4EA8E5C292B5}" destId="{999B15E2-CF32-4D69-AF09-E71A3D22098A}" srcOrd="0" destOrd="0" parTransId="{929A425D-6BCD-4306-BB84-83420E8C0BB1}" sibTransId="{80CA72C9-4F6B-4282-958C-D4673A667063}"/>
    <dgm:cxn modelId="{E77FD0A0-E64E-474E-9266-32E39EDA2CE2}" srcId="{7F39982F-431C-40A5-B289-9FDF548D3581}" destId="{0C62833B-7F99-421F-BB29-22C8B59277FB}" srcOrd="0" destOrd="0" parTransId="{F391242B-2CBC-454F-B2DF-0E39A1E563FC}" sibTransId="{B022C9D6-302F-4D5B-A93C-507AD9042C90}"/>
    <dgm:cxn modelId="{9FDBC7A9-6EB8-4939-A2E8-0F340F3B589D}" type="presOf" srcId="{3F898EDD-B700-4FE0-8FD9-083488F5F8D7}" destId="{ACE14E55-72B1-4B46-8728-F302E5862D0E}" srcOrd="0" destOrd="0" presId="urn:microsoft.com/office/officeart/2005/8/layout/hierarchy4"/>
    <dgm:cxn modelId="{481F7BFB-F1BC-49E8-97B0-E756ED9DA4C9}" srcId="{F1ACA930-DE0B-4D9E-9752-4EA8E5C292B5}" destId="{3F898EDD-B700-4FE0-8FD9-083488F5F8D7}" srcOrd="1" destOrd="0" parTransId="{B85C4002-E4DC-4129-8E61-FF3382B094DB}" sibTransId="{5E740CB8-7A01-4DAB-AB6F-DCD0BBE52CE3}"/>
    <dgm:cxn modelId="{8C58769E-EA4B-4876-85FF-3216F527A654}" srcId="{DE18D377-5697-4E82-81A4-7F2A4849AA4A}" destId="{F1ACA930-DE0B-4D9E-9752-4EA8E5C292B5}" srcOrd="0" destOrd="0" parTransId="{75685D82-6F1C-4917-A029-B7DFC842C091}" sibTransId="{C3A76F86-47DD-49F0-B098-FBE3BEC50A91}"/>
    <dgm:cxn modelId="{85F10F79-4ECD-4D27-97DF-3A27D0229FA7}" srcId="{7F39982F-431C-40A5-B289-9FDF548D3581}" destId="{DE18D377-5697-4E82-81A4-7F2A4849AA4A}" srcOrd="1" destOrd="0" parTransId="{864D9F1D-4F2B-4886-A1B5-5EEF04380FE8}" sibTransId="{AA778D48-59A8-4AFB-9BF3-280F7A24D480}"/>
    <dgm:cxn modelId="{C80ADA5D-EDDE-4039-AE76-5D16C5DEF4D6}" srcId="{7E428E05-8B22-42E0-AA1E-9E33EC2DFBB1}" destId="{813FDA44-1A4E-44BA-8FBF-199A83F886ED}" srcOrd="1" destOrd="0" parTransId="{0337049D-B279-4CDA-BC58-9012A6C8D866}" sibTransId="{7057E05D-BA21-4D5D-AA15-7A34AE17A50A}"/>
    <dgm:cxn modelId="{EA1930CA-2939-4331-AAB5-903C73F73961}" type="presOf" srcId="{52A9EEEC-E730-4984-80C6-38E248B507A7}" destId="{843EA97C-C119-4300-8CC2-1062C19B2F9F}" srcOrd="0" destOrd="0" presId="urn:microsoft.com/office/officeart/2005/8/layout/hierarchy4"/>
    <dgm:cxn modelId="{7F10CF79-8F6B-4E28-9290-3D83590C5F4A}" srcId="{7E428E05-8B22-42E0-AA1E-9E33EC2DFBB1}" destId="{93C1421F-F5EE-46D5-ADF3-1072098D1439}" srcOrd="2" destOrd="0" parTransId="{85887C5E-E213-4B67-939E-8B85029BA5CF}" sibTransId="{780A1592-2931-4198-BE13-588D51A0F413}"/>
    <dgm:cxn modelId="{D2B9DAB9-F90D-4A08-816C-CD0C1EB855A2}" srcId="{0C62833B-7F99-421F-BB29-22C8B59277FB}" destId="{7E428E05-8B22-42E0-AA1E-9E33EC2DFBB1}" srcOrd="0" destOrd="0" parTransId="{18F2A822-1F1B-42C5-80D9-F5C7198DB7C9}" sibTransId="{9E944F55-46A9-44E8-9A0E-A67215CA2832}"/>
    <dgm:cxn modelId="{101B010D-5587-4F71-A2C7-D57EF5EE336F}" type="presOf" srcId="{813FDA44-1A4E-44BA-8FBF-199A83F886ED}" destId="{B4226CA6-2E5A-4FFA-85C3-CE3DD11FA0EA}" srcOrd="0" destOrd="0" presId="urn:microsoft.com/office/officeart/2005/8/layout/hierarchy4"/>
    <dgm:cxn modelId="{6EDAC282-BEB9-499A-BA87-9FF9DD7EE5A0}" type="presOf" srcId="{93C1421F-F5EE-46D5-ADF3-1072098D1439}" destId="{F8E21356-6202-4196-A695-6222DFF5E471}" srcOrd="0" destOrd="0" presId="urn:microsoft.com/office/officeart/2005/8/layout/hierarchy4"/>
    <dgm:cxn modelId="{89CDF8A1-0B6D-44D3-BAC3-FEB1BF3273B0}" type="presParOf" srcId="{498F3404-F2C3-491B-A98E-907463AB42E0}" destId="{78F88878-D342-4284-900A-137D4E47823C}" srcOrd="0" destOrd="0" presId="urn:microsoft.com/office/officeart/2005/8/layout/hierarchy4"/>
    <dgm:cxn modelId="{A9628D91-B417-473B-A1DD-BD8C4E5BF4D9}" type="presParOf" srcId="{78F88878-D342-4284-900A-137D4E47823C}" destId="{0CD20ABF-151A-48AB-ACCB-6C7D26FE880A}" srcOrd="0" destOrd="0" presId="urn:microsoft.com/office/officeart/2005/8/layout/hierarchy4"/>
    <dgm:cxn modelId="{87383335-1970-42E0-99D2-D74FEF4E20ED}" type="presParOf" srcId="{78F88878-D342-4284-900A-137D4E47823C}" destId="{79D2A592-D4A2-4337-AB5A-7BF8C9B4108E}" srcOrd="1" destOrd="0" presId="urn:microsoft.com/office/officeart/2005/8/layout/hierarchy4"/>
    <dgm:cxn modelId="{14E7FCBA-EA85-4DBD-8AD2-722D5BFCFF9D}" type="presParOf" srcId="{78F88878-D342-4284-900A-137D4E47823C}" destId="{AC3247BC-B6F0-4B4C-9ADC-B5722C4A349C}" srcOrd="2" destOrd="0" presId="urn:microsoft.com/office/officeart/2005/8/layout/hierarchy4"/>
    <dgm:cxn modelId="{DF807B80-57E3-4A59-AE7A-C6B237C673EC}" type="presParOf" srcId="{AC3247BC-B6F0-4B4C-9ADC-B5722C4A349C}" destId="{9B27672B-7C69-4415-81B7-0DC348EF4B77}" srcOrd="0" destOrd="0" presId="urn:microsoft.com/office/officeart/2005/8/layout/hierarchy4"/>
    <dgm:cxn modelId="{9C867E4C-8E4C-4642-86B0-210BD8A77365}" type="presParOf" srcId="{9B27672B-7C69-4415-81B7-0DC348EF4B77}" destId="{A467A44E-0A15-4642-A6A4-66A420DC4EEF}" srcOrd="0" destOrd="0" presId="urn:microsoft.com/office/officeart/2005/8/layout/hierarchy4"/>
    <dgm:cxn modelId="{215E449C-0AB5-4CD9-B9D8-FBC9F424A15F}" type="presParOf" srcId="{9B27672B-7C69-4415-81B7-0DC348EF4B77}" destId="{3A199C49-A98A-47A2-A8AA-23A62872684D}" srcOrd="1" destOrd="0" presId="urn:microsoft.com/office/officeart/2005/8/layout/hierarchy4"/>
    <dgm:cxn modelId="{E59324EF-66D7-4528-8222-1D50BA99B2FB}" type="presParOf" srcId="{9B27672B-7C69-4415-81B7-0DC348EF4B77}" destId="{9E2A23FA-7CEA-4771-810F-A4AE55019153}" srcOrd="2" destOrd="0" presId="urn:microsoft.com/office/officeart/2005/8/layout/hierarchy4"/>
    <dgm:cxn modelId="{423AE299-A922-440A-B154-A2E3BA9CECB8}" type="presParOf" srcId="{9E2A23FA-7CEA-4771-810F-A4AE55019153}" destId="{2CFD24E8-DE09-4100-8297-B11A7A46CD93}" srcOrd="0" destOrd="0" presId="urn:microsoft.com/office/officeart/2005/8/layout/hierarchy4"/>
    <dgm:cxn modelId="{8CEB18D3-02E0-484D-B859-FC0FDAA27770}" type="presParOf" srcId="{2CFD24E8-DE09-4100-8297-B11A7A46CD93}" destId="{888471A4-786E-42B1-817A-653A0F5A0CB3}" srcOrd="0" destOrd="0" presId="urn:microsoft.com/office/officeart/2005/8/layout/hierarchy4"/>
    <dgm:cxn modelId="{92CBD09B-9B17-4299-9ABF-97DEFC630753}" type="presParOf" srcId="{2CFD24E8-DE09-4100-8297-B11A7A46CD93}" destId="{E10484D1-0E3F-4973-90D0-A18C387E059D}" srcOrd="1" destOrd="0" presId="urn:microsoft.com/office/officeart/2005/8/layout/hierarchy4"/>
    <dgm:cxn modelId="{87543429-ACC4-4879-8DB6-6009D4CDBE86}" type="presParOf" srcId="{9E2A23FA-7CEA-4771-810F-A4AE55019153}" destId="{1E8A29E4-7BEA-4B26-BC31-186A04C33B7D}" srcOrd="1" destOrd="0" presId="urn:microsoft.com/office/officeart/2005/8/layout/hierarchy4"/>
    <dgm:cxn modelId="{DD8B8B28-10FB-45B5-911B-F6E64AD702FB}" type="presParOf" srcId="{9E2A23FA-7CEA-4771-810F-A4AE55019153}" destId="{0E456F23-BC29-467C-82F9-4088BCA9B79E}" srcOrd="2" destOrd="0" presId="urn:microsoft.com/office/officeart/2005/8/layout/hierarchy4"/>
    <dgm:cxn modelId="{8853E881-C225-460F-A57F-2FACB35BDC3C}" type="presParOf" srcId="{0E456F23-BC29-467C-82F9-4088BCA9B79E}" destId="{B4226CA6-2E5A-4FFA-85C3-CE3DD11FA0EA}" srcOrd="0" destOrd="0" presId="urn:microsoft.com/office/officeart/2005/8/layout/hierarchy4"/>
    <dgm:cxn modelId="{43CB31B9-2B72-4D5D-901B-DA0B8CF33C49}" type="presParOf" srcId="{0E456F23-BC29-467C-82F9-4088BCA9B79E}" destId="{D9C35434-6E4C-4AF4-A7F8-95CAF2ACCA73}" srcOrd="1" destOrd="0" presId="urn:microsoft.com/office/officeart/2005/8/layout/hierarchy4"/>
    <dgm:cxn modelId="{E42BF4CE-64F9-4B24-B360-0F059AEEE852}" type="presParOf" srcId="{9E2A23FA-7CEA-4771-810F-A4AE55019153}" destId="{A1B305A4-40C4-4672-8C7D-469A129BAEDF}" srcOrd="3" destOrd="0" presId="urn:microsoft.com/office/officeart/2005/8/layout/hierarchy4"/>
    <dgm:cxn modelId="{C1EC2824-44D2-4951-BEC7-819F1132BBE0}" type="presParOf" srcId="{9E2A23FA-7CEA-4771-810F-A4AE55019153}" destId="{2A481D6E-3FC7-4CBD-B73C-B3AF8C639D52}" srcOrd="4" destOrd="0" presId="urn:microsoft.com/office/officeart/2005/8/layout/hierarchy4"/>
    <dgm:cxn modelId="{41F423A3-539F-4DCF-97C5-A6B63FB0E31B}" type="presParOf" srcId="{2A481D6E-3FC7-4CBD-B73C-B3AF8C639D52}" destId="{F8E21356-6202-4196-A695-6222DFF5E471}" srcOrd="0" destOrd="0" presId="urn:microsoft.com/office/officeart/2005/8/layout/hierarchy4"/>
    <dgm:cxn modelId="{65972023-3D22-4AB3-A06D-1D606660F2A9}" type="presParOf" srcId="{2A481D6E-3FC7-4CBD-B73C-B3AF8C639D52}" destId="{1D8BCB71-6BAD-420D-A946-A697DBAF2C5C}" srcOrd="1" destOrd="0" presId="urn:microsoft.com/office/officeart/2005/8/layout/hierarchy4"/>
    <dgm:cxn modelId="{46804EFB-DCCD-4F12-99C4-EA2838D77256}" type="presParOf" srcId="{498F3404-F2C3-491B-A98E-907463AB42E0}" destId="{1A851818-DBD6-41FF-904A-CDD98E9A7584}" srcOrd="1" destOrd="0" presId="urn:microsoft.com/office/officeart/2005/8/layout/hierarchy4"/>
    <dgm:cxn modelId="{F7DCECCF-2078-4FF1-A6C5-6FA6F810865F}" type="presParOf" srcId="{498F3404-F2C3-491B-A98E-907463AB42E0}" destId="{80732599-FDED-4BC6-AAE3-ED2BBCDEAFCD}" srcOrd="2" destOrd="0" presId="urn:microsoft.com/office/officeart/2005/8/layout/hierarchy4"/>
    <dgm:cxn modelId="{F0BF16C0-A17A-4DC3-AE21-7CF726BA70F0}" type="presParOf" srcId="{80732599-FDED-4BC6-AAE3-ED2BBCDEAFCD}" destId="{A8BC8505-4D87-4E56-9976-840535097FA1}" srcOrd="0" destOrd="0" presId="urn:microsoft.com/office/officeart/2005/8/layout/hierarchy4"/>
    <dgm:cxn modelId="{36A61E54-0C56-46FD-8B77-2E42ADD0E971}" type="presParOf" srcId="{80732599-FDED-4BC6-AAE3-ED2BBCDEAFCD}" destId="{2331AFA5-9BD4-4FC5-93D9-CC744EC0E61C}" srcOrd="1" destOrd="0" presId="urn:microsoft.com/office/officeart/2005/8/layout/hierarchy4"/>
    <dgm:cxn modelId="{0F497481-3F8E-4DEC-8219-DCF4AF5A061F}" type="presParOf" srcId="{80732599-FDED-4BC6-AAE3-ED2BBCDEAFCD}" destId="{198B6483-3CAB-4378-A28A-1D5F3B56EEB4}" srcOrd="2" destOrd="0" presId="urn:microsoft.com/office/officeart/2005/8/layout/hierarchy4"/>
    <dgm:cxn modelId="{6C2B2D9E-CED1-4424-9869-DACDA0DE6659}" type="presParOf" srcId="{198B6483-3CAB-4378-A28A-1D5F3B56EEB4}" destId="{550E8EA6-229D-49C5-A5C5-65F97C3980EC}" srcOrd="0" destOrd="0" presId="urn:microsoft.com/office/officeart/2005/8/layout/hierarchy4"/>
    <dgm:cxn modelId="{40779190-21E2-44C6-A372-9D3DB420B98A}" type="presParOf" srcId="{550E8EA6-229D-49C5-A5C5-65F97C3980EC}" destId="{6B1461E1-04F1-4AA2-BF13-8CE90B9398A0}" srcOrd="0" destOrd="0" presId="urn:microsoft.com/office/officeart/2005/8/layout/hierarchy4"/>
    <dgm:cxn modelId="{33687AB3-30C4-402A-8676-DD31F3FAAC1A}" type="presParOf" srcId="{550E8EA6-229D-49C5-A5C5-65F97C3980EC}" destId="{F8BA7444-322B-4E82-856C-E05383114644}" srcOrd="1" destOrd="0" presId="urn:microsoft.com/office/officeart/2005/8/layout/hierarchy4"/>
    <dgm:cxn modelId="{4A397B04-20A8-4415-B364-AFD8600811A5}" type="presParOf" srcId="{550E8EA6-229D-49C5-A5C5-65F97C3980EC}" destId="{13DF940B-76A2-45FC-91F5-2CAECB95DB43}" srcOrd="2" destOrd="0" presId="urn:microsoft.com/office/officeart/2005/8/layout/hierarchy4"/>
    <dgm:cxn modelId="{6BA3EB5D-B224-49DB-B11C-B8E18DCC26B0}" type="presParOf" srcId="{13DF940B-76A2-45FC-91F5-2CAECB95DB43}" destId="{5146E992-48C7-4B14-9F72-6B341AB1721C}" srcOrd="0" destOrd="0" presId="urn:microsoft.com/office/officeart/2005/8/layout/hierarchy4"/>
    <dgm:cxn modelId="{80A788C6-47E0-4430-ADFC-5B58C71D61A8}" type="presParOf" srcId="{5146E992-48C7-4B14-9F72-6B341AB1721C}" destId="{15358DB9-9508-4EB0-B94A-44CABF55AC69}" srcOrd="0" destOrd="0" presId="urn:microsoft.com/office/officeart/2005/8/layout/hierarchy4"/>
    <dgm:cxn modelId="{8FE354AF-A0DE-4072-A68C-69BCC009FD4D}" type="presParOf" srcId="{5146E992-48C7-4B14-9F72-6B341AB1721C}" destId="{FDDAEB2E-52D9-4304-8DE4-544244C299E6}" srcOrd="1" destOrd="0" presId="urn:microsoft.com/office/officeart/2005/8/layout/hierarchy4"/>
    <dgm:cxn modelId="{DC07B7BE-B011-4A6E-B40E-319037345182}" type="presParOf" srcId="{13DF940B-76A2-45FC-91F5-2CAECB95DB43}" destId="{4733A7B9-D57F-4CE1-B05A-4E5D06BEEBE6}" srcOrd="1" destOrd="0" presId="urn:microsoft.com/office/officeart/2005/8/layout/hierarchy4"/>
    <dgm:cxn modelId="{3EF27B90-08D2-46AB-B11E-C1B524E12984}" type="presParOf" srcId="{13DF940B-76A2-45FC-91F5-2CAECB95DB43}" destId="{1D337348-2364-4B6F-BB08-15EDD06B379D}" srcOrd="2" destOrd="0" presId="urn:microsoft.com/office/officeart/2005/8/layout/hierarchy4"/>
    <dgm:cxn modelId="{548CD39B-5920-4E41-8348-9A879DA4CD02}" type="presParOf" srcId="{1D337348-2364-4B6F-BB08-15EDD06B379D}" destId="{ACE14E55-72B1-4B46-8728-F302E5862D0E}" srcOrd="0" destOrd="0" presId="urn:microsoft.com/office/officeart/2005/8/layout/hierarchy4"/>
    <dgm:cxn modelId="{FDFA7BA9-A441-4111-9E27-CD9D60F240DC}" type="presParOf" srcId="{1D337348-2364-4B6F-BB08-15EDD06B379D}" destId="{0F06BFB3-FDA3-4331-ADDD-9705211CCA76}" srcOrd="1" destOrd="0" presId="urn:microsoft.com/office/officeart/2005/8/layout/hierarchy4"/>
    <dgm:cxn modelId="{8F9E7447-38C6-4FAC-9CBE-925953E0B1A9}" type="presParOf" srcId="{13DF940B-76A2-45FC-91F5-2CAECB95DB43}" destId="{1A3E1681-D66C-41B9-88A5-9C470E4E7B8B}" srcOrd="3" destOrd="0" presId="urn:microsoft.com/office/officeart/2005/8/layout/hierarchy4"/>
    <dgm:cxn modelId="{A5DEF686-DB6D-479D-BD79-0D343F291D3F}" type="presParOf" srcId="{13DF940B-76A2-45FC-91F5-2CAECB95DB43}" destId="{6CA302F4-125C-4271-9428-8F9B05464B2F}" srcOrd="4" destOrd="0" presId="urn:microsoft.com/office/officeart/2005/8/layout/hierarchy4"/>
    <dgm:cxn modelId="{6A9ED967-B053-46B1-AD48-0A7DFD3A3D33}" type="presParOf" srcId="{6CA302F4-125C-4271-9428-8F9B05464B2F}" destId="{843EA97C-C119-4300-8CC2-1062C19B2F9F}" srcOrd="0" destOrd="0" presId="urn:microsoft.com/office/officeart/2005/8/layout/hierarchy4"/>
    <dgm:cxn modelId="{F63AB3DE-9A73-4E34-91E2-BD3654B7F1EB}" type="presParOf" srcId="{6CA302F4-125C-4271-9428-8F9B05464B2F}" destId="{ADBE424E-3DBA-4741-A1A8-B86D559E931B}"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D20ABF-151A-48AB-ACCB-6C7D26FE880A}">
      <dsp:nvSpPr>
        <dsp:cNvPr id="0" name=""/>
        <dsp:cNvSpPr/>
      </dsp:nvSpPr>
      <dsp:spPr>
        <a:xfrm>
          <a:off x="3001" y="1637"/>
          <a:ext cx="4062272" cy="1186598"/>
        </a:xfrm>
        <a:prstGeom prst="roundRect">
          <a:avLst>
            <a:gd name="adj" fmla="val 10000"/>
          </a:avLst>
        </a:prstGeom>
        <a:solidFill>
          <a:srgbClr val="FABB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CA" sz="3200" kern="1200" dirty="0" smtClean="0"/>
            <a:t>Publishing Framework</a:t>
          </a:r>
          <a:endParaRPr lang="en-CA" sz="3200" kern="1200" dirty="0"/>
        </a:p>
      </dsp:txBody>
      <dsp:txXfrm>
        <a:off x="37755" y="36391"/>
        <a:ext cx="3992764" cy="1117090"/>
      </dsp:txXfrm>
    </dsp:sp>
    <dsp:sp modelId="{A467A44E-0A15-4642-A6A4-66A420DC4EEF}">
      <dsp:nvSpPr>
        <dsp:cNvPr id="0" name=""/>
        <dsp:cNvSpPr/>
      </dsp:nvSpPr>
      <dsp:spPr>
        <a:xfrm>
          <a:off x="3001" y="1332338"/>
          <a:ext cx="4062272" cy="1186598"/>
        </a:xfrm>
        <a:prstGeom prst="roundRect">
          <a:avLst>
            <a:gd name="adj" fmla="val 10000"/>
          </a:avLst>
        </a:prstGeom>
        <a:solidFill>
          <a:srgbClr val="F08A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CA" sz="3200" kern="1200" dirty="0" smtClean="0"/>
            <a:t>Cross-Adaptor Orchestration</a:t>
          </a:r>
          <a:endParaRPr lang="en-CA" sz="3200" kern="1200" dirty="0"/>
        </a:p>
      </dsp:txBody>
      <dsp:txXfrm>
        <a:off x="37755" y="1367092"/>
        <a:ext cx="3992764" cy="1117090"/>
      </dsp:txXfrm>
    </dsp:sp>
    <dsp:sp modelId="{888471A4-786E-42B1-817A-653A0F5A0CB3}">
      <dsp:nvSpPr>
        <dsp:cNvPr id="0" name=""/>
        <dsp:cNvSpPr/>
      </dsp:nvSpPr>
      <dsp:spPr>
        <a:xfrm>
          <a:off x="3001" y="2663038"/>
          <a:ext cx="1317208" cy="1186598"/>
        </a:xfrm>
        <a:prstGeom prst="roundRect">
          <a:avLst>
            <a:gd name="adj" fmla="val 10000"/>
          </a:avLst>
        </a:prstGeom>
        <a:solidFill>
          <a:srgbClr val="00285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Sequencing</a:t>
          </a:r>
          <a:endParaRPr lang="en-CA" sz="1500" kern="1200" dirty="0"/>
        </a:p>
      </dsp:txBody>
      <dsp:txXfrm>
        <a:off x="37755" y="2697792"/>
        <a:ext cx="1247700" cy="1117090"/>
      </dsp:txXfrm>
    </dsp:sp>
    <dsp:sp modelId="{B4226CA6-2E5A-4FFA-85C3-CE3DD11FA0EA}">
      <dsp:nvSpPr>
        <dsp:cNvPr id="0" name=""/>
        <dsp:cNvSpPr/>
      </dsp:nvSpPr>
      <dsp:spPr>
        <a:xfrm>
          <a:off x="1375533" y="2663038"/>
          <a:ext cx="1317208" cy="1186598"/>
        </a:xfrm>
        <a:prstGeom prst="roundRect">
          <a:avLst>
            <a:gd name="adj" fmla="val 10000"/>
          </a:avLst>
        </a:prstGeom>
        <a:solidFill>
          <a:srgbClr val="007B7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Exception Management</a:t>
          </a:r>
          <a:endParaRPr lang="en-CA" sz="1500" kern="1200" dirty="0"/>
        </a:p>
      </dsp:txBody>
      <dsp:txXfrm>
        <a:off x="1410287" y="2697792"/>
        <a:ext cx="1247700" cy="1117090"/>
      </dsp:txXfrm>
    </dsp:sp>
    <dsp:sp modelId="{F8E21356-6202-4196-A695-6222DFF5E471}">
      <dsp:nvSpPr>
        <dsp:cNvPr id="0" name=""/>
        <dsp:cNvSpPr/>
      </dsp:nvSpPr>
      <dsp:spPr>
        <a:xfrm>
          <a:off x="2748064" y="2663038"/>
          <a:ext cx="1317208" cy="118659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Rollback</a:t>
          </a:r>
          <a:endParaRPr lang="en-CA" sz="1500" kern="1200" dirty="0"/>
        </a:p>
      </dsp:txBody>
      <dsp:txXfrm>
        <a:off x="2782818" y="2697792"/>
        <a:ext cx="1247700" cy="1117090"/>
      </dsp:txXfrm>
    </dsp:sp>
    <dsp:sp modelId="{A8BC8505-4D87-4E56-9976-840535097FA1}">
      <dsp:nvSpPr>
        <dsp:cNvPr id="0" name=""/>
        <dsp:cNvSpPr/>
      </dsp:nvSpPr>
      <dsp:spPr>
        <a:xfrm>
          <a:off x="4286564" y="1637"/>
          <a:ext cx="4062272" cy="1186598"/>
        </a:xfrm>
        <a:prstGeom prst="roundRect">
          <a:avLst>
            <a:gd name="adj" fmla="val 10000"/>
          </a:avLst>
        </a:prstGeom>
        <a:solidFill>
          <a:srgbClr val="00A9D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CA" sz="3200" kern="1200" dirty="0" smtClean="0"/>
            <a:t>Adaptor</a:t>
          </a:r>
          <a:endParaRPr lang="en-CA" sz="3200" kern="1200" dirty="0"/>
        </a:p>
      </dsp:txBody>
      <dsp:txXfrm>
        <a:off x="4321318" y="36391"/>
        <a:ext cx="3992764" cy="1117090"/>
      </dsp:txXfrm>
    </dsp:sp>
    <dsp:sp modelId="{6B1461E1-04F1-4AA2-BF13-8CE90B9398A0}">
      <dsp:nvSpPr>
        <dsp:cNvPr id="0" name=""/>
        <dsp:cNvSpPr/>
      </dsp:nvSpPr>
      <dsp:spPr>
        <a:xfrm>
          <a:off x="4286564" y="1332338"/>
          <a:ext cx="4062272" cy="1186598"/>
        </a:xfrm>
        <a:prstGeom prst="roundRect">
          <a:avLst>
            <a:gd name="adj" fmla="val 10000"/>
          </a:avLst>
        </a:prstGeom>
        <a:solidFill>
          <a:srgbClr val="8F3F7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CA" sz="3200" kern="1200" dirty="0" smtClean="0"/>
            <a:t>Target System Publishing</a:t>
          </a:r>
        </a:p>
      </dsp:txBody>
      <dsp:txXfrm>
        <a:off x="4321318" y="1367092"/>
        <a:ext cx="3992764" cy="1117090"/>
      </dsp:txXfrm>
    </dsp:sp>
    <dsp:sp modelId="{15358DB9-9508-4EB0-B94A-44CABF55AC69}">
      <dsp:nvSpPr>
        <dsp:cNvPr id="0" name=""/>
        <dsp:cNvSpPr/>
      </dsp:nvSpPr>
      <dsp:spPr>
        <a:xfrm>
          <a:off x="4286564" y="2663038"/>
          <a:ext cx="1317208" cy="1186598"/>
        </a:xfrm>
        <a:prstGeom prst="roundRect">
          <a:avLst>
            <a:gd name="adj" fmla="val 10000"/>
          </a:avLst>
        </a:prstGeom>
        <a:solidFill>
          <a:srgbClr val="00285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Mapping</a:t>
          </a:r>
        </a:p>
      </dsp:txBody>
      <dsp:txXfrm>
        <a:off x="4321318" y="2697792"/>
        <a:ext cx="1247700" cy="1117090"/>
      </dsp:txXfrm>
    </dsp:sp>
    <dsp:sp modelId="{ACE14E55-72B1-4B46-8728-F302E5862D0E}">
      <dsp:nvSpPr>
        <dsp:cNvPr id="0" name=""/>
        <dsp:cNvSpPr/>
      </dsp:nvSpPr>
      <dsp:spPr>
        <a:xfrm>
          <a:off x="5659096" y="2663038"/>
          <a:ext cx="1317208" cy="1186598"/>
        </a:xfrm>
        <a:prstGeom prst="roundRect">
          <a:avLst>
            <a:gd name="adj" fmla="val 10000"/>
          </a:avLst>
        </a:prstGeom>
        <a:solidFill>
          <a:srgbClr val="007B7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Sequencing</a:t>
          </a:r>
        </a:p>
      </dsp:txBody>
      <dsp:txXfrm>
        <a:off x="5693850" y="2697792"/>
        <a:ext cx="1247700" cy="1117090"/>
      </dsp:txXfrm>
    </dsp:sp>
    <dsp:sp modelId="{843EA97C-C119-4300-8CC2-1062C19B2F9F}">
      <dsp:nvSpPr>
        <dsp:cNvPr id="0" name=""/>
        <dsp:cNvSpPr/>
      </dsp:nvSpPr>
      <dsp:spPr>
        <a:xfrm>
          <a:off x="7031627" y="2663038"/>
          <a:ext cx="1317208" cy="118659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Exceptions</a:t>
          </a:r>
        </a:p>
      </dsp:txBody>
      <dsp:txXfrm>
        <a:off x="7066381" y="2697792"/>
        <a:ext cx="1247700" cy="11170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D20ABF-151A-48AB-ACCB-6C7D26FE880A}">
      <dsp:nvSpPr>
        <dsp:cNvPr id="0" name=""/>
        <dsp:cNvSpPr/>
      </dsp:nvSpPr>
      <dsp:spPr>
        <a:xfrm>
          <a:off x="3001" y="1637"/>
          <a:ext cx="4062272" cy="1186598"/>
        </a:xfrm>
        <a:prstGeom prst="roundRect">
          <a:avLst>
            <a:gd name="adj" fmla="val 10000"/>
          </a:avLst>
        </a:prstGeom>
        <a:solidFill>
          <a:srgbClr val="FABB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CA" sz="3200" kern="1200" dirty="0" smtClean="0"/>
            <a:t>Publishing Framework</a:t>
          </a:r>
          <a:endParaRPr lang="en-CA" sz="3200" kern="1200" dirty="0"/>
        </a:p>
      </dsp:txBody>
      <dsp:txXfrm>
        <a:off x="37755" y="36391"/>
        <a:ext cx="3992764" cy="1117090"/>
      </dsp:txXfrm>
    </dsp:sp>
    <dsp:sp modelId="{A467A44E-0A15-4642-A6A4-66A420DC4EEF}">
      <dsp:nvSpPr>
        <dsp:cNvPr id="0" name=""/>
        <dsp:cNvSpPr/>
      </dsp:nvSpPr>
      <dsp:spPr>
        <a:xfrm>
          <a:off x="3001" y="1332338"/>
          <a:ext cx="4062272" cy="1186598"/>
        </a:xfrm>
        <a:prstGeom prst="roundRect">
          <a:avLst>
            <a:gd name="adj" fmla="val 10000"/>
          </a:avLst>
        </a:prstGeom>
        <a:solidFill>
          <a:srgbClr val="F08A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CA" sz="3200" kern="1200" dirty="0" smtClean="0"/>
            <a:t>Cross-Adaptor Orchestration</a:t>
          </a:r>
          <a:endParaRPr lang="en-CA" sz="3200" kern="1200" dirty="0"/>
        </a:p>
      </dsp:txBody>
      <dsp:txXfrm>
        <a:off x="37755" y="1367092"/>
        <a:ext cx="3992764" cy="1117090"/>
      </dsp:txXfrm>
    </dsp:sp>
    <dsp:sp modelId="{888471A4-786E-42B1-817A-653A0F5A0CB3}">
      <dsp:nvSpPr>
        <dsp:cNvPr id="0" name=""/>
        <dsp:cNvSpPr/>
      </dsp:nvSpPr>
      <dsp:spPr>
        <a:xfrm>
          <a:off x="3001" y="2663038"/>
          <a:ext cx="1317208" cy="1186598"/>
        </a:xfrm>
        <a:prstGeom prst="roundRect">
          <a:avLst>
            <a:gd name="adj" fmla="val 10000"/>
          </a:avLst>
        </a:prstGeom>
        <a:solidFill>
          <a:srgbClr val="00285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Sequencing</a:t>
          </a:r>
          <a:endParaRPr lang="en-CA" sz="1500" kern="1200" dirty="0"/>
        </a:p>
      </dsp:txBody>
      <dsp:txXfrm>
        <a:off x="37755" y="2697792"/>
        <a:ext cx="1247700" cy="1117090"/>
      </dsp:txXfrm>
    </dsp:sp>
    <dsp:sp modelId="{B4226CA6-2E5A-4FFA-85C3-CE3DD11FA0EA}">
      <dsp:nvSpPr>
        <dsp:cNvPr id="0" name=""/>
        <dsp:cNvSpPr/>
      </dsp:nvSpPr>
      <dsp:spPr>
        <a:xfrm>
          <a:off x="1375533" y="2663038"/>
          <a:ext cx="1317208" cy="1186598"/>
        </a:xfrm>
        <a:prstGeom prst="roundRect">
          <a:avLst>
            <a:gd name="adj" fmla="val 10000"/>
          </a:avLst>
        </a:prstGeom>
        <a:solidFill>
          <a:srgbClr val="007B7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Exception Management</a:t>
          </a:r>
          <a:endParaRPr lang="en-CA" sz="1500" kern="1200" dirty="0"/>
        </a:p>
      </dsp:txBody>
      <dsp:txXfrm>
        <a:off x="1410287" y="2697792"/>
        <a:ext cx="1247700" cy="1117090"/>
      </dsp:txXfrm>
    </dsp:sp>
    <dsp:sp modelId="{F8E21356-6202-4196-A695-6222DFF5E471}">
      <dsp:nvSpPr>
        <dsp:cNvPr id="0" name=""/>
        <dsp:cNvSpPr/>
      </dsp:nvSpPr>
      <dsp:spPr>
        <a:xfrm>
          <a:off x="2748064" y="2663038"/>
          <a:ext cx="1317208" cy="118659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Rollback</a:t>
          </a:r>
          <a:endParaRPr lang="en-CA" sz="1500" kern="1200" dirty="0"/>
        </a:p>
      </dsp:txBody>
      <dsp:txXfrm>
        <a:off x="2782818" y="2697792"/>
        <a:ext cx="1247700" cy="1117090"/>
      </dsp:txXfrm>
    </dsp:sp>
    <dsp:sp modelId="{A8BC8505-4D87-4E56-9976-840535097FA1}">
      <dsp:nvSpPr>
        <dsp:cNvPr id="0" name=""/>
        <dsp:cNvSpPr/>
      </dsp:nvSpPr>
      <dsp:spPr>
        <a:xfrm>
          <a:off x="4286564" y="1637"/>
          <a:ext cx="4062272" cy="1186598"/>
        </a:xfrm>
        <a:prstGeom prst="roundRect">
          <a:avLst>
            <a:gd name="adj" fmla="val 10000"/>
          </a:avLst>
        </a:prstGeom>
        <a:solidFill>
          <a:srgbClr val="00A9D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CA" sz="3200" kern="1200" dirty="0" smtClean="0"/>
            <a:t>Adaptor</a:t>
          </a:r>
          <a:endParaRPr lang="en-CA" sz="3200" kern="1200" dirty="0"/>
        </a:p>
      </dsp:txBody>
      <dsp:txXfrm>
        <a:off x="4321318" y="36391"/>
        <a:ext cx="3992764" cy="1117090"/>
      </dsp:txXfrm>
    </dsp:sp>
    <dsp:sp modelId="{6B1461E1-04F1-4AA2-BF13-8CE90B9398A0}">
      <dsp:nvSpPr>
        <dsp:cNvPr id="0" name=""/>
        <dsp:cNvSpPr/>
      </dsp:nvSpPr>
      <dsp:spPr>
        <a:xfrm>
          <a:off x="4286564" y="1332338"/>
          <a:ext cx="4062272" cy="1186598"/>
        </a:xfrm>
        <a:prstGeom prst="roundRect">
          <a:avLst>
            <a:gd name="adj" fmla="val 10000"/>
          </a:avLst>
        </a:prstGeom>
        <a:solidFill>
          <a:srgbClr val="8F3F7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CA" sz="3200" kern="1200" dirty="0" smtClean="0"/>
            <a:t>Target System Publishing</a:t>
          </a:r>
        </a:p>
      </dsp:txBody>
      <dsp:txXfrm>
        <a:off x="4321318" y="1367092"/>
        <a:ext cx="3992764" cy="1117090"/>
      </dsp:txXfrm>
    </dsp:sp>
    <dsp:sp modelId="{15358DB9-9508-4EB0-B94A-44CABF55AC69}">
      <dsp:nvSpPr>
        <dsp:cNvPr id="0" name=""/>
        <dsp:cNvSpPr/>
      </dsp:nvSpPr>
      <dsp:spPr>
        <a:xfrm>
          <a:off x="4286564" y="2663038"/>
          <a:ext cx="1317208" cy="1186598"/>
        </a:xfrm>
        <a:prstGeom prst="roundRect">
          <a:avLst>
            <a:gd name="adj" fmla="val 10000"/>
          </a:avLst>
        </a:prstGeom>
        <a:solidFill>
          <a:srgbClr val="00285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Mapping</a:t>
          </a:r>
        </a:p>
      </dsp:txBody>
      <dsp:txXfrm>
        <a:off x="4321318" y="2697792"/>
        <a:ext cx="1247700" cy="1117090"/>
      </dsp:txXfrm>
    </dsp:sp>
    <dsp:sp modelId="{ACE14E55-72B1-4B46-8728-F302E5862D0E}">
      <dsp:nvSpPr>
        <dsp:cNvPr id="0" name=""/>
        <dsp:cNvSpPr/>
      </dsp:nvSpPr>
      <dsp:spPr>
        <a:xfrm>
          <a:off x="5659096" y="2663038"/>
          <a:ext cx="1317208" cy="1186598"/>
        </a:xfrm>
        <a:prstGeom prst="roundRect">
          <a:avLst>
            <a:gd name="adj" fmla="val 10000"/>
          </a:avLst>
        </a:prstGeom>
        <a:solidFill>
          <a:srgbClr val="007B7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Sequencing</a:t>
          </a:r>
        </a:p>
      </dsp:txBody>
      <dsp:txXfrm>
        <a:off x="5693850" y="2697792"/>
        <a:ext cx="1247700" cy="1117090"/>
      </dsp:txXfrm>
    </dsp:sp>
    <dsp:sp modelId="{843EA97C-C119-4300-8CC2-1062C19B2F9F}">
      <dsp:nvSpPr>
        <dsp:cNvPr id="0" name=""/>
        <dsp:cNvSpPr/>
      </dsp:nvSpPr>
      <dsp:spPr>
        <a:xfrm>
          <a:off x="7031627" y="2663038"/>
          <a:ext cx="1317208" cy="118659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Exceptions</a:t>
          </a:r>
        </a:p>
      </dsp:txBody>
      <dsp:txXfrm>
        <a:off x="7066381" y="2697792"/>
        <a:ext cx="1247700" cy="11170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D20ABF-151A-48AB-ACCB-6C7D26FE880A}">
      <dsp:nvSpPr>
        <dsp:cNvPr id="0" name=""/>
        <dsp:cNvSpPr/>
      </dsp:nvSpPr>
      <dsp:spPr>
        <a:xfrm>
          <a:off x="3001" y="1637"/>
          <a:ext cx="4062272" cy="1186598"/>
        </a:xfrm>
        <a:prstGeom prst="roundRect">
          <a:avLst>
            <a:gd name="adj" fmla="val 10000"/>
          </a:avLst>
        </a:prstGeom>
        <a:solidFill>
          <a:srgbClr val="FABB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CA" sz="3200" kern="1200" dirty="0" smtClean="0"/>
            <a:t>Publishing Framework</a:t>
          </a:r>
          <a:endParaRPr lang="en-CA" sz="3200" kern="1200" dirty="0"/>
        </a:p>
      </dsp:txBody>
      <dsp:txXfrm>
        <a:off x="37755" y="36391"/>
        <a:ext cx="3992764" cy="1117090"/>
      </dsp:txXfrm>
    </dsp:sp>
    <dsp:sp modelId="{A467A44E-0A15-4642-A6A4-66A420DC4EEF}">
      <dsp:nvSpPr>
        <dsp:cNvPr id="0" name=""/>
        <dsp:cNvSpPr/>
      </dsp:nvSpPr>
      <dsp:spPr>
        <a:xfrm>
          <a:off x="3001" y="1332338"/>
          <a:ext cx="4062272" cy="1186598"/>
        </a:xfrm>
        <a:prstGeom prst="roundRect">
          <a:avLst>
            <a:gd name="adj" fmla="val 10000"/>
          </a:avLst>
        </a:prstGeom>
        <a:solidFill>
          <a:srgbClr val="F08A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CA" sz="3200" kern="1200" dirty="0" smtClean="0"/>
            <a:t>Cross-Adaptor Orchestration</a:t>
          </a:r>
          <a:endParaRPr lang="en-CA" sz="3200" kern="1200" dirty="0"/>
        </a:p>
      </dsp:txBody>
      <dsp:txXfrm>
        <a:off x="37755" y="1367092"/>
        <a:ext cx="3992764" cy="1117090"/>
      </dsp:txXfrm>
    </dsp:sp>
    <dsp:sp modelId="{888471A4-786E-42B1-817A-653A0F5A0CB3}">
      <dsp:nvSpPr>
        <dsp:cNvPr id="0" name=""/>
        <dsp:cNvSpPr/>
      </dsp:nvSpPr>
      <dsp:spPr>
        <a:xfrm>
          <a:off x="3001" y="2663038"/>
          <a:ext cx="1317208" cy="1186598"/>
        </a:xfrm>
        <a:prstGeom prst="roundRect">
          <a:avLst>
            <a:gd name="adj" fmla="val 10000"/>
          </a:avLst>
        </a:prstGeom>
        <a:solidFill>
          <a:srgbClr val="00285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Sequencing</a:t>
          </a:r>
          <a:endParaRPr lang="en-CA" sz="1500" kern="1200" dirty="0"/>
        </a:p>
      </dsp:txBody>
      <dsp:txXfrm>
        <a:off x="37755" y="2697792"/>
        <a:ext cx="1247700" cy="1117090"/>
      </dsp:txXfrm>
    </dsp:sp>
    <dsp:sp modelId="{B4226CA6-2E5A-4FFA-85C3-CE3DD11FA0EA}">
      <dsp:nvSpPr>
        <dsp:cNvPr id="0" name=""/>
        <dsp:cNvSpPr/>
      </dsp:nvSpPr>
      <dsp:spPr>
        <a:xfrm>
          <a:off x="1375533" y="2663038"/>
          <a:ext cx="1317208" cy="1186598"/>
        </a:xfrm>
        <a:prstGeom prst="roundRect">
          <a:avLst>
            <a:gd name="adj" fmla="val 10000"/>
          </a:avLst>
        </a:prstGeom>
        <a:solidFill>
          <a:srgbClr val="007B7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Exception Management</a:t>
          </a:r>
          <a:endParaRPr lang="en-CA" sz="1500" kern="1200" dirty="0"/>
        </a:p>
      </dsp:txBody>
      <dsp:txXfrm>
        <a:off x="1410287" y="2697792"/>
        <a:ext cx="1247700" cy="1117090"/>
      </dsp:txXfrm>
    </dsp:sp>
    <dsp:sp modelId="{F8E21356-6202-4196-A695-6222DFF5E471}">
      <dsp:nvSpPr>
        <dsp:cNvPr id="0" name=""/>
        <dsp:cNvSpPr/>
      </dsp:nvSpPr>
      <dsp:spPr>
        <a:xfrm>
          <a:off x="2748064" y="2663038"/>
          <a:ext cx="1317208" cy="118659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Rollback</a:t>
          </a:r>
          <a:endParaRPr lang="en-CA" sz="1500" kern="1200" dirty="0"/>
        </a:p>
      </dsp:txBody>
      <dsp:txXfrm>
        <a:off x="2782818" y="2697792"/>
        <a:ext cx="1247700" cy="1117090"/>
      </dsp:txXfrm>
    </dsp:sp>
    <dsp:sp modelId="{A8BC8505-4D87-4E56-9976-840535097FA1}">
      <dsp:nvSpPr>
        <dsp:cNvPr id="0" name=""/>
        <dsp:cNvSpPr/>
      </dsp:nvSpPr>
      <dsp:spPr>
        <a:xfrm>
          <a:off x="4286564" y="1637"/>
          <a:ext cx="4062272" cy="1186598"/>
        </a:xfrm>
        <a:prstGeom prst="roundRect">
          <a:avLst>
            <a:gd name="adj" fmla="val 10000"/>
          </a:avLst>
        </a:prstGeom>
        <a:solidFill>
          <a:srgbClr val="00A9D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CA" sz="3200" kern="1200" dirty="0" smtClean="0"/>
            <a:t>Adaptor</a:t>
          </a:r>
          <a:endParaRPr lang="en-CA" sz="3200" kern="1200" dirty="0"/>
        </a:p>
      </dsp:txBody>
      <dsp:txXfrm>
        <a:off x="4321318" y="36391"/>
        <a:ext cx="3992764" cy="1117090"/>
      </dsp:txXfrm>
    </dsp:sp>
    <dsp:sp modelId="{6B1461E1-04F1-4AA2-BF13-8CE90B9398A0}">
      <dsp:nvSpPr>
        <dsp:cNvPr id="0" name=""/>
        <dsp:cNvSpPr/>
      </dsp:nvSpPr>
      <dsp:spPr>
        <a:xfrm>
          <a:off x="4286564" y="1332338"/>
          <a:ext cx="4062272" cy="1186598"/>
        </a:xfrm>
        <a:prstGeom prst="roundRect">
          <a:avLst>
            <a:gd name="adj" fmla="val 10000"/>
          </a:avLst>
        </a:prstGeom>
        <a:solidFill>
          <a:srgbClr val="8F3F7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CA" sz="3200" kern="1200" dirty="0" smtClean="0"/>
            <a:t>Target System Publishing</a:t>
          </a:r>
        </a:p>
      </dsp:txBody>
      <dsp:txXfrm>
        <a:off x="4321318" y="1367092"/>
        <a:ext cx="3992764" cy="1117090"/>
      </dsp:txXfrm>
    </dsp:sp>
    <dsp:sp modelId="{15358DB9-9508-4EB0-B94A-44CABF55AC69}">
      <dsp:nvSpPr>
        <dsp:cNvPr id="0" name=""/>
        <dsp:cNvSpPr/>
      </dsp:nvSpPr>
      <dsp:spPr>
        <a:xfrm>
          <a:off x="4286564" y="2663038"/>
          <a:ext cx="1317208" cy="1186598"/>
        </a:xfrm>
        <a:prstGeom prst="roundRect">
          <a:avLst>
            <a:gd name="adj" fmla="val 10000"/>
          </a:avLst>
        </a:prstGeom>
        <a:solidFill>
          <a:srgbClr val="00285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Mapping</a:t>
          </a:r>
        </a:p>
      </dsp:txBody>
      <dsp:txXfrm>
        <a:off x="4321318" y="2697792"/>
        <a:ext cx="1247700" cy="1117090"/>
      </dsp:txXfrm>
    </dsp:sp>
    <dsp:sp modelId="{ACE14E55-72B1-4B46-8728-F302E5862D0E}">
      <dsp:nvSpPr>
        <dsp:cNvPr id="0" name=""/>
        <dsp:cNvSpPr/>
      </dsp:nvSpPr>
      <dsp:spPr>
        <a:xfrm>
          <a:off x="5659096" y="2663038"/>
          <a:ext cx="1317208" cy="1186598"/>
        </a:xfrm>
        <a:prstGeom prst="roundRect">
          <a:avLst>
            <a:gd name="adj" fmla="val 10000"/>
          </a:avLst>
        </a:prstGeom>
        <a:solidFill>
          <a:srgbClr val="007B7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Sequencing</a:t>
          </a:r>
        </a:p>
      </dsp:txBody>
      <dsp:txXfrm>
        <a:off x="5693850" y="2697792"/>
        <a:ext cx="1247700" cy="1117090"/>
      </dsp:txXfrm>
    </dsp:sp>
    <dsp:sp modelId="{843EA97C-C119-4300-8CC2-1062C19B2F9F}">
      <dsp:nvSpPr>
        <dsp:cNvPr id="0" name=""/>
        <dsp:cNvSpPr/>
      </dsp:nvSpPr>
      <dsp:spPr>
        <a:xfrm>
          <a:off x="7031627" y="2663038"/>
          <a:ext cx="1317208" cy="118659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CA" sz="1500" kern="1200" dirty="0" smtClean="0"/>
            <a:t>Exceptions</a:t>
          </a:r>
        </a:p>
      </dsp:txBody>
      <dsp:txXfrm>
        <a:off x="7066381" y="2697792"/>
        <a:ext cx="1247700" cy="111709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9874" name="Rectangle 2"/>
          <p:cNvSpPr>
            <a:spLocks noGrp="1" noChangeArrowheads="1"/>
          </p:cNvSpPr>
          <p:nvPr>
            <p:ph type="hdr" sz="quarter"/>
          </p:nvPr>
        </p:nvSpPr>
        <p:spPr bwMode="auto">
          <a:xfrm>
            <a:off x="0" y="0"/>
            <a:ext cx="2982913" cy="501650"/>
          </a:xfrm>
          <a:prstGeom prst="rect">
            <a:avLst/>
          </a:prstGeom>
          <a:noFill/>
          <a:ln w="9525">
            <a:noFill/>
            <a:miter lim="800000"/>
            <a:headEnd/>
            <a:tailEnd/>
          </a:ln>
          <a:effectLst/>
        </p:spPr>
        <p:txBody>
          <a:bodyPr vert="horz" wrap="square" lIns="96588" tIns="48294" rIns="96588" bIns="48294" numCol="1" anchor="t" anchorCtr="0" compatLnSpc="1">
            <a:prstTxWarp prst="textNoShape">
              <a:avLst/>
            </a:prstTxWarp>
          </a:bodyPr>
          <a:lstStyle>
            <a:lvl1pPr algn="l">
              <a:spcBef>
                <a:spcPct val="0"/>
              </a:spcBef>
              <a:defRPr sz="1200" smtClean="0">
                <a:latin typeface="Arial" charset="0"/>
              </a:defRPr>
            </a:lvl1pPr>
          </a:lstStyle>
          <a:p>
            <a:pPr>
              <a:defRPr/>
            </a:pPr>
            <a:r>
              <a:rPr lang="en-US" smtClean="0"/>
              <a:t>2015 User Webinar: Ericsson Catalog Manager &amp; Ericsson Order Care </a:t>
            </a:r>
            <a:endParaRPr lang="en-US" dirty="0"/>
          </a:p>
        </p:txBody>
      </p:sp>
      <p:sp>
        <p:nvSpPr>
          <p:cNvPr id="79875" name="Rectangle 3"/>
          <p:cNvSpPr>
            <a:spLocks noGrp="1" noChangeArrowheads="1"/>
          </p:cNvSpPr>
          <p:nvPr>
            <p:ph type="dt" sz="quarter" idx="1"/>
          </p:nvPr>
        </p:nvSpPr>
        <p:spPr bwMode="auto">
          <a:xfrm>
            <a:off x="3900488" y="0"/>
            <a:ext cx="2982912" cy="501650"/>
          </a:xfrm>
          <a:prstGeom prst="rect">
            <a:avLst/>
          </a:prstGeom>
          <a:noFill/>
          <a:ln w="9525">
            <a:noFill/>
            <a:miter lim="800000"/>
            <a:headEnd/>
            <a:tailEnd/>
          </a:ln>
          <a:effectLst/>
        </p:spPr>
        <p:txBody>
          <a:bodyPr vert="horz" wrap="square" lIns="96588" tIns="48294" rIns="96588" bIns="48294" numCol="1" anchor="t" anchorCtr="0" compatLnSpc="1">
            <a:prstTxWarp prst="textNoShape">
              <a:avLst/>
            </a:prstTxWarp>
          </a:bodyPr>
          <a:lstStyle>
            <a:lvl1pPr algn="r">
              <a:defRPr sz="1200" smtClean="0">
                <a:latin typeface="Arial" charset="0"/>
              </a:defRPr>
            </a:lvl1pPr>
          </a:lstStyle>
          <a:p>
            <a:pPr>
              <a:defRPr/>
            </a:pPr>
            <a:r>
              <a:rPr lang="en-US" smtClean="0"/>
              <a:t>2015-01-19 </a:t>
            </a:r>
            <a:endParaRPr lang="en-US"/>
          </a:p>
        </p:txBody>
      </p:sp>
      <p:sp>
        <p:nvSpPr>
          <p:cNvPr id="79876" name="Rectangle 4"/>
          <p:cNvSpPr>
            <a:spLocks noGrp="1" noChangeArrowheads="1"/>
          </p:cNvSpPr>
          <p:nvPr>
            <p:ph type="ftr" sz="quarter" idx="2"/>
          </p:nvPr>
        </p:nvSpPr>
        <p:spPr bwMode="auto">
          <a:xfrm>
            <a:off x="0" y="9515475"/>
            <a:ext cx="2982913" cy="501650"/>
          </a:xfrm>
          <a:prstGeom prst="rect">
            <a:avLst/>
          </a:prstGeom>
          <a:noFill/>
          <a:ln w="9525">
            <a:noFill/>
            <a:miter lim="800000"/>
            <a:headEnd/>
            <a:tailEnd/>
          </a:ln>
          <a:effectLst/>
        </p:spPr>
        <p:txBody>
          <a:bodyPr vert="horz" wrap="square" lIns="96588" tIns="48294" rIns="96588" bIns="48294" numCol="1" anchor="b" anchorCtr="0" compatLnSpc="1">
            <a:prstTxWarp prst="textNoShape">
              <a:avLst/>
            </a:prstTxWarp>
          </a:bodyPr>
          <a:lstStyle>
            <a:lvl1pPr algn="l">
              <a:spcBef>
                <a:spcPct val="0"/>
              </a:spcBef>
              <a:defRPr sz="1200" smtClean="0">
                <a:latin typeface="Arial" charset="0"/>
              </a:defRPr>
            </a:lvl1pPr>
          </a:lstStyle>
          <a:p>
            <a:pPr>
              <a:defRPr/>
            </a:pPr>
            <a:r>
              <a:rPr lang="en-US" smtClean="0"/>
              <a:t> </a:t>
            </a:r>
            <a:endParaRPr lang="en-US" dirty="0"/>
          </a:p>
        </p:txBody>
      </p:sp>
      <p:sp>
        <p:nvSpPr>
          <p:cNvPr id="79877" name="Rectangle 5"/>
          <p:cNvSpPr>
            <a:spLocks noGrp="1" noChangeArrowheads="1"/>
          </p:cNvSpPr>
          <p:nvPr>
            <p:ph type="sldNum" sz="quarter" idx="3"/>
          </p:nvPr>
        </p:nvSpPr>
        <p:spPr bwMode="auto">
          <a:xfrm>
            <a:off x="3900488" y="9515475"/>
            <a:ext cx="2982912" cy="501650"/>
          </a:xfrm>
          <a:prstGeom prst="rect">
            <a:avLst/>
          </a:prstGeom>
          <a:noFill/>
          <a:ln w="9525">
            <a:noFill/>
            <a:miter lim="800000"/>
            <a:headEnd/>
            <a:tailEnd/>
          </a:ln>
          <a:effectLst/>
        </p:spPr>
        <p:txBody>
          <a:bodyPr vert="horz" wrap="square" lIns="96588" tIns="48294" rIns="96588" bIns="48294" numCol="1" anchor="b" anchorCtr="0" compatLnSpc="1">
            <a:prstTxWarp prst="textNoShape">
              <a:avLst/>
            </a:prstTxWarp>
          </a:bodyPr>
          <a:lstStyle>
            <a:lvl1pPr algn="r">
              <a:spcBef>
                <a:spcPct val="0"/>
              </a:spcBef>
              <a:defRPr sz="1200">
                <a:latin typeface="Arial" charset="0"/>
              </a:defRPr>
            </a:lvl1pPr>
          </a:lstStyle>
          <a:p>
            <a:pPr>
              <a:defRPr/>
            </a:pPr>
            <a:fld id="{89E5875D-149B-45F8-9CF0-80AD676BE490}" type="slidenum">
              <a:rPr lang="en-US"/>
              <a:pPr>
                <a:defRPr/>
              </a:pPr>
              <a:t>‹#›</a:t>
            </a:fld>
            <a:endParaRPr lang="en-US" dirty="0"/>
          </a:p>
        </p:txBody>
      </p:sp>
    </p:spTree>
    <p:extLst>
      <p:ext uri="{BB962C8B-B14F-4D97-AF65-F5344CB8AC3E}">
        <p14:creationId xmlns:p14="http://schemas.microsoft.com/office/powerpoint/2010/main" val="380455631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Date Placeholder 1"/>
          <p:cNvSpPr>
            <a:spLocks noGrp="1"/>
          </p:cNvSpPr>
          <p:nvPr>
            <p:ph type="dt" idx="1"/>
          </p:nvPr>
        </p:nvSpPr>
        <p:spPr>
          <a:xfrm>
            <a:off x="3900488" y="0"/>
            <a:ext cx="2982912" cy="501650"/>
          </a:xfrm>
          <a:prstGeom prst="rect">
            <a:avLst/>
          </a:prstGeom>
        </p:spPr>
        <p:txBody>
          <a:bodyPr vert="horz" wrap="square" lIns="91440" tIns="45720" rIns="91440" bIns="45720" numCol="1" anchor="t" anchorCtr="0" compatLnSpc="1">
            <a:prstTxWarp prst="textNoShape">
              <a:avLst/>
            </a:prstTxWarp>
          </a:bodyPr>
          <a:lstStyle>
            <a:lvl1pPr algn="r">
              <a:spcBef>
                <a:spcPct val="50000"/>
              </a:spcBef>
              <a:defRPr sz="1200" smtClean="0">
                <a:latin typeface="Arial" charset="0"/>
              </a:defRPr>
            </a:lvl1pPr>
          </a:lstStyle>
          <a:p>
            <a:pPr>
              <a:defRPr/>
            </a:pPr>
            <a:r>
              <a:rPr lang="en-US" smtClean="0"/>
              <a:t>2015-01-19 </a:t>
            </a:r>
            <a:endParaRPr lang="en-US"/>
          </a:p>
        </p:txBody>
      </p:sp>
      <p:sp>
        <p:nvSpPr>
          <p:cNvPr id="3" name="Slide Number Placeholder 2"/>
          <p:cNvSpPr>
            <a:spLocks noGrp="1"/>
          </p:cNvSpPr>
          <p:nvPr>
            <p:ph type="sldNum" sz="quarter" idx="5"/>
          </p:nvPr>
        </p:nvSpPr>
        <p:spPr>
          <a:xfrm>
            <a:off x="3900488" y="9515475"/>
            <a:ext cx="2982912" cy="501650"/>
          </a:xfrm>
          <a:prstGeom prst="rect">
            <a:avLst/>
          </a:prstGeom>
        </p:spPr>
        <p:txBody>
          <a:bodyPr vert="horz" lIns="91440" tIns="45720" rIns="91440" bIns="45720" rtlCol="0" anchor="b"/>
          <a:lstStyle>
            <a:lvl1pPr algn="r">
              <a:spcBef>
                <a:spcPct val="50000"/>
              </a:spcBef>
              <a:defRPr sz="1200">
                <a:latin typeface="Arial" charset="0"/>
              </a:defRPr>
            </a:lvl1pPr>
          </a:lstStyle>
          <a:p>
            <a:pPr>
              <a:defRPr/>
            </a:pPr>
            <a:fld id="{6142DEFB-9CB9-43D1-ADC2-6593527D17A2}" type="slidenum">
              <a:rPr lang="en-US"/>
              <a:pPr>
                <a:defRPr/>
              </a:pPr>
              <a:t>‹#›</a:t>
            </a:fld>
            <a:endParaRPr lang="en-US" dirty="0"/>
          </a:p>
        </p:txBody>
      </p:sp>
      <p:sp>
        <p:nvSpPr>
          <p:cNvPr id="4" name="Header Placeholder 3"/>
          <p:cNvSpPr>
            <a:spLocks noGrp="1"/>
          </p:cNvSpPr>
          <p:nvPr>
            <p:ph type="hdr" sz="quarter"/>
          </p:nvPr>
        </p:nvSpPr>
        <p:spPr>
          <a:xfrm>
            <a:off x="0" y="0"/>
            <a:ext cx="3489325" cy="501650"/>
          </a:xfrm>
          <a:prstGeom prst="rect">
            <a:avLst/>
          </a:prstGeom>
        </p:spPr>
        <p:txBody>
          <a:bodyPr vert="horz" wrap="square" lIns="91440" tIns="45720" rIns="91440" bIns="45720" numCol="1" anchor="t" anchorCtr="0" compatLnSpc="1">
            <a:prstTxWarp prst="textNoShape">
              <a:avLst/>
            </a:prstTxWarp>
          </a:bodyPr>
          <a:lstStyle>
            <a:lvl1pPr algn="l">
              <a:spcBef>
                <a:spcPct val="50000"/>
              </a:spcBef>
              <a:defRPr sz="1200" smtClean="0">
                <a:latin typeface="Arial" charset="0"/>
              </a:defRPr>
            </a:lvl1pPr>
          </a:lstStyle>
          <a:p>
            <a:pPr>
              <a:defRPr/>
            </a:pPr>
            <a:r>
              <a:rPr lang="en-US" smtClean="0"/>
              <a:t>2015 User Webinar: Ericsson Catalog Manager &amp; Ericsson Order Care </a:t>
            </a:r>
            <a:endParaRPr lang="en-US" dirty="0"/>
          </a:p>
        </p:txBody>
      </p:sp>
      <p:sp>
        <p:nvSpPr>
          <p:cNvPr id="5" name="Slide Image Placeholder 4"/>
          <p:cNvSpPr>
            <a:spLocks noGrp="1" noRot="1" noChangeAspect="1"/>
          </p:cNvSpPr>
          <p:nvPr>
            <p:ph type="sldImg" idx="2"/>
          </p:nvPr>
        </p:nvSpPr>
        <p:spPr>
          <a:xfrm>
            <a:off x="938213" y="750888"/>
            <a:ext cx="5008562" cy="3757612"/>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6" name="Footer Placeholder 5"/>
          <p:cNvSpPr>
            <a:spLocks noGrp="1"/>
          </p:cNvSpPr>
          <p:nvPr>
            <p:ph type="ftr" sz="quarter" idx="4"/>
          </p:nvPr>
        </p:nvSpPr>
        <p:spPr>
          <a:xfrm>
            <a:off x="0" y="9515475"/>
            <a:ext cx="2982913" cy="501650"/>
          </a:xfrm>
          <a:prstGeom prst="rect">
            <a:avLst/>
          </a:prstGeom>
        </p:spPr>
        <p:txBody>
          <a:bodyPr vert="horz" wrap="square" lIns="91440" tIns="45720" rIns="91440" bIns="45720" numCol="1" anchor="b" anchorCtr="0" compatLnSpc="1">
            <a:prstTxWarp prst="textNoShape">
              <a:avLst/>
            </a:prstTxWarp>
          </a:bodyPr>
          <a:lstStyle>
            <a:lvl1pPr algn="l">
              <a:spcBef>
                <a:spcPct val="50000"/>
              </a:spcBef>
              <a:defRPr sz="1200" smtClean="0">
                <a:latin typeface="Arial" charset="0"/>
              </a:defRPr>
            </a:lvl1pPr>
          </a:lstStyle>
          <a:p>
            <a:pPr>
              <a:defRPr/>
            </a:pPr>
            <a:r>
              <a:rPr lang="en-US" smtClean="0"/>
              <a:t> </a:t>
            </a:r>
            <a:endParaRPr lang="en-US"/>
          </a:p>
        </p:txBody>
      </p:sp>
      <p:sp>
        <p:nvSpPr>
          <p:cNvPr id="7" name="Notes Placeholder 6"/>
          <p:cNvSpPr>
            <a:spLocks noGrp="1"/>
          </p:cNvSpPr>
          <p:nvPr>
            <p:ph type="body" sz="quarter" idx="3"/>
          </p:nvPr>
        </p:nvSpPr>
        <p:spPr>
          <a:xfrm>
            <a:off x="688975" y="4759325"/>
            <a:ext cx="5507038" cy="4508500"/>
          </a:xfrm>
          <a:prstGeom prst="rect">
            <a:avLst/>
          </a:prstGeom>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Tree>
    <p:extLst>
      <p:ext uri="{BB962C8B-B14F-4D97-AF65-F5344CB8AC3E}">
        <p14:creationId xmlns:p14="http://schemas.microsoft.com/office/powerpoint/2010/main" val="2183949098"/>
      </p:ext>
    </p:extLst>
  </p:cSld>
  <p:clrMap bg1="lt1" tx1="dk1" bg2="lt2" tx2="dk2" accent1="accent1" accent2="accent2" accent3="accent3" accent4="accent4" accent5="accent5" accent6="accent6" hlink="hlink" folHlink="folHlink"/>
  <p:hf/>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latin typeface="Arial" pitchFamily="34" charset="0"/>
            </a:endParaRPr>
          </a:p>
        </p:txBody>
      </p:sp>
      <p:sp>
        <p:nvSpPr>
          <p:cNvPr id="55300" name="Slide Number Placeholder 1"/>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fld id="{79D0153C-A40C-4190-B44F-6BC1494DEE2C}" type="slidenum">
              <a:rPr lang="en-US" sz="1200" smtClean="0"/>
              <a:t>1</a:t>
            </a:fld>
            <a:endParaRPr lang="en-US" sz="1200" smtClean="0"/>
          </a:p>
        </p:txBody>
      </p:sp>
      <p:sp>
        <p:nvSpPr>
          <p:cNvPr id="55301" name="Header Placeholder 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 User Webinar: Ericsson Catalog Manager &amp; Ericsson Order Care </a:t>
            </a:r>
            <a:endParaRPr lang="en-US" sz="1200"/>
          </a:p>
        </p:txBody>
      </p:sp>
      <p:sp>
        <p:nvSpPr>
          <p:cNvPr id="55302" name="Footer Placeholder 3"/>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 </a:t>
            </a:r>
            <a:endParaRPr lang="en-US" sz="1200"/>
          </a:p>
        </p:txBody>
      </p:sp>
      <p:sp>
        <p:nvSpPr>
          <p:cNvPr id="55303"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01-19 </a:t>
            </a:r>
            <a:endParaRPr lang="en-US" sz="120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EA57B8F7-9C6B-4FCC-B542-3715BA834FF7}" type="slidenum">
              <a:rPr lang="en-US" smtClean="0"/>
              <a:t>10</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30590073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381C85F9-241B-4D99-935F-E3AC397572CA}" type="slidenum">
              <a:rPr lang="en-US" smtClean="0"/>
              <a:t>11</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24005742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r>
              <a:rPr lang="en-US" dirty="0" smtClean="0">
                <a:latin typeface="Arial" pitchFamily="34" charset="0"/>
              </a:rPr>
              <a:t>User Experience:</a:t>
            </a:r>
          </a:p>
          <a:p>
            <a:pPr marL="285708" indent="-285708">
              <a:spcAft>
                <a:spcPts val="300"/>
              </a:spcAft>
              <a:buFont typeface="Arial" panose="020B0604020202020204" pitchFamily="34" charset="0"/>
              <a:buChar char="›"/>
              <a:defRPr/>
            </a:pPr>
            <a:r>
              <a:rPr lang="en-US" dirty="0" smtClean="0"/>
              <a:t>Alignment with Ericsson branding for acquired products</a:t>
            </a:r>
          </a:p>
          <a:p>
            <a:pPr marL="285708" indent="-285708">
              <a:spcAft>
                <a:spcPts val="300"/>
              </a:spcAft>
              <a:buFont typeface="Arial" panose="020B0604020202020204" pitchFamily="34" charset="0"/>
              <a:buChar char="›"/>
              <a:defRPr/>
            </a:pPr>
            <a:r>
              <a:rPr lang="en-US" dirty="0" smtClean="0"/>
              <a:t>Usability &amp; standards alignment</a:t>
            </a:r>
          </a:p>
          <a:p>
            <a:pPr marL="285708" indent="-285708">
              <a:spcAft>
                <a:spcPts val="300"/>
              </a:spcAft>
              <a:buFont typeface="Arial" panose="020B0604020202020204" pitchFamily="34" charset="0"/>
              <a:buChar char="›"/>
              <a:defRPr/>
            </a:pPr>
            <a:r>
              <a:rPr lang="en-US" dirty="0" smtClean="0"/>
              <a:t>Unified reporting</a:t>
            </a:r>
          </a:p>
          <a:p>
            <a:pPr eaLnBrk="1" hangingPunct="1">
              <a:defRPr/>
            </a:pPr>
            <a:endParaRPr lang="en-US" dirty="0" smtClean="0">
              <a:latin typeface="Arial" pitchFamily="34" charset="0"/>
            </a:endParaRPr>
          </a:p>
          <a:p>
            <a:pPr eaLnBrk="1" hangingPunct="1">
              <a:defRPr/>
            </a:pPr>
            <a:r>
              <a:rPr lang="en-US" dirty="0" smtClean="0">
                <a:latin typeface="Arial" pitchFamily="34" charset="0"/>
              </a:rPr>
              <a:t>Architecture</a:t>
            </a:r>
          </a:p>
          <a:p>
            <a:pPr marL="285708" indent="-285708">
              <a:spcAft>
                <a:spcPts val="300"/>
              </a:spcAft>
              <a:buFont typeface="Arial" panose="020B0604020202020204" pitchFamily="34" charset="0"/>
              <a:buChar char="›"/>
              <a:defRPr/>
            </a:pPr>
            <a:r>
              <a:rPr lang="en-US" dirty="0" smtClean="0"/>
              <a:t>Cloud-enabled portfolio</a:t>
            </a:r>
          </a:p>
          <a:p>
            <a:pPr marL="285708" indent="-285708">
              <a:spcAft>
                <a:spcPts val="300"/>
              </a:spcAft>
              <a:buFont typeface="Arial" panose="020B0604020202020204" pitchFamily="34" charset="0"/>
              <a:buChar char="›"/>
              <a:defRPr/>
            </a:pPr>
            <a:r>
              <a:rPr lang="en-US" dirty="0" smtClean="0"/>
              <a:t>Documented information architecture</a:t>
            </a:r>
          </a:p>
          <a:p>
            <a:pPr marL="285708" indent="-285708">
              <a:spcAft>
                <a:spcPts val="300"/>
              </a:spcAft>
              <a:buFont typeface="Arial" panose="020B0604020202020204" pitchFamily="34" charset="0"/>
              <a:buChar char="›"/>
              <a:defRPr/>
            </a:pPr>
            <a:r>
              <a:rPr lang="en-US" dirty="0" smtClean="0"/>
              <a:t>TMF certification</a:t>
            </a:r>
          </a:p>
          <a:p>
            <a:pPr eaLnBrk="1" hangingPunct="1">
              <a:defRPr/>
            </a:pPr>
            <a:endParaRPr lang="en-US" dirty="0" smtClean="0">
              <a:latin typeface="Arial" pitchFamily="34" charset="0"/>
            </a:endParaRPr>
          </a:p>
          <a:p>
            <a:pPr eaLnBrk="1" hangingPunct="1">
              <a:defRPr/>
            </a:pPr>
            <a:r>
              <a:rPr lang="en-US" dirty="0" smtClean="0">
                <a:latin typeface="Arial" pitchFamily="34" charset="0"/>
              </a:rPr>
              <a:t>Platform</a:t>
            </a:r>
          </a:p>
          <a:p>
            <a:pPr marL="285708" indent="-285708">
              <a:spcAft>
                <a:spcPts val="300"/>
              </a:spcAft>
              <a:buFont typeface="Arial" panose="020B0604020202020204" pitchFamily="34" charset="0"/>
              <a:buChar char="›"/>
              <a:defRPr/>
            </a:pPr>
            <a:r>
              <a:rPr lang="en-US" dirty="0" smtClean="0"/>
              <a:t>Alignment to standardized platform and 3PP release levels</a:t>
            </a:r>
          </a:p>
          <a:p>
            <a:pPr marL="285708" indent="-285708">
              <a:spcAft>
                <a:spcPts val="300"/>
              </a:spcAft>
              <a:buFont typeface="Arial" panose="020B0604020202020204" pitchFamily="34" charset="0"/>
              <a:buChar char="›"/>
              <a:defRPr/>
            </a:pPr>
            <a:r>
              <a:rPr lang="en-US" dirty="0" smtClean="0"/>
              <a:t>OSS/BSS Next Generation Execution Environment (NGEE)</a:t>
            </a:r>
          </a:p>
          <a:p>
            <a:pPr eaLnBrk="1" hangingPunct="1">
              <a:defRPr/>
            </a:pPr>
            <a:endParaRPr lang="en-US" dirty="0" smtClean="0">
              <a:latin typeface="Arial" pitchFamily="34" charset="0"/>
            </a:endParaRPr>
          </a:p>
          <a:p>
            <a:pPr eaLnBrk="1" hangingPunct="1">
              <a:defRPr/>
            </a:pPr>
            <a:r>
              <a:rPr lang="en-US" dirty="0" smtClean="0">
                <a:latin typeface="Arial" pitchFamily="34" charset="0"/>
              </a:rPr>
              <a:t>Commercials</a:t>
            </a:r>
          </a:p>
          <a:p>
            <a:pPr marL="285708" indent="-285708">
              <a:spcAft>
                <a:spcPts val="300"/>
              </a:spcAft>
              <a:buFont typeface="Arial" panose="020B0604020202020204" pitchFamily="34" charset="0"/>
              <a:buChar char="›"/>
              <a:defRPr/>
            </a:pPr>
            <a:r>
              <a:rPr lang="en-US" dirty="0" smtClean="0"/>
              <a:t>Value packaging</a:t>
            </a:r>
          </a:p>
          <a:p>
            <a:pPr marL="285708" indent="-285708">
              <a:spcAft>
                <a:spcPts val="300"/>
              </a:spcAft>
              <a:buFont typeface="Arial" panose="020B0604020202020204" pitchFamily="34" charset="0"/>
              <a:buChar char="›"/>
              <a:defRPr/>
            </a:pPr>
            <a:r>
              <a:rPr lang="en-US" dirty="0" smtClean="0"/>
              <a:t>Standard release schedule</a:t>
            </a:r>
          </a:p>
          <a:p>
            <a:pPr marL="285708" indent="-285708">
              <a:spcAft>
                <a:spcPts val="300"/>
              </a:spcAft>
              <a:buFont typeface="Arial" panose="020B0604020202020204" pitchFamily="34" charset="0"/>
              <a:buChar char="›"/>
              <a:defRPr/>
            </a:pPr>
            <a:r>
              <a:rPr lang="en-US" dirty="0" smtClean="0"/>
              <a:t>Standard release numbering </a:t>
            </a:r>
          </a:p>
          <a:p>
            <a:pPr eaLnBrk="1" hangingPunct="1">
              <a:defRPr/>
            </a:pPr>
            <a:endParaRPr lang="en-US" dirty="0" smtClean="0">
              <a:latin typeface="Arial" pitchFamily="34" charset="0"/>
            </a:endParaRPr>
          </a:p>
          <a:p>
            <a:pPr eaLnBrk="1" hangingPunct="1">
              <a:defRPr/>
            </a:pPr>
            <a:endParaRPr lang="en-US" dirty="0" smtClean="0">
              <a:latin typeface="Arial" pitchFamily="34" charset="0"/>
            </a:endParaRPr>
          </a:p>
        </p:txBody>
      </p:sp>
      <p:sp>
        <p:nvSpPr>
          <p:cNvPr id="44036"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solidFill>
                  <a:srgbClr val="000000"/>
                </a:solidFill>
              </a:rPr>
              <a:t>2015-01-19 </a:t>
            </a:r>
            <a:endParaRPr lang="en-US" sz="1200">
              <a:solidFill>
                <a:srgbClr val="000000"/>
              </a:solidFill>
            </a:endParaRPr>
          </a:p>
        </p:txBody>
      </p:sp>
      <p:sp>
        <p:nvSpPr>
          <p:cNvPr id="44037"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fld id="{B6737D97-1C23-484E-B802-E37772E89F4F}" type="slidenum">
              <a:rPr lang="en-US" sz="1200" smtClean="0">
                <a:solidFill>
                  <a:srgbClr val="000000"/>
                </a:solidFill>
              </a:rPr>
              <a:t>12</a:t>
            </a:fld>
            <a:endParaRPr lang="en-US" sz="1200">
              <a:solidFill>
                <a:srgbClr val="000000"/>
              </a:solidFill>
            </a:endParaRPr>
          </a:p>
        </p:txBody>
      </p:sp>
      <p:sp>
        <p:nvSpPr>
          <p:cNvPr id="44038" name="Header Placeholder 5"/>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solidFill>
                  <a:srgbClr val="000000"/>
                </a:solidFill>
              </a:rPr>
              <a:t>2015 User Webinar: Ericsson Catalog Manager &amp; Ericsson Order Care </a:t>
            </a:r>
            <a:endParaRPr lang="en-US" sz="1200">
              <a:solidFill>
                <a:srgbClr val="000000"/>
              </a:solidFill>
            </a:endParaRPr>
          </a:p>
        </p:txBody>
      </p:sp>
      <p:sp>
        <p:nvSpPr>
          <p:cNvPr id="44039"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solidFill>
                  <a:srgbClr val="000000"/>
                </a:solidFill>
              </a:rPr>
              <a:t> </a:t>
            </a:r>
            <a:endParaRPr lang="en-US" sz="1200">
              <a:solidFill>
                <a:srgbClr val="000000"/>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70D82367-A0F4-40C3-8D5F-8C6FFDB9FDAC}" type="slidenum">
              <a:rPr lang="en-US" smtClean="0"/>
              <a:t>13</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17974285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txBox="1">
            <a:spLocks noGrp="1" noChangeArrowheads="1"/>
          </p:cNvSpPr>
          <p:nvPr/>
        </p:nvSpPr>
        <p:spPr bwMode="auto">
          <a:xfrm>
            <a:off x="1" y="0"/>
            <a:ext cx="2982422" cy="499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2546" tIns="46273" rIns="92546" bIns="46273"/>
          <a:lstStyle>
            <a:lvl1pPr>
              <a:defRPr sz="1200">
                <a:solidFill>
                  <a:schemeClr val="tx1"/>
                </a:solidFill>
                <a:latin typeface="Arial" charset="0"/>
                <a:ea typeface="ＭＳ Ｐゴシック" charset="0"/>
              </a:defRPr>
            </a:lvl1pPr>
            <a:lvl2pPr marL="742950" indent="-285750">
              <a:defRPr sz="1200">
                <a:solidFill>
                  <a:schemeClr val="tx1"/>
                </a:solidFill>
                <a:latin typeface="Arial" charset="0"/>
                <a:ea typeface="ＭＳ Ｐゴシック" charset="0"/>
              </a:defRPr>
            </a:lvl2pPr>
            <a:lvl3pPr marL="1143000" indent="-228600">
              <a:defRPr sz="1200">
                <a:solidFill>
                  <a:schemeClr val="tx1"/>
                </a:solidFill>
                <a:latin typeface="Arial" charset="0"/>
                <a:ea typeface="ＭＳ Ｐゴシック" charset="0"/>
              </a:defRPr>
            </a:lvl3pPr>
            <a:lvl4pPr marL="1600200" indent="-228600">
              <a:defRPr sz="12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fontAlgn="base" hangingPunct="0">
              <a:spcBef>
                <a:spcPct val="30000"/>
              </a:spcBef>
              <a:spcAft>
                <a:spcPct val="0"/>
              </a:spcAft>
              <a:defRPr sz="1200">
                <a:solidFill>
                  <a:schemeClr val="tx1"/>
                </a:solidFill>
                <a:latin typeface="Arial" charset="0"/>
                <a:ea typeface="ＭＳ Ｐゴシック" charset="0"/>
              </a:defRPr>
            </a:lvl6pPr>
            <a:lvl7pPr marL="2971800" indent="-228600" eaLnBrk="0" fontAlgn="base" hangingPunct="0">
              <a:spcBef>
                <a:spcPct val="30000"/>
              </a:spcBef>
              <a:spcAft>
                <a:spcPct val="0"/>
              </a:spcAft>
              <a:defRPr sz="1200">
                <a:solidFill>
                  <a:schemeClr val="tx1"/>
                </a:solidFill>
                <a:latin typeface="Arial" charset="0"/>
                <a:ea typeface="ＭＳ Ｐゴシック" charset="0"/>
              </a:defRPr>
            </a:lvl7pPr>
            <a:lvl8pPr marL="3429000" indent="-228600" eaLnBrk="0" fontAlgn="base" hangingPunct="0">
              <a:spcBef>
                <a:spcPct val="30000"/>
              </a:spcBef>
              <a:spcAft>
                <a:spcPct val="0"/>
              </a:spcAft>
              <a:defRPr sz="1200">
                <a:solidFill>
                  <a:schemeClr val="tx1"/>
                </a:solidFill>
                <a:latin typeface="Arial" charset="0"/>
                <a:ea typeface="ＭＳ Ｐゴシック" charset="0"/>
              </a:defRPr>
            </a:lvl8pPr>
            <a:lvl9pPr marL="3886200" indent="-228600" eaLnBrk="0" fontAlgn="base" hangingPunct="0">
              <a:spcBef>
                <a:spcPct val="30000"/>
              </a:spcBef>
              <a:spcAft>
                <a:spcPct val="0"/>
              </a:spcAft>
              <a:defRPr sz="1200">
                <a:solidFill>
                  <a:schemeClr val="tx1"/>
                </a:solidFill>
                <a:latin typeface="Arial" charset="0"/>
                <a:ea typeface="ＭＳ Ｐゴシック" charset="0"/>
              </a:defRPr>
            </a:lvl9pPr>
          </a:lstStyle>
          <a:p>
            <a:pPr>
              <a:defRPr/>
            </a:pPr>
            <a:r>
              <a:rPr lang="en-US" smtClean="0">
                <a:cs typeface="Arial" charset="0"/>
              </a:rPr>
              <a:t>IMS Roadmap Presentation IMS Roadmap Presentation IMS Roadmap Presentation IMS Roadmap Presentation </a:t>
            </a:r>
          </a:p>
        </p:txBody>
      </p:sp>
      <p:sp>
        <p:nvSpPr>
          <p:cNvPr id="76803" name="Rectangle 3"/>
          <p:cNvSpPr txBox="1">
            <a:spLocks noGrp="1" noChangeArrowheads="1"/>
          </p:cNvSpPr>
          <p:nvPr/>
        </p:nvSpPr>
        <p:spPr bwMode="auto">
          <a:xfrm>
            <a:off x="3900958" y="0"/>
            <a:ext cx="2982422" cy="499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2546" tIns="46273" rIns="92546" bIns="46273"/>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algn="r" eaLnBrk="1" hangingPunct="1">
              <a:defRPr/>
            </a:pPr>
            <a:fld id="{35C82DB2-F89A-4F14-95D4-D8ACBA800FBD}" type="datetime1">
              <a:rPr lang="en-US" sz="1200">
                <a:cs typeface="Arial" pitchFamily="34" charset="0"/>
              </a:rPr>
              <a:pPr algn="r" eaLnBrk="1" hangingPunct="1">
                <a:defRPr/>
              </a:pPr>
              <a:t>1/19/2015</a:t>
            </a:fld>
            <a:r>
              <a:rPr lang="en-US" sz="1200">
                <a:cs typeface="Arial" pitchFamily="34" charset="0"/>
              </a:rPr>
              <a:t>2011-11-28 </a:t>
            </a:r>
          </a:p>
        </p:txBody>
      </p:sp>
      <p:sp>
        <p:nvSpPr>
          <p:cNvPr id="76804" name="Rectangle 6"/>
          <p:cNvSpPr txBox="1">
            <a:spLocks noGrp="1" noChangeArrowheads="1"/>
          </p:cNvSpPr>
          <p:nvPr/>
        </p:nvSpPr>
        <p:spPr bwMode="auto">
          <a:xfrm>
            <a:off x="1" y="9517778"/>
            <a:ext cx="2982422" cy="499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2546" tIns="46273" rIns="92546" bIns="46273" anchor="b"/>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defRPr/>
            </a:pPr>
            <a:r>
              <a:rPr lang="en-US" sz="1200">
                <a:cs typeface="Arial" pitchFamily="34" charset="0"/>
              </a:rPr>
              <a:t>© Ericsson AB 2005-2010 © Ericsson AB 2005-2010 Ericsson AB 2005-2010 © Ericsson AB 2005-2010 </a:t>
            </a:r>
          </a:p>
        </p:txBody>
      </p:sp>
      <p:sp>
        <p:nvSpPr>
          <p:cNvPr id="76805" name="Rectangle 7"/>
          <p:cNvSpPr txBox="1">
            <a:spLocks noGrp="1" noChangeArrowheads="1"/>
          </p:cNvSpPr>
          <p:nvPr/>
        </p:nvSpPr>
        <p:spPr bwMode="auto">
          <a:xfrm>
            <a:off x="3900958" y="9517778"/>
            <a:ext cx="2982422" cy="499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2546" tIns="46273" rIns="92546" bIns="46273" anchor="b"/>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algn="r" eaLnBrk="1" hangingPunct="1">
              <a:defRPr/>
            </a:pPr>
            <a:fld id="{46B72172-51EB-4EFE-8E24-9C8AC007260F}" type="slidenum">
              <a:rPr lang="en-US" sz="1200">
                <a:cs typeface="Arial" pitchFamily="34" charset="0"/>
              </a:rPr>
              <a:pPr algn="r" eaLnBrk="1" hangingPunct="1">
                <a:defRPr/>
              </a:pPr>
              <a:t>14</a:t>
            </a:fld>
            <a:endParaRPr lang="en-US" sz="1200">
              <a:cs typeface="Arial" pitchFamily="34" charset="0"/>
            </a:endParaRPr>
          </a:p>
        </p:txBody>
      </p:sp>
      <p:sp>
        <p:nvSpPr>
          <p:cNvPr id="76806" name="Rectangle 2"/>
          <p:cNvSpPr txBox="1">
            <a:spLocks noGrp="1" noChangeArrowheads="1"/>
          </p:cNvSpPr>
          <p:nvPr/>
        </p:nvSpPr>
        <p:spPr bwMode="auto">
          <a:xfrm>
            <a:off x="1" y="0"/>
            <a:ext cx="2982422" cy="499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2546" tIns="46273" rIns="92546" bIns="46273"/>
          <a:lstStyle>
            <a:lvl1pPr>
              <a:defRPr sz="1200">
                <a:solidFill>
                  <a:schemeClr val="tx1"/>
                </a:solidFill>
                <a:latin typeface="Arial" charset="0"/>
                <a:ea typeface="ＭＳ Ｐゴシック" charset="0"/>
              </a:defRPr>
            </a:lvl1pPr>
            <a:lvl2pPr marL="742950" indent="-285750">
              <a:defRPr sz="1200">
                <a:solidFill>
                  <a:schemeClr val="tx1"/>
                </a:solidFill>
                <a:latin typeface="Arial" charset="0"/>
                <a:ea typeface="ＭＳ Ｐゴシック" charset="0"/>
              </a:defRPr>
            </a:lvl2pPr>
            <a:lvl3pPr marL="1143000" indent="-228600">
              <a:defRPr sz="1200">
                <a:solidFill>
                  <a:schemeClr val="tx1"/>
                </a:solidFill>
                <a:latin typeface="Arial" charset="0"/>
                <a:ea typeface="ＭＳ Ｐゴシック" charset="0"/>
              </a:defRPr>
            </a:lvl3pPr>
            <a:lvl4pPr marL="1600200" indent="-228600">
              <a:defRPr sz="12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fontAlgn="base" hangingPunct="0">
              <a:spcBef>
                <a:spcPct val="30000"/>
              </a:spcBef>
              <a:spcAft>
                <a:spcPct val="0"/>
              </a:spcAft>
              <a:defRPr sz="1200">
                <a:solidFill>
                  <a:schemeClr val="tx1"/>
                </a:solidFill>
                <a:latin typeface="Arial" charset="0"/>
                <a:ea typeface="ＭＳ Ｐゴシック" charset="0"/>
              </a:defRPr>
            </a:lvl6pPr>
            <a:lvl7pPr marL="2971800" indent="-228600" eaLnBrk="0" fontAlgn="base" hangingPunct="0">
              <a:spcBef>
                <a:spcPct val="30000"/>
              </a:spcBef>
              <a:spcAft>
                <a:spcPct val="0"/>
              </a:spcAft>
              <a:defRPr sz="1200">
                <a:solidFill>
                  <a:schemeClr val="tx1"/>
                </a:solidFill>
                <a:latin typeface="Arial" charset="0"/>
                <a:ea typeface="ＭＳ Ｐゴシック" charset="0"/>
              </a:defRPr>
            </a:lvl7pPr>
            <a:lvl8pPr marL="3429000" indent="-228600" eaLnBrk="0" fontAlgn="base" hangingPunct="0">
              <a:spcBef>
                <a:spcPct val="30000"/>
              </a:spcBef>
              <a:spcAft>
                <a:spcPct val="0"/>
              </a:spcAft>
              <a:defRPr sz="1200">
                <a:solidFill>
                  <a:schemeClr val="tx1"/>
                </a:solidFill>
                <a:latin typeface="Arial" charset="0"/>
                <a:ea typeface="ＭＳ Ｐゴシック" charset="0"/>
              </a:defRPr>
            </a:lvl8pPr>
            <a:lvl9pPr marL="3886200" indent="-228600" eaLnBrk="0" fontAlgn="base" hangingPunct="0">
              <a:spcBef>
                <a:spcPct val="30000"/>
              </a:spcBef>
              <a:spcAft>
                <a:spcPct val="0"/>
              </a:spcAft>
              <a:defRPr sz="1200">
                <a:solidFill>
                  <a:schemeClr val="tx1"/>
                </a:solidFill>
                <a:latin typeface="Arial" charset="0"/>
                <a:ea typeface="ＭＳ Ｐゴシック" charset="0"/>
              </a:defRPr>
            </a:lvl9pPr>
          </a:lstStyle>
          <a:p>
            <a:pPr>
              <a:defRPr/>
            </a:pPr>
            <a:r>
              <a:rPr lang="en-US" smtClean="0">
                <a:cs typeface="Arial" charset="0"/>
              </a:rPr>
              <a:t>IMS Roadmap Presentation IMS Roadmap Presentation IMS Roadmap Presentation </a:t>
            </a:r>
          </a:p>
        </p:txBody>
      </p:sp>
      <p:sp>
        <p:nvSpPr>
          <p:cNvPr id="76807" name="Rectangle 3"/>
          <p:cNvSpPr txBox="1">
            <a:spLocks noGrp="1" noChangeArrowheads="1"/>
          </p:cNvSpPr>
          <p:nvPr/>
        </p:nvSpPr>
        <p:spPr bwMode="auto">
          <a:xfrm>
            <a:off x="3900958" y="0"/>
            <a:ext cx="2982422" cy="499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2546" tIns="46273" rIns="92546" bIns="46273"/>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algn="r" eaLnBrk="1" hangingPunct="1">
              <a:defRPr/>
            </a:pPr>
            <a:fld id="{4F6149A6-BF5E-4A39-9058-8DBC7F1A5355}" type="datetime1">
              <a:rPr lang="en-US" sz="1200">
                <a:cs typeface="Arial" pitchFamily="34" charset="0"/>
              </a:rPr>
              <a:pPr algn="r" eaLnBrk="1" hangingPunct="1">
                <a:defRPr/>
              </a:pPr>
              <a:t>1/19/2015</a:t>
            </a:fld>
            <a:r>
              <a:rPr lang="en-US" sz="1200">
                <a:cs typeface="Arial" pitchFamily="34" charset="0"/>
              </a:rPr>
              <a:t>2011-11-28 </a:t>
            </a:r>
          </a:p>
        </p:txBody>
      </p:sp>
      <p:sp>
        <p:nvSpPr>
          <p:cNvPr id="76808" name="Rectangle 6"/>
          <p:cNvSpPr txBox="1">
            <a:spLocks noGrp="1" noChangeArrowheads="1"/>
          </p:cNvSpPr>
          <p:nvPr/>
        </p:nvSpPr>
        <p:spPr bwMode="auto">
          <a:xfrm>
            <a:off x="1" y="9517778"/>
            <a:ext cx="2982422" cy="499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2546" tIns="46273" rIns="92546" bIns="46273" anchor="b"/>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defRPr/>
            </a:pPr>
            <a:r>
              <a:rPr lang="en-US" sz="1200">
                <a:cs typeface="Arial" pitchFamily="34" charset="0"/>
              </a:rPr>
              <a:t>© Ericsson AB 2005-2010 Ericsson AB 2005-2010 © Ericsson AB 2005-2010 </a:t>
            </a:r>
          </a:p>
        </p:txBody>
      </p:sp>
      <p:sp>
        <p:nvSpPr>
          <p:cNvPr id="76809" name="Rectangle 7"/>
          <p:cNvSpPr txBox="1">
            <a:spLocks noGrp="1" noChangeArrowheads="1"/>
          </p:cNvSpPr>
          <p:nvPr/>
        </p:nvSpPr>
        <p:spPr bwMode="auto">
          <a:xfrm>
            <a:off x="3900958" y="9517778"/>
            <a:ext cx="2982422" cy="499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2546" tIns="46273" rIns="92546" bIns="46273" anchor="b"/>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algn="r" eaLnBrk="1" hangingPunct="1">
              <a:defRPr/>
            </a:pPr>
            <a:fld id="{C7D65ADA-01BB-4704-8A01-55B39E1BCA16}" type="slidenum">
              <a:rPr lang="en-US" sz="1200">
                <a:cs typeface="Arial" pitchFamily="34" charset="0"/>
              </a:rPr>
              <a:pPr algn="r" eaLnBrk="1" hangingPunct="1">
                <a:defRPr/>
              </a:pPr>
              <a:t>14</a:t>
            </a:fld>
            <a:endParaRPr lang="en-US" sz="1200">
              <a:cs typeface="Arial" pitchFamily="34" charset="0"/>
            </a:endParaRPr>
          </a:p>
        </p:txBody>
      </p:sp>
      <p:sp>
        <p:nvSpPr>
          <p:cNvPr id="76810" name="Rectangle 2"/>
          <p:cNvSpPr txBox="1">
            <a:spLocks noGrp="1" noChangeArrowheads="1"/>
          </p:cNvSpPr>
          <p:nvPr/>
        </p:nvSpPr>
        <p:spPr bwMode="auto">
          <a:xfrm>
            <a:off x="1" y="0"/>
            <a:ext cx="2982422" cy="499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2546" tIns="46273" rIns="92546" bIns="46273"/>
          <a:lstStyle>
            <a:lvl1pPr>
              <a:defRPr sz="1200">
                <a:solidFill>
                  <a:schemeClr val="tx1"/>
                </a:solidFill>
                <a:latin typeface="Arial" charset="0"/>
                <a:ea typeface="ＭＳ Ｐゴシック" charset="0"/>
              </a:defRPr>
            </a:lvl1pPr>
            <a:lvl2pPr marL="742950" indent="-285750">
              <a:defRPr sz="1200">
                <a:solidFill>
                  <a:schemeClr val="tx1"/>
                </a:solidFill>
                <a:latin typeface="Arial" charset="0"/>
                <a:ea typeface="ＭＳ Ｐゴシック" charset="0"/>
              </a:defRPr>
            </a:lvl2pPr>
            <a:lvl3pPr marL="1143000" indent="-228600">
              <a:defRPr sz="1200">
                <a:solidFill>
                  <a:schemeClr val="tx1"/>
                </a:solidFill>
                <a:latin typeface="Arial" charset="0"/>
                <a:ea typeface="ＭＳ Ｐゴシック" charset="0"/>
              </a:defRPr>
            </a:lvl3pPr>
            <a:lvl4pPr marL="1600200" indent="-228600">
              <a:defRPr sz="12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fontAlgn="base" hangingPunct="0">
              <a:spcBef>
                <a:spcPct val="30000"/>
              </a:spcBef>
              <a:spcAft>
                <a:spcPct val="0"/>
              </a:spcAft>
              <a:defRPr sz="1200">
                <a:solidFill>
                  <a:schemeClr val="tx1"/>
                </a:solidFill>
                <a:latin typeface="Arial" charset="0"/>
                <a:ea typeface="ＭＳ Ｐゴシック" charset="0"/>
              </a:defRPr>
            </a:lvl6pPr>
            <a:lvl7pPr marL="2971800" indent="-228600" eaLnBrk="0" fontAlgn="base" hangingPunct="0">
              <a:spcBef>
                <a:spcPct val="30000"/>
              </a:spcBef>
              <a:spcAft>
                <a:spcPct val="0"/>
              </a:spcAft>
              <a:defRPr sz="1200">
                <a:solidFill>
                  <a:schemeClr val="tx1"/>
                </a:solidFill>
                <a:latin typeface="Arial" charset="0"/>
                <a:ea typeface="ＭＳ Ｐゴシック" charset="0"/>
              </a:defRPr>
            </a:lvl7pPr>
            <a:lvl8pPr marL="3429000" indent="-228600" eaLnBrk="0" fontAlgn="base" hangingPunct="0">
              <a:spcBef>
                <a:spcPct val="30000"/>
              </a:spcBef>
              <a:spcAft>
                <a:spcPct val="0"/>
              </a:spcAft>
              <a:defRPr sz="1200">
                <a:solidFill>
                  <a:schemeClr val="tx1"/>
                </a:solidFill>
                <a:latin typeface="Arial" charset="0"/>
                <a:ea typeface="ＭＳ Ｐゴシック" charset="0"/>
              </a:defRPr>
            </a:lvl8pPr>
            <a:lvl9pPr marL="3886200" indent="-228600" eaLnBrk="0" fontAlgn="base" hangingPunct="0">
              <a:spcBef>
                <a:spcPct val="30000"/>
              </a:spcBef>
              <a:spcAft>
                <a:spcPct val="0"/>
              </a:spcAft>
              <a:defRPr sz="1200">
                <a:solidFill>
                  <a:schemeClr val="tx1"/>
                </a:solidFill>
                <a:latin typeface="Arial" charset="0"/>
                <a:ea typeface="ＭＳ Ｐゴシック" charset="0"/>
              </a:defRPr>
            </a:lvl9pPr>
          </a:lstStyle>
          <a:p>
            <a:pPr>
              <a:defRPr/>
            </a:pPr>
            <a:r>
              <a:rPr lang="en-US" smtClean="0">
                <a:cs typeface="Arial" charset="0"/>
              </a:rPr>
              <a:t>IMS Roadmap Presentation IMS Roadmap Presentation </a:t>
            </a:r>
          </a:p>
        </p:txBody>
      </p:sp>
      <p:sp>
        <p:nvSpPr>
          <p:cNvPr id="76811" name="Rectangle 6"/>
          <p:cNvSpPr txBox="1">
            <a:spLocks noGrp="1" noChangeArrowheads="1"/>
          </p:cNvSpPr>
          <p:nvPr/>
        </p:nvSpPr>
        <p:spPr bwMode="auto">
          <a:xfrm>
            <a:off x="1" y="9517778"/>
            <a:ext cx="2982422" cy="499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2546" tIns="46273" rIns="92546" bIns="46273" anchor="b"/>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defRPr/>
            </a:pPr>
            <a:r>
              <a:rPr lang="en-US" sz="1200">
                <a:cs typeface="Arial" pitchFamily="34" charset="0"/>
              </a:rPr>
              <a:t>Ericsson AB 2005-2010 © Ericsson AB 2005-2010 </a:t>
            </a:r>
          </a:p>
        </p:txBody>
      </p:sp>
      <p:sp>
        <p:nvSpPr>
          <p:cNvPr id="76812" name="Rectangle 7"/>
          <p:cNvSpPr txBox="1">
            <a:spLocks noGrp="1" noChangeArrowheads="1"/>
          </p:cNvSpPr>
          <p:nvPr/>
        </p:nvSpPr>
        <p:spPr bwMode="auto">
          <a:xfrm>
            <a:off x="3900958" y="9517778"/>
            <a:ext cx="2982422" cy="499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2546" tIns="46273" rIns="92546" bIns="46273" anchor="b"/>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algn="r" eaLnBrk="1" hangingPunct="1">
              <a:defRPr/>
            </a:pPr>
            <a:fld id="{C38791DB-35B0-45E1-B849-4B55EEDB66EB}" type="slidenum">
              <a:rPr lang="en-US" sz="1200">
                <a:cs typeface="Arial" pitchFamily="34" charset="0"/>
              </a:rPr>
              <a:pPr algn="r" eaLnBrk="1" hangingPunct="1">
                <a:defRPr/>
              </a:pPr>
              <a:t>14</a:t>
            </a:fld>
            <a:endParaRPr lang="en-US" sz="1200">
              <a:cs typeface="Arial" pitchFamily="34" charset="0"/>
            </a:endParaRPr>
          </a:p>
        </p:txBody>
      </p:sp>
      <p:sp>
        <p:nvSpPr>
          <p:cNvPr id="76813" name="Rectangle 2"/>
          <p:cNvSpPr txBox="1">
            <a:spLocks noGrp="1" noChangeArrowheads="1"/>
          </p:cNvSpPr>
          <p:nvPr/>
        </p:nvSpPr>
        <p:spPr bwMode="auto">
          <a:xfrm>
            <a:off x="1" y="0"/>
            <a:ext cx="2982422" cy="499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2546" tIns="46273" rIns="92546" bIns="46273"/>
          <a:lstStyle>
            <a:lvl1pPr>
              <a:defRPr sz="1200">
                <a:solidFill>
                  <a:schemeClr val="tx1"/>
                </a:solidFill>
                <a:latin typeface="Arial" charset="0"/>
                <a:ea typeface="ＭＳ Ｐゴシック" charset="0"/>
              </a:defRPr>
            </a:lvl1pPr>
            <a:lvl2pPr marL="742950" indent="-285750">
              <a:defRPr sz="1200">
                <a:solidFill>
                  <a:schemeClr val="tx1"/>
                </a:solidFill>
                <a:latin typeface="Arial" charset="0"/>
                <a:ea typeface="ＭＳ Ｐゴシック" charset="0"/>
              </a:defRPr>
            </a:lvl2pPr>
            <a:lvl3pPr marL="1143000" indent="-228600">
              <a:defRPr sz="1200">
                <a:solidFill>
                  <a:schemeClr val="tx1"/>
                </a:solidFill>
                <a:latin typeface="Arial" charset="0"/>
                <a:ea typeface="ＭＳ Ｐゴシック" charset="0"/>
              </a:defRPr>
            </a:lvl3pPr>
            <a:lvl4pPr marL="1600200" indent="-228600">
              <a:defRPr sz="12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fontAlgn="base" hangingPunct="0">
              <a:spcBef>
                <a:spcPct val="30000"/>
              </a:spcBef>
              <a:spcAft>
                <a:spcPct val="0"/>
              </a:spcAft>
              <a:defRPr sz="1200">
                <a:solidFill>
                  <a:schemeClr val="tx1"/>
                </a:solidFill>
                <a:latin typeface="Arial" charset="0"/>
                <a:ea typeface="ＭＳ Ｐゴシック" charset="0"/>
              </a:defRPr>
            </a:lvl6pPr>
            <a:lvl7pPr marL="2971800" indent="-228600" eaLnBrk="0" fontAlgn="base" hangingPunct="0">
              <a:spcBef>
                <a:spcPct val="30000"/>
              </a:spcBef>
              <a:spcAft>
                <a:spcPct val="0"/>
              </a:spcAft>
              <a:defRPr sz="1200">
                <a:solidFill>
                  <a:schemeClr val="tx1"/>
                </a:solidFill>
                <a:latin typeface="Arial" charset="0"/>
                <a:ea typeface="ＭＳ Ｐゴシック" charset="0"/>
              </a:defRPr>
            </a:lvl7pPr>
            <a:lvl8pPr marL="3429000" indent="-228600" eaLnBrk="0" fontAlgn="base" hangingPunct="0">
              <a:spcBef>
                <a:spcPct val="30000"/>
              </a:spcBef>
              <a:spcAft>
                <a:spcPct val="0"/>
              </a:spcAft>
              <a:defRPr sz="1200">
                <a:solidFill>
                  <a:schemeClr val="tx1"/>
                </a:solidFill>
                <a:latin typeface="Arial" charset="0"/>
                <a:ea typeface="ＭＳ Ｐゴシック" charset="0"/>
              </a:defRPr>
            </a:lvl8pPr>
            <a:lvl9pPr marL="3886200" indent="-228600" eaLnBrk="0" fontAlgn="base" hangingPunct="0">
              <a:spcBef>
                <a:spcPct val="30000"/>
              </a:spcBef>
              <a:spcAft>
                <a:spcPct val="0"/>
              </a:spcAft>
              <a:defRPr sz="1200">
                <a:solidFill>
                  <a:schemeClr val="tx1"/>
                </a:solidFill>
                <a:latin typeface="Arial" charset="0"/>
                <a:ea typeface="ＭＳ Ｐゴシック" charset="0"/>
              </a:defRPr>
            </a:lvl9pPr>
          </a:lstStyle>
          <a:p>
            <a:pPr>
              <a:defRPr/>
            </a:pPr>
            <a:r>
              <a:rPr lang="en-US" smtClean="0">
                <a:cs typeface="Arial" charset="0"/>
              </a:rPr>
              <a:t>IMS Roadmap Presentation </a:t>
            </a:r>
          </a:p>
        </p:txBody>
      </p:sp>
      <p:sp>
        <p:nvSpPr>
          <p:cNvPr id="76814" name="Rectangle 3"/>
          <p:cNvSpPr txBox="1">
            <a:spLocks noGrp="1" noChangeArrowheads="1"/>
          </p:cNvSpPr>
          <p:nvPr/>
        </p:nvSpPr>
        <p:spPr bwMode="auto">
          <a:xfrm>
            <a:off x="3900958" y="0"/>
            <a:ext cx="2982422" cy="499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2546" tIns="46273" rIns="92546" bIns="46273"/>
          <a:lstStyle>
            <a:lvl1pPr>
              <a:defRPr sz="1200">
                <a:solidFill>
                  <a:schemeClr val="tx1"/>
                </a:solidFill>
                <a:latin typeface="Arial" charset="0"/>
                <a:ea typeface="ＭＳ Ｐゴシック" charset="0"/>
              </a:defRPr>
            </a:lvl1pPr>
            <a:lvl2pPr marL="742950" indent="-285750">
              <a:defRPr sz="1200">
                <a:solidFill>
                  <a:schemeClr val="tx1"/>
                </a:solidFill>
                <a:latin typeface="Arial" charset="0"/>
                <a:ea typeface="ＭＳ Ｐゴシック" charset="0"/>
              </a:defRPr>
            </a:lvl2pPr>
            <a:lvl3pPr marL="1143000" indent="-228600">
              <a:defRPr sz="1200">
                <a:solidFill>
                  <a:schemeClr val="tx1"/>
                </a:solidFill>
                <a:latin typeface="Arial" charset="0"/>
                <a:ea typeface="ＭＳ Ｐゴシック" charset="0"/>
              </a:defRPr>
            </a:lvl3pPr>
            <a:lvl4pPr marL="1600200" indent="-228600">
              <a:defRPr sz="12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fontAlgn="base" hangingPunct="0">
              <a:spcBef>
                <a:spcPct val="30000"/>
              </a:spcBef>
              <a:spcAft>
                <a:spcPct val="0"/>
              </a:spcAft>
              <a:defRPr sz="1200">
                <a:solidFill>
                  <a:schemeClr val="tx1"/>
                </a:solidFill>
                <a:latin typeface="Arial" charset="0"/>
                <a:ea typeface="ＭＳ Ｐゴシック" charset="0"/>
              </a:defRPr>
            </a:lvl6pPr>
            <a:lvl7pPr marL="2971800" indent="-228600" eaLnBrk="0" fontAlgn="base" hangingPunct="0">
              <a:spcBef>
                <a:spcPct val="30000"/>
              </a:spcBef>
              <a:spcAft>
                <a:spcPct val="0"/>
              </a:spcAft>
              <a:defRPr sz="1200">
                <a:solidFill>
                  <a:schemeClr val="tx1"/>
                </a:solidFill>
                <a:latin typeface="Arial" charset="0"/>
                <a:ea typeface="ＭＳ Ｐゴシック" charset="0"/>
              </a:defRPr>
            </a:lvl7pPr>
            <a:lvl8pPr marL="3429000" indent="-228600" eaLnBrk="0" fontAlgn="base" hangingPunct="0">
              <a:spcBef>
                <a:spcPct val="30000"/>
              </a:spcBef>
              <a:spcAft>
                <a:spcPct val="0"/>
              </a:spcAft>
              <a:defRPr sz="1200">
                <a:solidFill>
                  <a:schemeClr val="tx1"/>
                </a:solidFill>
                <a:latin typeface="Arial" charset="0"/>
                <a:ea typeface="ＭＳ Ｐゴシック" charset="0"/>
              </a:defRPr>
            </a:lvl8pPr>
            <a:lvl9pPr marL="3886200" indent="-228600" eaLnBrk="0" fontAlgn="base" hangingPunct="0">
              <a:spcBef>
                <a:spcPct val="30000"/>
              </a:spcBef>
              <a:spcAft>
                <a:spcPct val="0"/>
              </a:spcAft>
              <a:defRPr sz="1200">
                <a:solidFill>
                  <a:schemeClr val="tx1"/>
                </a:solidFill>
                <a:latin typeface="Arial" charset="0"/>
                <a:ea typeface="ＭＳ Ｐゴシック" charset="0"/>
              </a:defRPr>
            </a:lvl9pPr>
          </a:lstStyle>
          <a:p>
            <a:pPr algn="r">
              <a:defRPr/>
            </a:pPr>
            <a:r>
              <a:rPr lang="en-US" smtClean="0">
                <a:cs typeface="Arial" charset="0"/>
              </a:rPr>
              <a:t>2011-11-28 </a:t>
            </a:r>
          </a:p>
        </p:txBody>
      </p:sp>
      <p:sp>
        <p:nvSpPr>
          <p:cNvPr id="76815" name="Rectangle 6"/>
          <p:cNvSpPr txBox="1">
            <a:spLocks noGrp="1" noChangeArrowheads="1"/>
          </p:cNvSpPr>
          <p:nvPr/>
        </p:nvSpPr>
        <p:spPr bwMode="auto">
          <a:xfrm>
            <a:off x="1" y="9517778"/>
            <a:ext cx="2982422" cy="499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2546" tIns="46273" rIns="92546" bIns="46273" anchor="b"/>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defRPr/>
            </a:pPr>
            <a:r>
              <a:rPr lang="en-US" sz="1200">
                <a:cs typeface="Arial" pitchFamily="34" charset="0"/>
              </a:rPr>
              <a:t>© Ericsson AB 2005-2010 </a:t>
            </a:r>
          </a:p>
        </p:txBody>
      </p:sp>
      <p:sp>
        <p:nvSpPr>
          <p:cNvPr id="76816" name="Rectangle 7"/>
          <p:cNvSpPr txBox="1">
            <a:spLocks noGrp="1" noChangeArrowheads="1"/>
          </p:cNvSpPr>
          <p:nvPr/>
        </p:nvSpPr>
        <p:spPr bwMode="auto">
          <a:xfrm>
            <a:off x="3900958" y="9517778"/>
            <a:ext cx="2982422" cy="499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2546" tIns="46273" rIns="92546" bIns="46273" anchor="b"/>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algn="r" eaLnBrk="1" hangingPunct="1">
              <a:defRPr/>
            </a:pPr>
            <a:fld id="{7FBA9E70-5E3F-4BE0-B8C7-306BB5B063FA}" type="slidenum">
              <a:rPr lang="en-US" sz="1200">
                <a:cs typeface="Arial" pitchFamily="34" charset="0"/>
              </a:rPr>
              <a:pPr algn="r" eaLnBrk="1" hangingPunct="1">
                <a:defRPr/>
              </a:pPr>
              <a:t>14</a:t>
            </a:fld>
            <a:endParaRPr lang="en-US" sz="1200">
              <a:cs typeface="Arial" pitchFamily="34" charset="0"/>
            </a:endParaRPr>
          </a:p>
        </p:txBody>
      </p:sp>
      <p:sp>
        <p:nvSpPr>
          <p:cNvPr id="43025" name="Rectangle 2"/>
          <p:cNvSpPr>
            <a:spLocks noGrp="1" noRot="1" noChangeAspect="1" noChangeArrowheads="1" noTextEdit="1"/>
          </p:cNvSpPr>
          <p:nvPr>
            <p:ph type="sldImg"/>
          </p:nvPr>
        </p:nvSpPr>
        <p:spPr bwMode="auto">
          <a:xfrm>
            <a:off x="4205288" y="7691438"/>
            <a:ext cx="2487612" cy="18653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26" name="Rectangle 3"/>
          <p:cNvSpPr>
            <a:spLocks noGrp="1" noChangeArrowheads="1"/>
          </p:cNvSpPr>
          <p:nvPr>
            <p:ph type="body" idx="1"/>
          </p:nvPr>
        </p:nvSpPr>
        <p:spPr bwMode="auto">
          <a:xfrm>
            <a:off x="189820" y="197485"/>
            <a:ext cx="6505348" cy="946639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smtClean="0">
              <a:latin typeface="Arial" pitchFamily="34" charset="0"/>
            </a:endParaRPr>
          </a:p>
        </p:txBody>
      </p:sp>
      <p:sp>
        <p:nvSpPr>
          <p:cNvPr id="43027" name="Slide Number Placeholder 1"/>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fld id="{98714E3A-B9D1-4B45-B652-FCFA57FABBFC}" type="slidenum">
              <a:rPr lang="en-US" sz="1200" smtClean="0"/>
              <a:t>14</a:t>
            </a:fld>
            <a:endParaRPr lang="en-US" sz="1200"/>
          </a:p>
        </p:txBody>
      </p:sp>
      <p:sp>
        <p:nvSpPr>
          <p:cNvPr id="46100" name="Header Placeholder 2"/>
          <p:cNvSpPr>
            <a:spLocks noGrp="1"/>
          </p:cNvSpPr>
          <p:nvPr>
            <p:ph type="hdr" sz="quarter"/>
          </p:nvPr>
        </p:nvSpPr>
        <p:spPr/>
        <p:txBody>
          <a:bodyPr/>
          <a:lstStyle>
            <a:lvl1pPr eaLnBrk="0" hangingPunct="0">
              <a:defRPr sz="2000">
                <a:solidFill>
                  <a:schemeClr val="tx1"/>
                </a:solidFill>
                <a:latin typeface="Arial" pitchFamily="34" charset="0"/>
              </a:defRPr>
            </a:lvl1pPr>
            <a:lvl2pPr marL="751940" indent="-289208" eaLnBrk="0" hangingPunct="0">
              <a:defRPr sz="2000">
                <a:solidFill>
                  <a:schemeClr val="tx1"/>
                </a:solidFill>
                <a:latin typeface="Arial" pitchFamily="34" charset="0"/>
              </a:defRPr>
            </a:lvl2pPr>
            <a:lvl3pPr marL="1156830" indent="-231366" eaLnBrk="0" hangingPunct="0">
              <a:defRPr sz="2000">
                <a:solidFill>
                  <a:schemeClr val="tx1"/>
                </a:solidFill>
                <a:latin typeface="Arial" pitchFamily="34" charset="0"/>
              </a:defRPr>
            </a:lvl3pPr>
            <a:lvl4pPr marL="1619562" indent="-231366" eaLnBrk="0" hangingPunct="0">
              <a:defRPr sz="2000">
                <a:solidFill>
                  <a:schemeClr val="tx1"/>
                </a:solidFill>
                <a:latin typeface="Arial" pitchFamily="34" charset="0"/>
              </a:defRPr>
            </a:lvl4pPr>
            <a:lvl5pPr marL="2082295" indent="-231366" eaLnBrk="0" hangingPunct="0">
              <a:defRPr sz="2000">
                <a:solidFill>
                  <a:schemeClr val="tx1"/>
                </a:solidFill>
                <a:latin typeface="Arial" pitchFamily="34" charset="0"/>
              </a:defRPr>
            </a:lvl5pPr>
            <a:lvl6pPr marL="2545027" indent="-231366" algn="ctr" eaLnBrk="0" fontAlgn="base" hangingPunct="0">
              <a:spcBef>
                <a:spcPct val="0"/>
              </a:spcBef>
              <a:spcAft>
                <a:spcPct val="0"/>
              </a:spcAft>
              <a:defRPr sz="2000">
                <a:solidFill>
                  <a:schemeClr val="tx1"/>
                </a:solidFill>
                <a:latin typeface="Arial" pitchFamily="34" charset="0"/>
              </a:defRPr>
            </a:lvl6pPr>
            <a:lvl7pPr marL="3007759" indent="-231366" algn="ctr" eaLnBrk="0" fontAlgn="base" hangingPunct="0">
              <a:spcBef>
                <a:spcPct val="0"/>
              </a:spcBef>
              <a:spcAft>
                <a:spcPct val="0"/>
              </a:spcAft>
              <a:defRPr sz="2000">
                <a:solidFill>
                  <a:schemeClr val="tx1"/>
                </a:solidFill>
                <a:latin typeface="Arial" pitchFamily="34" charset="0"/>
              </a:defRPr>
            </a:lvl7pPr>
            <a:lvl8pPr marL="3470491" indent="-231366" algn="ctr" eaLnBrk="0" fontAlgn="base" hangingPunct="0">
              <a:spcBef>
                <a:spcPct val="0"/>
              </a:spcBef>
              <a:spcAft>
                <a:spcPct val="0"/>
              </a:spcAft>
              <a:defRPr sz="2000">
                <a:solidFill>
                  <a:schemeClr val="tx1"/>
                </a:solidFill>
                <a:latin typeface="Arial" pitchFamily="34" charset="0"/>
              </a:defRPr>
            </a:lvl8pPr>
            <a:lvl9pPr marL="3933223" indent="-231366" algn="ctr" eaLnBrk="0" fontAlgn="base" hangingPunct="0">
              <a:spcBef>
                <a:spcPct val="0"/>
              </a:spcBef>
              <a:spcAft>
                <a:spcPct val="0"/>
              </a:spcAft>
              <a:defRPr sz="2000">
                <a:solidFill>
                  <a:schemeClr val="tx1"/>
                </a:solidFill>
                <a:latin typeface="Arial" pitchFamily="34" charset="0"/>
              </a:defRPr>
            </a:lvl9pPr>
          </a:lstStyle>
          <a:p>
            <a:pPr eaLnBrk="1" hangingPunct="1">
              <a:defRPr/>
            </a:pPr>
            <a:r>
              <a:rPr lang="en-US" sz="1200" smtClean="0"/>
              <a:t>2015 User Webinar: Ericsson Catalog Manager &amp; Ericsson Order Care </a:t>
            </a:r>
            <a:endParaRPr lang="en-US" sz="1200"/>
          </a:p>
        </p:txBody>
      </p:sp>
      <p:sp>
        <p:nvSpPr>
          <p:cNvPr id="43029" name="Footer Placeholder 3"/>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da-DK" sz="1200" smtClean="0"/>
              <a:t> </a:t>
            </a:r>
            <a:endParaRPr lang="en-US" sz="1200"/>
          </a:p>
        </p:txBody>
      </p:sp>
      <p:sp>
        <p:nvSpPr>
          <p:cNvPr id="46102" name="Date Placeholder 4"/>
          <p:cNvSpPr>
            <a:spLocks noGrp="1"/>
          </p:cNvSpPr>
          <p:nvPr>
            <p:ph type="dt" sz="quarter" idx="1"/>
          </p:nvPr>
        </p:nvSpPr>
        <p:spPr/>
        <p:txBody>
          <a:bodyPr/>
          <a:lstStyle>
            <a:lvl1pPr eaLnBrk="0" hangingPunct="0">
              <a:defRPr sz="2000">
                <a:solidFill>
                  <a:schemeClr val="tx1"/>
                </a:solidFill>
                <a:latin typeface="Arial" pitchFamily="34" charset="0"/>
              </a:defRPr>
            </a:lvl1pPr>
            <a:lvl2pPr marL="751940" indent="-289208" eaLnBrk="0" hangingPunct="0">
              <a:defRPr sz="2000">
                <a:solidFill>
                  <a:schemeClr val="tx1"/>
                </a:solidFill>
                <a:latin typeface="Arial" pitchFamily="34" charset="0"/>
              </a:defRPr>
            </a:lvl2pPr>
            <a:lvl3pPr marL="1156830" indent="-231366" eaLnBrk="0" hangingPunct="0">
              <a:defRPr sz="2000">
                <a:solidFill>
                  <a:schemeClr val="tx1"/>
                </a:solidFill>
                <a:latin typeface="Arial" pitchFamily="34" charset="0"/>
              </a:defRPr>
            </a:lvl3pPr>
            <a:lvl4pPr marL="1619562" indent="-231366" eaLnBrk="0" hangingPunct="0">
              <a:defRPr sz="2000">
                <a:solidFill>
                  <a:schemeClr val="tx1"/>
                </a:solidFill>
                <a:latin typeface="Arial" pitchFamily="34" charset="0"/>
              </a:defRPr>
            </a:lvl4pPr>
            <a:lvl5pPr marL="2082295" indent="-231366" eaLnBrk="0" hangingPunct="0">
              <a:defRPr sz="2000">
                <a:solidFill>
                  <a:schemeClr val="tx1"/>
                </a:solidFill>
                <a:latin typeface="Arial" pitchFamily="34" charset="0"/>
              </a:defRPr>
            </a:lvl5pPr>
            <a:lvl6pPr marL="2545027" indent="-231366" algn="ctr" eaLnBrk="0" fontAlgn="base" hangingPunct="0">
              <a:spcBef>
                <a:spcPct val="0"/>
              </a:spcBef>
              <a:spcAft>
                <a:spcPct val="0"/>
              </a:spcAft>
              <a:defRPr sz="2000">
                <a:solidFill>
                  <a:schemeClr val="tx1"/>
                </a:solidFill>
                <a:latin typeface="Arial" pitchFamily="34" charset="0"/>
              </a:defRPr>
            </a:lvl6pPr>
            <a:lvl7pPr marL="3007759" indent="-231366" algn="ctr" eaLnBrk="0" fontAlgn="base" hangingPunct="0">
              <a:spcBef>
                <a:spcPct val="0"/>
              </a:spcBef>
              <a:spcAft>
                <a:spcPct val="0"/>
              </a:spcAft>
              <a:defRPr sz="2000">
                <a:solidFill>
                  <a:schemeClr val="tx1"/>
                </a:solidFill>
                <a:latin typeface="Arial" pitchFamily="34" charset="0"/>
              </a:defRPr>
            </a:lvl7pPr>
            <a:lvl8pPr marL="3470491" indent="-231366" algn="ctr" eaLnBrk="0" fontAlgn="base" hangingPunct="0">
              <a:spcBef>
                <a:spcPct val="0"/>
              </a:spcBef>
              <a:spcAft>
                <a:spcPct val="0"/>
              </a:spcAft>
              <a:defRPr sz="2000">
                <a:solidFill>
                  <a:schemeClr val="tx1"/>
                </a:solidFill>
                <a:latin typeface="Arial" pitchFamily="34" charset="0"/>
              </a:defRPr>
            </a:lvl8pPr>
            <a:lvl9pPr marL="3933223" indent="-231366" algn="ctr" eaLnBrk="0" fontAlgn="base" hangingPunct="0">
              <a:spcBef>
                <a:spcPct val="0"/>
              </a:spcBef>
              <a:spcAft>
                <a:spcPct val="0"/>
              </a:spcAft>
              <a:defRPr sz="2000">
                <a:solidFill>
                  <a:schemeClr val="tx1"/>
                </a:solidFill>
                <a:latin typeface="Arial" pitchFamily="34" charset="0"/>
              </a:defRPr>
            </a:lvl9pPr>
          </a:lstStyle>
          <a:p>
            <a:pPr eaLnBrk="1" hangingPunct="1">
              <a:defRPr/>
            </a:pPr>
            <a:r>
              <a:rPr lang="en-US" sz="1200" smtClean="0"/>
              <a:t>2015-01-19 </a:t>
            </a:r>
            <a:endParaRPr lang="en-US" sz="120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pitchFamily="34" charset="0"/>
            </a:endParaRPr>
          </a:p>
        </p:txBody>
      </p:sp>
      <p:sp>
        <p:nvSpPr>
          <p:cNvPr id="56324"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01-19 </a:t>
            </a:r>
            <a:endParaRPr lang="en-US" sz="1200"/>
          </a:p>
        </p:txBody>
      </p:sp>
      <p:sp>
        <p:nvSpPr>
          <p:cNvPr id="56325"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fld id="{A80E6B9B-BDC9-42A7-A82A-7F33F9D34E73}" type="slidenum">
              <a:rPr lang="en-US" sz="1200" smtClean="0"/>
              <a:t>15</a:t>
            </a:fld>
            <a:endParaRPr lang="en-US" sz="1200" smtClean="0"/>
          </a:p>
        </p:txBody>
      </p:sp>
      <p:sp>
        <p:nvSpPr>
          <p:cNvPr id="56326" name="Header Placeholder 5"/>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 User Webinar: Ericsson Catalog Manager &amp; Ericsson Order Care </a:t>
            </a:r>
            <a:endParaRPr lang="en-US" sz="1200"/>
          </a:p>
        </p:txBody>
      </p:sp>
      <p:sp>
        <p:nvSpPr>
          <p:cNvPr id="56327"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 </a:t>
            </a:r>
            <a:endParaRPr lang="en-US" sz="120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xfrm>
            <a:off x="936625" y="750888"/>
            <a:ext cx="5011738" cy="3757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pitchFamily="34" charset="0"/>
            </a:endParaRPr>
          </a:p>
        </p:txBody>
      </p:sp>
      <p:sp>
        <p:nvSpPr>
          <p:cNvPr id="65540"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solidFill>
                  <a:srgbClr val="000000"/>
                </a:solidFill>
              </a:rPr>
              <a:t>2015-01-19 </a:t>
            </a:r>
            <a:endParaRPr lang="en-US" sz="1200">
              <a:solidFill>
                <a:srgbClr val="000000"/>
              </a:solidFill>
            </a:endParaRPr>
          </a:p>
        </p:txBody>
      </p:sp>
      <p:sp>
        <p:nvSpPr>
          <p:cNvPr id="655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fld id="{944F61B3-FF2A-4C63-985D-0E397B9B97FB}" type="slidenum">
              <a:rPr lang="en-US" sz="1200" smtClean="0">
                <a:solidFill>
                  <a:srgbClr val="000000"/>
                </a:solidFill>
              </a:rPr>
              <a:t>16</a:t>
            </a:fld>
            <a:endParaRPr lang="en-US" sz="1200" smtClean="0">
              <a:solidFill>
                <a:srgbClr val="000000"/>
              </a:solidFill>
            </a:endParaRPr>
          </a:p>
        </p:txBody>
      </p:sp>
      <p:sp>
        <p:nvSpPr>
          <p:cNvPr id="65542" name="Header Placeholder 5"/>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solidFill>
                  <a:srgbClr val="000000"/>
                </a:solidFill>
              </a:rPr>
              <a:t>2015 User Webinar: Ericsson Catalog Manager &amp; Ericsson Order Care </a:t>
            </a:r>
            <a:endParaRPr lang="en-US" sz="1200">
              <a:solidFill>
                <a:srgbClr val="000000"/>
              </a:solidFill>
            </a:endParaRPr>
          </a:p>
        </p:txBody>
      </p:sp>
      <p:sp>
        <p:nvSpPr>
          <p:cNvPr id="655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solidFill>
                  <a:srgbClr val="000000"/>
                </a:solidFill>
              </a:rPr>
              <a:t> </a:t>
            </a:r>
            <a:endParaRPr lang="en-US" sz="1200">
              <a:solidFill>
                <a:srgbClr val="000000"/>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xfrm>
            <a:off x="936625" y="750888"/>
            <a:ext cx="5011738" cy="3757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ea typeface="ＭＳ Ｐゴシック" pitchFamily="34" charset="-128"/>
            </a:endParaRPr>
          </a:p>
        </p:txBody>
      </p:sp>
      <p:sp>
        <p:nvSpPr>
          <p:cNvPr id="4" name="Date Placeholder 3"/>
          <p:cNvSpPr>
            <a:spLocks noGrp="1"/>
          </p:cNvSpPr>
          <p:nvPr>
            <p:ph type="dt" sz="quarter" idx="1"/>
          </p:nvPr>
        </p:nvSpPr>
        <p:spPr/>
        <p:txBody>
          <a:bodyPr/>
          <a:lstStyle/>
          <a:p>
            <a:pPr>
              <a:defRPr/>
            </a:pPr>
            <a:r>
              <a:rPr lang="en-US" smtClean="0"/>
              <a:t>2015-01-19 </a:t>
            </a:r>
            <a:endParaRPr lang="en-US" dirty="0"/>
          </a:p>
        </p:txBody>
      </p:sp>
      <p:sp>
        <p:nvSpPr>
          <p:cNvPr id="49157"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pitchFamily="34" charset="-128"/>
              </a:defRPr>
            </a:lvl1pPr>
            <a:lvl2pPr marL="751940" indent="-289208" eaLnBrk="0" hangingPunct="0">
              <a:defRPr sz="2000">
                <a:solidFill>
                  <a:schemeClr val="tx1"/>
                </a:solidFill>
                <a:latin typeface="Arial" charset="0"/>
                <a:ea typeface="ＭＳ Ｐゴシック" pitchFamily="34" charset="-128"/>
              </a:defRPr>
            </a:lvl2pPr>
            <a:lvl3pPr marL="1156830" indent="-231366" eaLnBrk="0" hangingPunct="0">
              <a:defRPr sz="2000">
                <a:solidFill>
                  <a:schemeClr val="tx1"/>
                </a:solidFill>
                <a:latin typeface="Arial" charset="0"/>
                <a:ea typeface="ＭＳ Ｐゴシック" pitchFamily="34" charset="-128"/>
              </a:defRPr>
            </a:lvl3pPr>
            <a:lvl4pPr marL="1619562" indent="-231366" eaLnBrk="0" hangingPunct="0">
              <a:defRPr sz="2000">
                <a:solidFill>
                  <a:schemeClr val="tx1"/>
                </a:solidFill>
                <a:latin typeface="Arial" charset="0"/>
                <a:ea typeface="ＭＳ Ｐゴシック" pitchFamily="34" charset="-128"/>
              </a:defRPr>
            </a:lvl4pPr>
            <a:lvl5pPr marL="2082295" indent="-231366" eaLnBrk="0" hangingPunct="0">
              <a:defRPr sz="2000">
                <a:solidFill>
                  <a:schemeClr val="tx1"/>
                </a:solidFill>
                <a:latin typeface="Arial" charset="0"/>
                <a:ea typeface="ＭＳ Ｐゴシック" pitchFamily="34" charset="-128"/>
              </a:defRPr>
            </a:lvl5pPr>
            <a:lvl6pPr marL="2545027" indent="-231366" eaLnBrk="0" fontAlgn="base" hangingPunct="0">
              <a:spcBef>
                <a:spcPct val="0"/>
              </a:spcBef>
              <a:spcAft>
                <a:spcPct val="0"/>
              </a:spcAft>
              <a:defRPr sz="2000">
                <a:solidFill>
                  <a:schemeClr val="tx1"/>
                </a:solidFill>
                <a:latin typeface="Arial" charset="0"/>
                <a:ea typeface="ＭＳ Ｐゴシック" pitchFamily="34" charset="-128"/>
              </a:defRPr>
            </a:lvl6pPr>
            <a:lvl7pPr marL="3007759" indent="-231366" eaLnBrk="0" fontAlgn="base" hangingPunct="0">
              <a:spcBef>
                <a:spcPct val="0"/>
              </a:spcBef>
              <a:spcAft>
                <a:spcPct val="0"/>
              </a:spcAft>
              <a:defRPr sz="2000">
                <a:solidFill>
                  <a:schemeClr val="tx1"/>
                </a:solidFill>
                <a:latin typeface="Arial" charset="0"/>
                <a:ea typeface="ＭＳ Ｐゴシック" pitchFamily="34" charset="-128"/>
              </a:defRPr>
            </a:lvl7pPr>
            <a:lvl8pPr marL="3470491" indent="-231366" eaLnBrk="0" fontAlgn="base" hangingPunct="0">
              <a:spcBef>
                <a:spcPct val="0"/>
              </a:spcBef>
              <a:spcAft>
                <a:spcPct val="0"/>
              </a:spcAft>
              <a:defRPr sz="2000">
                <a:solidFill>
                  <a:schemeClr val="tx1"/>
                </a:solidFill>
                <a:latin typeface="Arial" charset="0"/>
                <a:ea typeface="ＭＳ Ｐゴシック" pitchFamily="34" charset="-128"/>
              </a:defRPr>
            </a:lvl8pPr>
            <a:lvl9pPr marL="3933223" indent="-231366"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fld id="{E38C3162-A7C0-4FA4-8D11-B4A6F495DB1D}" type="slidenum">
              <a:rPr lang="en-US" sz="1200" smtClean="0">
                <a:cs typeface="Arial" charset="0"/>
              </a:rPr>
              <a:t>17</a:t>
            </a:fld>
            <a:endParaRPr lang="en-US" sz="1200">
              <a:cs typeface="Arial" charset="0"/>
            </a:endParaRPr>
          </a:p>
        </p:txBody>
      </p:sp>
      <p:sp>
        <p:nvSpPr>
          <p:cNvPr id="6" name="Header Placeholder 5"/>
          <p:cNvSpPr>
            <a:spLocks noGrp="1"/>
          </p:cNvSpPr>
          <p:nvPr>
            <p:ph type="hdr" sz="quarter"/>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4"/>
          </p:nvPr>
        </p:nvSpPr>
        <p:spPr/>
        <p:txBody>
          <a:bodyPr/>
          <a:lstStyle/>
          <a:p>
            <a:pPr>
              <a:defRPr/>
            </a:pPr>
            <a:r>
              <a:rPr lang="en-US" smtClean="0"/>
              <a:t> </a:t>
            </a:r>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xfrm>
            <a:off x="936625" y="750888"/>
            <a:ext cx="5011738" cy="3757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dirty="0" smtClean="0">
                <a:ea typeface="ＭＳ Ｐゴシック" pitchFamily="34" charset="-128"/>
              </a:rPr>
              <a:t>Take from BUC 10.2 SLA/SLS</a:t>
            </a:r>
          </a:p>
          <a:p>
            <a:pPr eaLnBrk="1" hangingPunct="1"/>
            <a:r>
              <a:rPr lang="en-US" dirty="0" smtClean="0">
                <a:ea typeface="ＭＳ Ｐゴシック" pitchFamily="34" charset="-128"/>
              </a:rPr>
              <a:t>Add Assurance for 14.2 from BUC 10.1A</a:t>
            </a:r>
          </a:p>
          <a:p>
            <a:pPr eaLnBrk="1" hangingPunct="1"/>
            <a:r>
              <a:rPr lang="en-US" dirty="0" smtClean="0">
                <a:ea typeface="ＭＳ Ｐゴシック" pitchFamily="34" charset="-128"/>
              </a:rPr>
              <a:t>Take 10.1B for Catalog driven Fulfilment CFF</a:t>
            </a:r>
          </a:p>
          <a:p>
            <a:pPr eaLnBrk="1" hangingPunct="1"/>
            <a:r>
              <a:rPr lang="en-US" dirty="0" smtClean="0">
                <a:ea typeface="ＭＳ Ｐゴシック" pitchFamily="34" charset="-128"/>
              </a:rPr>
              <a:t>10.3A for - </a:t>
            </a:r>
            <a:r>
              <a:rPr lang="en-CA" dirty="0" smtClean="0">
                <a:ea typeface="ＭＳ Ｐゴシック" pitchFamily="34" charset="-128"/>
                <a:cs typeface="Arial" charset="0"/>
              </a:rPr>
              <a:t>Publishing between instances</a:t>
            </a:r>
          </a:p>
          <a:p>
            <a:pPr eaLnBrk="1" hangingPunct="1"/>
            <a:r>
              <a:rPr lang="en-CA" dirty="0" smtClean="0">
                <a:ea typeface="ＭＳ Ｐゴシック" pitchFamily="34" charset="-128"/>
                <a:cs typeface="Arial" charset="0"/>
              </a:rPr>
              <a:t>BIS – Business Interaction Specification 10.3A (Need to discuss</a:t>
            </a:r>
          </a:p>
          <a:p>
            <a:pPr eaLnBrk="1" hangingPunct="1"/>
            <a:r>
              <a:rPr lang="en-CA" dirty="0" smtClean="0">
                <a:ea typeface="ＭＳ Ｐゴシック" pitchFamily="34" charset="-128"/>
                <a:cs typeface="Arial" charset="0"/>
              </a:rPr>
              <a:t> this further)</a:t>
            </a:r>
            <a:endParaRPr lang="en-US" dirty="0" smtClean="0">
              <a:ea typeface="ＭＳ Ｐゴシック" pitchFamily="34" charset="-128"/>
            </a:endParaRPr>
          </a:p>
          <a:p>
            <a:pPr eaLnBrk="1" hangingPunct="1"/>
            <a:endParaRPr lang="en-US" dirty="0" smtClean="0">
              <a:ea typeface="ＭＳ Ｐゴシック" pitchFamily="34" charset="-128"/>
            </a:endParaRPr>
          </a:p>
        </p:txBody>
      </p:sp>
      <p:sp>
        <p:nvSpPr>
          <p:cNvPr id="28676" name="Date Placeholder 3"/>
          <p:cNvSpPr>
            <a:spLocks noGrp="1"/>
          </p:cNvSpPr>
          <p:nvPr>
            <p:ph type="dt" sz="quarter"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50000"/>
              </a:spcBef>
              <a:defRPr sz="2000">
                <a:solidFill>
                  <a:schemeClr val="tx1"/>
                </a:solidFill>
                <a:latin typeface="Arial" pitchFamily="34" charset="0"/>
              </a:defRPr>
            </a:lvl1pPr>
            <a:lvl2pPr marL="727762" indent="-279907" eaLnBrk="0" hangingPunct="0">
              <a:spcBef>
                <a:spcPct val="50000"/>
              </a:spcBef>
              <a:defRPr sz="2000">
                <a:solidFill>
                  <a:schemeClr val="tx1"/>
                </a:solidFill>
                <a:latin typeface="Arial" pitchFamily="34" charset="0"/>
              </a:defRPr>
            </a:lvl2pPr>
            <a:lvl3pPr marL="1119634" indent="-223927" eaLnBrk="0" hangingPunct="0">
              <a:spcBef>
                <a:spcPct val="50000"/>
              </a:spcBef>
              <a:defRPr sz="2000">
                <a:solidFill>
                  <a:schemeClr val="tx1"/>
                </a:solidFill>
                <a:latin typeface="Arial" pitchFamily="34" charset="0"/>
              </a:defRPr>
            </a:lvl3pPr>
            <a:lvl4pPr marL="1567487" indent="-223927" eaLnBrk="0" hangingPunct="0">
              <a:spcBef>
                <a:spcPct val="50000"/>
              </a:spcBef>
              <a:defRPr sz="2000">
                <a:solidFill>
                  <a:schemeClr val="tx1"/>
                </a:solidFill>
                <a:latin typeface="Arial" pitchFamily="34" charset="0"/>
              </a:defRPr>
            </a:lvl4pPr>
            <a:lvl5pPr marL="2015339" indent="-223927" eaLnBrk="0" hangingPunct="0">
              <a:spcBef>
                <a:spcPct val="50000"/>
              </a:spcBef>
              <a:defRPr sz="2000">
                <a:solidFill>
                  <a:schemeClr val="tx1"/>
                </a:solidFill>
                <a:latin typeface="Arial" pitchFamily="34" charset="0"/>
              </a:defRPr>
            </a:lvl5pPr>
            <a:lvl6pPr marL="2463192" indent="-223927" eaLnBrk="0" fontAlgn="base" hangingPunct="0">
              <a:spcBef>
                <a:spcPct val="50000"/>
              </a:spcBef>
              <a:spcAft>
                <a:spcPct val="0"/>
              </a:spcAft>
              <a:defRPr sz="2000">
                <a:solidFill>
                  <a:schemeClr val="tx1"/>
                </a:solidFill>
                <a:latin typeface="Arial" pitchFamily="34" charset="0"/>
              </a:defRPr>
            </a:lvl6pPr>
            <a:lvl7pPr marL="2911046" indent="-223927" eaLnBrk="0" fontAlgn="base" hangingPunct="0">
              <a:spcBef>
                <a:spcPct val="50000"/>
              </a:spcBef>
              <a:spcAft>
                <a:spcPct val="0"/>
              </a:spcAft>
              <a:defRPr sz="2000">
                <a:solidFill>
                  <a:schemeClr val="tx1"/>
                </a:solidFill>
                <a:latin typeface="Arial" pitchFamily="34" charset="0"/>
              </a:defRPr>
            </a:lvl7pPr>
            <a:lvl8pPr marL="3358900" indent="-223927" eaLnBrk="0" fontAlgn="base" hangingPunct="0">
              <a:spcBef>
                <a:spcPct val="50000"/>
              </a:spcBef>
              <a:spcAft>
                <a:spcPct val="0"/>
              </a:spcAft>
              <a:defRPr sz="2000">
                <a:solidFill>
                  <a:schemeClr val="tx1"/>
                </a:solidFill>
                <a:latin typeface="Arial" pitchFamily="34" charset="0"/>
              </a:defRPr>
            </a:lvl8pPr>
            <a:lvl9pPr marL="3806753" indent="-223927" eaLnBrk="0" fontAlgn="base" hangingPunct="0">
              <a:spcBef>
                <a:spcPct val="50000"/>
              </a:spcBef>
              <a:spcAft>
                <a:spcPct val="0"/>
              </a:spcAft>
              <a:defRPr sz="2000">
                <a:solidFill>
                  <a:schemeClr val="tx1"/>
                </a:solidFill>
                <a:latin typeface="Arial" pitchFamily="34" charset="0"/>
              </a:defRPr>
            </a:lvl9pPr>
          </a:lstStyle>
          <a:p>
            <a:pPr eaLnBrk="1" hangingPunct="1">
              <a:defRPr/>
            </a:pPr>
            <a:r>
              <a:rPr lang="en-US" sz="1200" smtClean="0"/>
              <a:t>2015-01-19 </a:t>
            </a:r>
            <a:endParaRPr lang="en-US" sz="1200" dirty="0"/>
          </a:p>
        </p:txBody>
      </p:sp>
      <p:sp>
        <p:nvSpPr>
          <p:cNvPr id="5018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pitchFamily="34" charset="-128"/>
              </a:defRPr>
            </a:lvl1pPr>
            <a:lvl2pPr marL="751940" indent="-289208" eaLnBrk="0" hangingPunct="0">
              <a:defRPr sz="2000">
                <a:solidFill>
                  <a:schemeClr val="tx1"/>
                </a:solidFill>
                <a:latin typeface="Arial" charset="0"/>
                <a:ea typeface="ＭＳ Ｐゴシック" pitchFamily="34" charset="-128"/>
              </a:defRPr>
            </a:lvl2pPr>
            <a:lvl3pPr marL="1156830" indent="-231366" eaLnBrk="0" hangingPunct="0">
              <a:defRPr sz="2000">
                <a:solidFill>
                  <a:schemeClr val="tx1"/>
                </a:solidFill>
                <a:latin typeface="Arial" charset="0"/>
                <a:ea typeface="ＭＳ Ｐゴシック" pitchFamily="34" charset="-128"/>
              </a:defRPr>
            </a:lvl3pPr>
            <a:lvl4pPr marL="1619562" indent="-231366" eaLnBrk="0" hangingPunct="0">
              <a:defRPr sz="2000">
                <a:solidFill>
                  <a:schemeClr val="tx1"/>
                </a:solidFill>
                <a:latin typeface="Arial" charset="0"/>
                <a:ea typeface="ＭＳ Ｐゴシック" pitchFamily="34" charset="-128"/>
              </a:defRPr>
            </a:lvl4pPr>
            <a:lvl5pPr marL="2082295" indent="-231366" eaLnBrk="0" hangingPunct="0">
              <a:defRPr sz="2000">
                <a:solidFill>
                  <a:schemeClr val="tx1"/>
                </a:solidFill>
                <a:latin typeface="Arial" charset="0"/>
                <a:ea typeface="ＭＳ Ｐゴシック" pitchFamily="34" charset="-128"/>
              </a:defRPr>
            </a:lvl5pPr>
            <a:lvl6pPr marL="2545027" indent="-231366" eaLnBrk="0" fontAlgn="base" hangingPunct="0">
              <a:spcBef>
                <a:spcPct val="0"/>
              </a:spcBef>
              <a:spcAft>
                <a:spcPct val="0"/>
              </a:spcAft>
              <a:defRPr sz="2000">
                <a:solidFill>
                  <a:schemeClr val="tx1"/>
                </a:solidFill>
                <a:latin typeface="Arial" charset="0"/>
                <a:ea typeface="ＭＳ Ｐゴシック" pitchFamily="34" charset="-128"/>
              </a:defRPr>
            </a:lvl6pPr>
            <a:lvl7pPr marL="3007759" indent="-231366" eaLnBrk="0" fontAlgn="base" hangingPunct="0">
              <a:spcBef>
                <a:spcPct val="0"/>
              </a:spcBef>
              <a:spcAft>
                <a:spcPct val="0"/>
              </a:spcAft>
              <a:defRPr sz="2000">
                <a:solidFill>
                  <a:schemeClr val="tx1"/>
                </a:solidFill>
                <a:latin typeface="Arial" charset="0"/>
                <a:ea typeface="ＭＳ Ｐゴシック" pitchFamily="34" charset="-128"/>
              </a:defRPr>
            </a:lvl7pPr>
            <a:lvl8pPr marL="3470491" indent="-231366" eaLnBrk="0" fontAlgn="base" hangingPunct="0">
              <a:spcBef>
                <a:spcPct val="0"/>
              </a:spcBef>
              <a:spcAft>
                <a:spcPct val="0"/>
              </a:spcAft>
              <a:defRPr sz="2000">
                <a:solidFill>
                  <a:schemeClr val="tx1"/>
                </a:solidFill>
                <a:latin typeface="Arial" charset="0"/>
                <a:ea typeface="ＭＳ Ｐゴシック" pitchFamily="34" charset="-128"/>
              </a:defRPr>
            </a:lvl8pPr>
            <a:lvl9pPr marL="3933223" indent="-231366"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fld id="{CA3C9B37-AD4C-432E-AE76-F15AE2697E1A}" type="slidenum">
              <a:rPr lang="en-US" sz="1200" smtClean="0">
                <a:cs typeface="Arial" charset="0"/>
              </a:rPr>
              <a:t>18</a:t>
            </a:fld>
            <a:endParaRPr lang="en-US" sz="1200">
              <a:cs typeface="Arial" charset="0"/>
            </a:endParaRPr>
          </a:p>
        </p:txBody>
      </p:sp>
      <p:sp>
        <p:nvSpPr>
          <p:cNvPr id="28678" name="Header Placeholder 5"/>
          <p:cNvSpPr>
            <a:spLocks noGrp="1"/>
          </p:cNvSpPr>
          <p:nvPr>
            <p:ph type="hdr" sz="quarter"/>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50000"/>
              </a:spcBef>
              <a:defRPr sz="2000">
                <a:solidFill>
                  <a:schemeClr val="tx1"/>
                </a:solidFill>
                <a:latin typeface="Arial" pitchFamily="34" charset="0"/>
              </a:defRPr>
            </a:lvl1pPr>
            <a:lvl2pPr marL="727762" indent="-279907" eaLnBrk="0" hangingPunct="0">
              <a:spcBef>
                <a:spcPct val="50000"/>
              </a:spcBef>
              <a:defRPr sz="2000">
                <a:solidFill>
                  <a:schemeClr val="tx1"/>
                </a:solidFill>
                <a:latin typeface="Arial" pitchFamily="34" charset="0"/>
              </a:defRPr>
            </a:lvl2pPr>
            <a:lvl3pPr marL="1119634" indent="-223927" eaLnBrk="0" hangingPunct="0">
              <a:spcBef>
                <a:spcPct val="50000"/>
              </a:spcBef>
              <a:defRPr sz="2000">
                <a:solidFill>
                  <a:schemeClr val="tx1"/>
                </a:solidFill>
                <a:latin typeface="Arial" pitchFamily="34" charset="0"/>
              </a:defRPr>
            </a:lvl3pPr>
            <a:lvl4pPr marL="1567487" indent="-223927" eaLnBrk="0" hangingPunct="0">
              <a:spcBef>
                <a:spcPct val="50000"/>
              </a:spcBef>
              <a:defRPr sz="2000">
                <a:solidFill>
                  <a:schemeClr val="tx1"/>
                </a:solidFill>
                <a:latin typeface="Arial" pitchFamily="34" charset="0"/>
              </a:defRPr>
            </a:lvl4pPr>
            <a:lvl5pPr marL="2015339" indent="-223927" eaLnBrk="0" hangingPunct="0">
              <a:spcBef>
                <a:spcPct val="50000"/>
              </a:spcBef>
              <a:defRPr sz="2000">
                <a:solidFill>
                  <a:schemeClr val="tx1"/>
                </a:solidFill>
                <a:latin typeface="Arial" pitchFamily="34" charset="0"/>
              </a:defRPr>
            </a:lvl5pPr>
            <a:lvl6pPr marL="2463192" indent="-223927" eaLnBrk="0" fontAlgn="base" hangingPunct="0">
              <a:spcBef>
                <a:spcPct val="50000"/>
              </a:spcBef>
              <a:spcAft>
                <a:spcPct val="0"/>
              </a:spcAft>
              <a:defRPr sz="2000">
                <a:solidFill>
                  <a:schemeClr val="tx1"/>
                </a:solidFill>
                <a:latin typeface="Arial" pitchFamily="34" charset="0"/>
              </a:defRPr>
            </a:lvl6pPr>
            <a:lvl7pPr marL="2911046" indent="-223927" eaLnBrk="0" fontAlgn="base" hangingPunct="0">
              <a:spcBef>
                <a:spcPct val="50000"/>
              </a:spcBef>
              <a:spcAft>
                <a:spcPct val="0"/>
              </a:spcAft>
              <a:defRPr sz="2000">
                <a:solidFill>
                  <a:schemeClr val="tx1"/>
                </a:solidFill>
                <a:latin typeface="Arial" pitchFamily="34" charset="0"/>
              </a:defRPr>
            </a:lvl7pPr>
            <a:lvl8pPr marL="3358900" indent="-223927" eaLnBrk="0" fontAlgn="base" hangingPunct="0">
              <a:spcBef>
                <a:spcPct val="50000"/>
              </a:spcBef>
              <a:spcAft>
                <a:spcPct val="0"/>
              </a:spcAft>
              <a:defRPr sz="2000">
                <a:solidFill>
                  <a:schemeClr val="tx1"/>
                </a:solidFill>
                <a:latin typeface="Arial" pitchFamily="34" charset="0"/>
              </a:defRPr>
            </a:lvl8pPr>
            <a:lvl9pPr marL="3806753" indent="-223927" eaLnBrk="0" fontAlgn="base" hangingPunct="0">
              <a:spcBef>
                <a:spcPct val="50000"/>
              </a:spcBef>
              <a:spcAft>
                <a:spcPct val="0"/>
              </a:spcAft>
              <a:defRPr sz="2000">
                <a:solidFill>
                  <a:schemeClr val="tx1"/>
                </a:solidFill>
                <a:latin typeface="Arial" pitchFamily="34" charset="0"/>
              </a:defRPr>
            </a:lvl9pPr>
          </a:lstStyle>
          <a:p>
            <a:pPr eaLnBrk="1" hangingPunct="1">
              <a:defRPr/>
            </a:pPr>
            <a:r>
              <a:rPr lang="en-US" sz="1200" smtClean="0"/>
              <a:t>2015 User Webinar: Ericsson Catalog Manager &amp; Ericsson Order Care </a:t>
            </a:r>
            <a:endParaRPr lang="en-US" sz="1200" dirty="0"/>
          </a:p>
        </p:txBody>
      </p:sp>
      <p:sp>
        <p:nvSpPr>
          <p:cNvPr id="28679" name="Footer Placeholder 6"/>
          <p:cNvSpPr>
            <a:spLocks noGrp="1"/>
          </p:cNvSpPr>
          <p:nvPr>
            <p:ph type="ftr" sz="quarter" idx="4"/>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50000"/>
              </a:spcBef>
              <a:defRPr sz="2000">
                <a:solidFill>
                  <a:schemeClr val="tx1"/>
                </a:solidFill>
                <a:latin typeface="Arial" pitchFamily="34" charset="0"/>
              </a:defRPr>
            </a:lvl1pPr>
            <a:lvl2pPr marL="727762" indent="-279907" eaLnBrk="0" hangingPunct="0">
              <a:spcBef>
                <a:spcPct val="50000"/>
              </a:spcBef>
              <a:defRPr sz="2000">
                <a:solidFill>
                  <a:schemeClr val="tx1"/>
                </a:solidFill>
                <a:latin typeface="Arial" pitchFamily="34" charset="0"/>
              </a:defRPr>
            </a:lvl2pPr>
            <a:lvl3pPr marL="1119634" indent="-223927" eaLnBrk="0" hangingPunct="0">
              <a:spcBef>
                <a:spcPct val="50000"/>
              </a:spcBef>
              <a:defRPr sz="2000">
                <a:solidFill>
                  <a:schemeClr val="tx1"/>
                </a:solidFill>
                <a:latin typeface="Arial" pitchFamily="34" charset="0"/>
              </a:defRPr>
            </a:lvl3pPr>
            <a:lvl4pPr marL="1567487" indent="-223927" eaLnBrk="0" hangingPunct="0">
              <a:spcBef>
                <a:spcPct val="50000"/>
              </a:spcBef>
              <a:defRPr sz="2000">
                <a:solidFill>
                  <a:schemeClr val="tx1"/>
                </a:solidFill>
                <a:latin typeface="Arial" pitchFamily="34" charset="0"/>
              </a:defRPr>
            </a:lvl4pPr>
            <a:lvl5pPr marL="2015339" indent="-223927" eaLnBrk="0" hangingPunct="0">
              <a:spcBef>
                <a:spcPct val="50000"/>
              </a:spcBef>
              <a:defRPr sz="2000">
                <a:solidFill>
                  <a:schemeClr val="tx1"/>
                </a:solidFill>
                <a:latin typeface="Arial" pitchFamily="34" charset="0"/>
              </a:defRPr>
            </a:lvl5pPr>
            <a:lvl6pPr marL="2463192" indent="-223927" eaLnBrk="0" fontAlgn="base" hangingPunct="0">
              <a:spcBef>
                <a:spcPct val="50000"/>
              </a:spcBef>
              <a:spcAft>
                <a:spcPct val="0"/>
              </a:spcAft>
              <a:defRPr sz="2000">
                <a:solidFill>
                  <a:schemeClr val="tx1"/>
                </a:solidFill>
                <a:latin typeface="Arial" pitchFamily="34" charset="0"/>
              </a:defRPr>
            </a:lvl6pPr>
            <a:lvl7pPr marL="2911046" indent="-223927" eaLnBrk="0" fontAlgn="base" hangingPunct="0">
              <a:spcBef>
                <a:spcPct val="50000"/>
              </a:spcBef>
              <a:spcAft>
                <a:spcPct val="0"/>
              </a:spcAft>
              <a:defRPr sz="2000">
                <a:solidFill>
                  <a:schemeClr val="tx1"/>
                </a:solidFill>
                <a:latin typeface="Arial" pitchFamily="34" charset="0"/>
              </a:defRPr>
            </a:lvl7pPr>
            <a:lvl8pPr marL="3358900" indent="-223927" eaLnBrk="0" fontAlgn="base" hangingPunct="0">
              <a:spcBef>
                <a:spcPct val="50000"/>
              </a:spcBef>
              <a:spcAft>
                <a:spcPct val="0"/>
              </a:spcAft>
              <a:defRPr sz="2000">
                <a:solidFill>
                  <a:schemeClr val="tx1"/>
                </a:solidFill>
                <a:latin typeface="Arial" pitchFamily="34" charset="0"/>
              </a:defRPr>
            </a:lvl8pPr>
            <a:lvl9pPr marL="3806753" indent="-223927" eaLnBrk="0" fontAlgn="base" hangingPunct="0">
              <a:spcBef>
                <a:spcPct val="50000"/>
              </a:spcBef>
              <a:spcAft>
                <a:spcPct val="0"/>
              </a:spcAft>
              <a:defRPr sz="2000">
                <a:solidFill>
                  <a:schemeClr val="tx1"/>
                </a:solidFill>
                <a:latin typeface="Arial" pitchFamily="34" charset="0"/>
              </a:defRPr>
            </a:lvl9pPr>
          </a:lstStyle>
          <a:p>
            <a:pPr eaLnBrk="1" hangingPunct="1">
              <a:defRPr/>
            </a:pPr>
            <a:r>
              <a:rPr lang="da-DK" sz="1200" smtClean="0"/>
              <a:t> </a:t>
            </a:r>
            <a:endParaRPr lang="en-US" sz="1200"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750888"/>
            <a:ext cx="5011738" cy="3757612"/>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461F1E54-B479-4EED-8F6E-755D97A8793C}" type="slidenum">
              <a:rPr lang="en-US" smtClean="0"/>
              <a:t>19</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8364839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pitchFamily="34" charset="0"/>
            </a:endParaRPr>
          </a:p>
        </p:txBody>
      </p:sp>
      <p:sp>
        <p:nvSpPr>
          <p:cNvPr id="56324"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01-19 </a:t>
            </a:r>
            <a:endParaRPr lang="en-US" sz="1200"/>
          </a:p>
        </p:txBody>
      </p:sp>
      <p:sp>
        <p:nvSpPr>
          <p:cNvPr id="56325"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fld id="{40D785D5-6BF8-4055-825D-0E91A1551FA1}" type="slidenum">
              <a:rPr lang="en-US" sz="1200" smtClean="0"/>
              <a:t>2</a:t>
            </a:fld>
            <a:endParaRPr lang="en-US" sz="1200" smtClean="0"/>
          </a:p>
        </p:txBody>
      </p:sp>
      <p:sp>
        <p:nvSpPr>
          <p:cNvPr id="56326" name="Header Placeholder 5"/>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 User Webinar: Ericsson Catalog Manager &amp; Ericsson Order Care </a:t>
            </a:r>
            <a:endParaRPr lang="en-US" sz="1200"/>
          </a:p>
        </p:txBody>
      </p:sp>
      <p:sp>
        <p:nvSpPr>
          <p:cNvPr id="56327"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 </a:t>
            </a:r>
            <a:endParaRPr lang="en-US" sz="120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750888"/>
            <a:ext cx="5011738" cy="3757612"/>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9CA5D33F-B657-4355-84B3-B8C54A3218FB}" type="slidenum">
              <a:rPr lang="en-US" smtClean="0"/>
              <a:t>20</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8364839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F8DEEAF8-D7C9-4173-9BDA-B3B1CDAE10DC}" type="slidenum">
              <a:rPr lang="en-US" smtClean="0"/>
              <a:t>21</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8186417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60C6A9BE-CA6F-4B03-8DCE-8D4EF00F79B5}" type="slidenum">
              <a:rPr lang="en-US" smtClean="0"/>
              <a:t>22</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8186417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84A05A75-A582-425D-8121-4F2181E154F7}" type="slidenum">
              <a:rPr lang="en-US" smtClean="0"/>
              <a:t>23</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28899487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3EE84BC6-4123-4450-AB90-3235EDF9698C}" type="slidenum">
              <a:rPr lang="en-US" smtClean="0"/>
              <a:t>24</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20467958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BDF68017-745F-47A8-9489-5545FD41EE50}" type="slidenum">
              <a:rPr lang="en-US" smtClean="0"/>
              <a:t>25</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3770426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750888"/>
            <a:ext cx="5011738" cy="3757612"/>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6A18F5DF-81B4-4B2E-9884-E3B0DBC6CDCA}" type="slidenum">
              <a:rPr lang="en-US" smtClean="0"/>
              <a:t>26</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8364839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85B076DA-380E-4C9A-8359-56833771D0C4}" type="slidenum">
              <a:rPr lang="en-US" smtClean="0"/>
              <a:t>27</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22153996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5A0C4517-063D-4161-8E2A-DA0EDC75B2E4}" type="slidenum">
              <a:rPr lang="en-US" smtClean="0"/>
              <a:t>28</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29926827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bwMode="auto">
          <a:xfrm>
            <a:off x="936625" y="750888"/>
            <a:ext cx="5011738" cy="3757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smtClean="0">
                <a:ea typeface="ＭＳ Ｐゴシック" pitchFamily="34" charset="-128"/>
              </a:rPr>
              <a:t>For example we use </a:t>
            </a:r>
            <a:r>
              <a:rPr lang="en-US" dirty="0" err="1" smtClean="0">
                <a:ea typeface="ＭＳ Ｐゴシック" pitchFamily="34" charset="-128"/>
              </a:rPr>
              <a:t>ResourceCandidate</a:t>
            </a:r>
            <a:r>
              <a:rPr lang="en-US" dirty="0" smtClean="0">
                <a:ea typeface="ＭＳ Ｐゴシック" pitchFamily="34" charset="-128"/>
              </a:rPr>
              <a:t> for exposing our resources to 3</a:t>
            </a:r>
            <a:r>
              <a:rPr lang="en-US" baseline="30000" dirty="0" smtClean="0">
                <a:ea typeface="ＭＳ Ｐゴシック" pitchFamily="34" charset="-128"/>
              </a:rPr>
              <a:t>rd</a:t>
            </a:r>
            <a:r>
              <a:rPr lang="en-US" dirty="0" smtClean="0">
                <a:ea typeface="ＭＳ Ｐゴシック" pitchFamily="34" charset="-128"/>
              </a:rPr>
              <a:t> party catalog such as </a:t>
            </a:r>
          </a:p>
          <a:p>
            <a:r>
              <a:rPr lang="en-US" dirty="0" smtClean="0">
                <a:ea typeface="ＭＳ Ｐゴシック" pitchFamily="34" charset="-128"/>
              </a:rPr>
              <a:t>Or import resources such as routers, modems, CPE being provided by 3</a:t>
            </a:r>
            <a:r>
              <a:rPr lang="en-US" baseline="30000" dirty="0" smtClean="0">
                <a:ea typeface="ＭＳ Ｐゴシック" pitchFamily="34" charset="-128"/>
              </a:rPr>
              <a:t>rd</a:t>
            </a:r>
            <a:r>
              <a:rPr lang="en-US" dirty="0" smtClean="0">
                <a:ea typeface="ＭＳ Ｐゴシック" pitchFamily="34" charset="-128"/>
              </a:rPr>
              <a:t> party resource catalog..</a:t>
            </a:r>
          </a:p>
          <a:p>
            <a:endParaRPr lang="en-US" dirty="0" smtClean="0">
              <a:ea typeface="ＭＳ Ｐゴシック" pitchFamily="34" charset="-128"/>
            </a:endParaRPr>
          </a:p>
          <a:p>
            <a:r>
              <a:rPr lang="en-US" dirty="0" smtClean="0">
                <a:ea typeface="ＭＳ Ｐゴシック" pitchFamily="34" charset="-128"/>
              </a:rPr>
              <a:t>And for </a:t>
            </a:r>
            <a:r>
              <a:rPr lang="en-US" dirty="0" err="1" smtClean="0">
                <a:ea typeface="ＭＳ Ｐゴシック" pitchFamily="34" charset="-128"/>
              </a:rPr>
              <a:t>ServiceCandidate</a:t>
            </a:r>
            <a:r>
              <a:rPr lang="en-US" dirty="0" smtClean="0">
                <a:ea typeface="ＭＳ Ｐゴシック" pitchFamily="34" charset="-128"/>
              </a:rPr>
              <a:t> we would expose services such as voice, SMS etc. those to 3</a:t>
            </a:r>
            <a:r>
              <a:rPr lang="en-US" baseline="30000" dirty="0" smtClean="0">
                <a:ea typeface="ＭＳ Ｐゴシック" pitchFamily="34" charset="-128"/>
              </a:rPr>
              <a:t>rd</a:t>
            </a:r>
            <a:r>
              <a:rPr lang="en-US" dirty="0" smtClean="0">
                <a:ea typeface="ＭＳ Ｐゴシック" pitchFamily="34" charset="-128"/>
              </a:rPr>
              <a:t> party and we would have fulfilment of those services based on service order generated by 3</a:t>
            </a:r>
            <a:r>
              <a:rPr lang="en-US" baseline="30000" dirty="0" smtClean="0">
                <a:ea typeface="ＭＳ Ｐゴシック" pitchFamily="34" charset="-128"/>
              </a:rPr>
              <a:t>rd</a:t>
            </a:r>
            <a:r>
              <a:rPr lang="en-US" dirty="0" smtClean="0">
                <a:ea typeface="ＭＳ Ｐゴシック" pitchFamily="34" charset="-128"/>
              </a:rPr>
              <a:t> party.</a:t>
            </a:r>
          </a:p>
        </p:txBody>
      </p:sp>
      <p:sp>
        <p:nvSpPr>
          <p:cNvPr id="4" name="Header Placeholder 3"/>
          <p:cNvSpPr>
            <a:spLocks noGrp="1"/>
          </p:cNvSpPr>
          <p:nvPr>
            <p:ph type="hdr" sz="quarter"/>
          </p:nvPr>
        </p:nvSpPr>
        <p:spPr/>
        <p:txBody>
          <a:bodyPr/>
          <a:lstStyle/>
          <a:p>
            <a:pPr>
              <a:defRPr/>
            </a:pPr>
            <a:r>
              <a:rPr lang="en-US" smtClean="0"/>
              <a:t>2015 User Webinar: Ericsson Catalog Manager &amp; Ericsson Order Care </a:t>
            </a:r>
            <a:endParaRPr lang="en-US" dirty="0"/>
          </a:p>
        </p:txBody>
      </p:sp>
      <p:sp>
        <p:nvSpPr>
          <p:cNvPr id="5" name="Date Placeholder 4"/>
          <p:cNvSpPr>
            <a:spLocks noGrp="1"/>
          </p:cNvSpPr>
          <p:nvPr>
            <p:ph type="dt" sz="quarter" idx="1"/>
          </p:nvPr>
        </p:nvSpPr>
        <p:spPr/>
        <p:txBody>
          <a:bodyPr/>
          <a:lstStyle/>
          <a:p>
            <a:pPr>
              <a:defRPr/>
            </a:pPr>
            <a:r>
              <a:rPr lang="en-US" smtClean="0"/>
              <a:t>2015-01-19 </a:t>
            </a:r>
            <a:endParaRPr lang="en-US"/>
          </a:p>
        </p:txBody>
      </p:sp>
      <p:sp>
        <p:nvSpPr>
          <p:cNvPr id="6" name="Footer Placeholder 5"/>
          <p:cNvSpPr>
            <a:spLocks noGrp="1"/>
          </p:cNvSpPr>
          <p:nvPr>
            <p:ph type="ftr" sz="quarter" idx="4"/>
          </p:nvPr>
        </p:nvSpPr>
        <p:spPr/>
        <p:txBody>
          <a:bodyPr/>
          <a:lstStyle/>
          <a:p>
            <a:pPr>
              <a:defRPr/>
            </a:pPr>
            <a:r>
              <a:rPr lang="en-US" smtClean="0"/>
              <a:t> </a:t>
            </a:r>
            <a:endParaRPr lang="en-US"/>
          </a:p>
        </p:txBody>
      </p:sp>
      <p:sp>
        <p:nvSpPr>
          <p:cNvPr id="64519"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pitchFamily="34" charset="-128"/>
              </a:defRPr>
            </a:lvl1pPr>
            <a:lvl2pPr marL="751940" indent="-289208" eaLnBrk="0" hangingPunct="0">
              <a:defRPr sz="2000">
                <a:solidFill>
                  <a:schemeClr val="tx1"/>
                </a:solidFill>
                <a:latin typeface="Arial" charset="0"/>
                <a:ea typeface="ＭＳ Ｐゴシック" pitchFamily="34" charset="-128"/>
              </a:defRPr>
            </a:lvl2pPr>
            <a:lvl3pPr marL="1156830" indent="-231366" eaLnBrk="0" hangingPunct="0">
              <a:defRPr sz="2000">
                <a:solidFill>
                  <a:schemeClr val="tx1"/>
                </a:solidFill>
                <a:latin typeface="Arial" charset="0"/>
                <a:ea typeface="ＭＳ Ｐゴシック" pitchFamily="34" charset="-128"/>
              </a:defRPr>
            </a:lvl3pPr>
            <a:lvl4pPr marL="1619562" indent="-231366" eaLnBrk="0" hangingPunct="0">
              <a:defRPr sz="2000">
                <a:solidFill>
                  <a:schemeClr val="tx1"/>
                </a:solidFill>
                <a:latin typeface="Arial" charset="0"/>
                <a:ea typeface="ＭＳ Ｐゴシック" pitchFamily="34" charset="-128"/>
              </a:defRPr>
            </a:lvl4pPr>
            <a:lvl5pPr marL="2082295" indent="-231366" eaLnBrk="0" hangingPunct="0">
              <a:defRPr sz="2000">
                <a:solidFill>
                  <a:schemeClr val="tx1"/>
                </a:solidFill>
                <a:latin typeface="Arial" charset="0"/>
                <a:ea typeface="ＭＳ Ｐゴシック" pitchFamily="34" charset="-128"/>
              </a:defRPr>
            </a:lvl5pPr>
            <a:lvl6pPr marL="2545027" indent="-231366" eaLnBrk="0" fontAlgn="base" hangingPunct="0">
              <a:spcBef>
                <a:spcPct val="0"/>
              </a:spcBef>
              <a:spcAft>
                <a:spcPct val="0"/>
              </a:spcAft>
              <a:defRPr sz="2000">
                <a:solidFill>
                  <a:schemeClr val="tx1"/>
                </a:solidFill>
                <a:latin typeface="Arial" charset="0"/>
                <a:ea typeface="ＭＳ Ｐゴシック" pitchFamily="34" charset="-128"/>
              </a:defRPr>
            </a:lvl6pPr>
            <a:lvl7pPr marL="3007759" indent="-231366" eaLnBrk="0" fontAlgn="base" hangingPunct="0">
              <a:spcBef>
                <a:spcPct val="0"/>
              </a:spcBef>
              <a:spcAft>
                <a:spcPct val="0"/>
              </a:spcAft>
              <a:defRPr sz="2000">
                <a:solidFill>
                  <a:schemeClr val="tx1"/>
                </a:solidFill>
                <a:latin typeface="Arial" charset="0"/>
                <a:ea typeface="ＭＳ Ｐゴシック" pitchFamily="34" charset="-128"/>
              </a:defRPr>
            </a:lvl7pPr>
            <a:lvl8pPr marL="3470491" indent="-231366" eaLnBrk="0" fontAlgn="base" hangingPunct="0">
              <a:spcBef>
                <a:spcPct val="0"/>
              </a:spcBef>
              <a:spcAft>
                <a:spcPct val="0"/>
              </a:spcAft>
              <a:defRPr sz="2000">
                <a:solidFill>
                  <a:schemeClr val="tx1"/>
                </a:solidFill>
                <a:latin typeface="Arial" charset="0"/>
                <a:ea typeface="ＭＳ Ｐゴシック" pitchFamily="34" charset="-128"/>
              </a:defRPr>
            </a:lvl8pPr>
            <a:lvl9pPr marL="3933223" indent="-231366"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fld id="{DD74D7D5-DC36-41C0-BBAE-62F3FE5F80E7}" type="slidenum">
              <a:rPr lang="en-US" altLang="en-US" sz="1200" smtClean="0">
                <a:cs typeface="Arial" charset="0"/>
              </a:rPr>
              <a:t>29</a:t>
            </a:fld>
            <a:endParaRPr lang="en-US" altLang="en-US" sz="1200">
              <a:cs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pitchFamily="34" charset="0"/>
            </a:endParaRPr>
          </a:p>
        </p:txBody>
      </p:sp>
      <p:sp>
        <p:nvSpPr>
          <p:cNvPr id="57348"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01-19 </a:t>
            </a:r>
            <a:endParaRPr lang="en-US" sz="1200"/>
          </a:p>
        </p:txBody>
      </p:sp>
      <p:sp>
        <p:nvSpPr>
          <p:cNvPr id="57349"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fld id="{3E41F4E4-6E7B-4877-AFE8-47E56583BE34}" type="slidenum">
              <a:rPr lang="en-US" sz="1200" smtClean="0"/>
              <a:t>3</a:t>
            </a:fld>
            <a:endParaRPr lang="en-US" sz="1200" smtClean="0"/>
          </a:p>
        </p:txBody>
      </p:sp>
      <p:sp>
        <p:nvSpPr>
          <p:cNvPr id="57350" name="Header Placeholder 5"/>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 User Webinar: Ericsson Catalog Manager &amp; Ericsson Order Care </a:t>
            </a:r>
            <a:endParaRPr lang="en-US" sz="1200"/>
          </a:p>
        </p:txBody>
      </p:sp>
      <p:sp>
        <p:nvSpPr>
          <p:cNvPr id="57351"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 </a:t>
            </a:r>
            <a:endParaRPr lang="en-US" sz="120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bwMode="auto">
          <a:xfrm>
            <a:off x="936625" y="750888"/>
            <a:ext cx="5011738" cy="3757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smtClean="0">
                <a:ea typeface="ＭＳ Ｐゴシック" pitchFamily="34" charset="-128"/>
              </a:rPr>
              <a:t>For example we use </a:t>
            </a:r>
            <a:r>
              <a:rPr lang="en-US" dirty="0" err="1" smtClean="0">
                <a:ea typeface="ＭＳ Ｐゴシック" pitchFamily="34" charset="-128"/>
              </a:rPr>
              <a:t>ResourceCandidate</a:t>
            </a:r>
            <a:r>
              <a:rPr lang="en-US" dirty="0" smtClean="0">
                <a:ea typeface="ＭＳ Ｐゴシック" pitchFamily="34" charset="-128"/>
              </a:rPr>
              <a:t> for exposing our resources to 3</a:t>
            </a:r>
            <a:r>
              <a:rPr lang="en-US" baseline="30000" dirty="0" smtClean="0">
                <a:ea typeface="ＭＳ Ｐゴシック" pitchFamily="34" charset="-128"/>
              </a:rPr>
              <a:t>rd</a:t>
            </a:r>
            <a:r>
              <a:rPr lang="en-US" dirty="0" smtClean="0">
                <a:ea typeface="ＭＳ Ｐゴシック" pitchFamily="34" charset="-128"/>
              </a:rPr>
              <a:t> party catalog such as </a:t>
            </a:r>
          </a:p>
          <a:p>
            <a:r>
              <a:rPr lang="en-US" dirty="0" smtClean="0">
                <a:ea typeface="ＭＳ Ｐゴシック" pitchFamily="34" charset="-128"/>
              </a:rPr>
              <a:t>Or import resources such as routers, modems, CPE being provided by 3</a:t>
            </a:r>
            <a:r>
              <a:rPr lang="en-US" baseline="30000" dirty="0" smtClean="0">
                <a:ea typeface="ＭＳ Ｐゴシック" pitchFamily="34" charset="-128"/>
              </a:rPr>
              <a:t>rd</a:t>
            </a:r>
            <a:r>
              <a:rPr lang="en-US" dirty="0" smtClean="0">
                <a:ea typeface="ＭＳ Ｐゴシック" pitchFamily="34" charset="-128"/>
              </a:rPr>
              <a:t> party resource catalog..</a:t>
            </a:r>
          </a:p>
          <a:p>
            <a:endParaRPr lang="en-US" dirty="0" smtClean="0">
              <a:ea typeface="ＭＳ Ｐゴシック" pitchFamily="34" charset="-128"/>
            </a:endParaRPr>
          </a:p>
          <a:p>
            <a:r>
              <a:rPr lang="en-US" dirty="0" smtClean="0">
                <a:ea typeface="ＭＳ Ｐゴシック" pitchFamily="34" charset="-128"/>
              </a:rPr>
              <a:t>And for </a:t>
            </a:r>
            <a:r>
              <a:rPr lang="en-US" dirty="0" err="1" smtClean="0">
                <a:ea typeface="ＭＳ Ｐゴシック" pitchFamily="34" charset="-128"/>
              </a:rPr>
              <a:t>ServiceCandidate</a:t>
            </a:r>
            <a:r>
              <a:rPr lang="en-US" dirty="0" smtClean="0">
                <a:ea typeface="ＭＳ Ｐゴシック" pitchFamily="34" charset="-128"/>
              </a:rPr>
              <a:t> we would expose services such as voice, SMS etc. those to 3</a:t>
            </a:r>
            <a:r>
              <a:rPr lang="en-US" baseline="30000" dirty="0" smtClean="0">
                <a:ea typeface="ＭＳ Ｐゴシック" pitchFamily="34" charset="-128"/>
              </a:rPr>
              <a:t>rd</a:t>
            </a:r>
            <a:r>
              <a:rPr lang="en-US" dirty="0" smtClean="0">
                <a:ea typeface="ＭＳ Ｐゴシック" pitchFamily="34" charset="-128"/>
              </a:rPr>
              <a:t> party and we would have fulfilment of those services based on service order generated by 3</a:t>
            </a:r>
            <a:r>
              <a:rPr lang="en-US" baseline="30000" dirty="0" smtClean="0">
                <a:ea typeface="ＭＳ Ｐゴシック" pitchFamily="34" charset="-128"/>
              </a:rPr>
              <a:t>rd</a:t>
            </a:r>
            <a:r>
              <a:rPr lang="en-US" dirty="0" smtClean="0">
                <a:ea typeface="ＭＳ Ｐゴシック" pitchFamily="34" charset="-128"/>
              </a:rPr>
              <a:t> party.</a:t>
            </a:r>
          </a:p>
        </p:txBody>
      </p:sp>
      <p:sp>
        <p:nvSpPr>
          <p:cNvPr id="4" name="Header Placeholder 3"/>
          <p:cNvSpPr>
            <a:spLocks noGrp="1"/>
          </p:cNvSpPr>
          <p:nvPr>
            <p:ph type="hdr" sz="quarter"/>
          </p:nvPr>
        </p:nvSpPr>
        <p:spPr/>
        <p:txBody>
          <a:bodyPr/>
          <a:lstStyle/>
          <a:p>
            <a:pPr>
              <a:defRPr/>
            </a:pPr>
            <a:r>
              <a:rPr lang="en-US" smtClean="0"/>
              <a:t>2015 User Webinar: Ericsson Catalog Manager &amp; Ericsson Order Care </a:t>
            </a:r>
            <a:endParaRPr lang="en-US" dirty="0"/>
          </a:p>
        </p:txBody>
      </p:sp>
      <p:sp>
        <p:nvSpPr>
          <p:cNvPr id="5" name="Date Placeholder 4"/>
          <p:cNvSpPr>
            <a:spLocks noGrp="1"/>
          </p:cNvSpPr>
          <p:nvPr>
            <p:ph type="dt" sz="quarter" idx="1"/>
          </p:nvPr>
        </p:nvSpPr>
        <p:spPr/>
        <p:txBody>
          <a:bodyPr/>
          <a:lstStyle/>
          <a:p>
            <a:pPr>
              <a:defRPr/>
            </a:pPr>
            <a:r>
              <a:rPr lang="en-US" smtClean="0"/>
              <a:t>2015-01-19 </a:t>
            </a:r>
            <a:endParaRPr lang="en-US"/>
          </a:p>
        </p:txBody>
      </p:sp>
      <p:sp>
        <p:nvSpPr>
          <p:cNvPr id="6" name="Footer Placeholder 5"/>
          <p:cNvSpPr>
            <a:spLocks noGrp="1"/>
          </p:cNvSpPr>
          <p:nvPr>
            <p:ph type="ftr" sz="quarter" idx="4"/>
          </p:nvPr>
        </p:nvSpPr>
        <p:spPr/>
        <p:txBody>
          <a:bodyPr/>
          <a:lstStyle/>
          <a:p>
            <a:pPr>
              <a:defRPr/>
            </a:pPr>
            <a:r>
              <a:rPr lang="en-US" smtClean="0"/>
              <a:t> </a:t>
            </a:r>
            <a:endParaRPr lang="en-US"/>
          </a:p>
        </p:txBody>
      </p:sp>
      <p:sp>
        <p:nvSpPr>
          <p:cNvPr id="64519"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pitchFamily="34" charset="-128"/>
              </a:defRPr>
            </a:lvl1pPr>
            <a:lvl2pPr marL="751940" indent="-289208" eaLnBrk="0" hangingPunct="0">
              <a:defRPr sz="2000">
                <a:solidFill>
                  <a:schemeClr val="tx1"/>
                </a:solidFill>
                <a:latin typeface="Arial" charset="0"/>
                <a:ea typeface="ＭＳ Ｐゴシック" pitchFamily="34" charset="-128"/>
              </a:defRPr>
            </a:lvl2pPr>
            <a:lvl3pPr marL="1156830" indent="-231366" eaLnBrk="0" hangingPunct="0">
              <a:defRPr sz="2000">
                <a:solidFill>
                  <a:schemeClr val="tx1"/>
                </a:solidFill>
                <a:latin typeface="Arial" charset="0"/>
                <a:ea typeface="ＭＳ Ｐゴシック" pitchFamily="34" charset="-128"/>
              </a:defRPr>
            </a:lvl3pPr>
            <a:lvl4pPr marL="1619562" indent="-231366" eaLnBrk="0" hangingPunct="0">
              <a:defRPr sz="2000">
                <a:solidFill>
                  <a:schemeClr val="tx1"/>
                </a:solidFill>
                <a:latin typeface="Arial" charset="0"/>
                <a:ea typeface="ＭＳ Ｐゴシック" pitchFamily="34" charset="-128"/>
              </a:defRPr>
            </a:lvl4pPr>
            <a:lvl5pPr marL="2082295" indent="-231366" eaLnBrk="0" hangingPunct="0">
              <a:defRPr sz="2000">
                <a:solidFill>
                  <a:schemeClr val="tx1"/>
                </a:solidFill>
                <a:latin typeface="Arial" charset="0"/>
                <a:ea typeface="ＭＳ Ｐゴシック" pitchFamily="34" charset="-128"/>
              </a:defRPr>
            </a:lvl5pPr>
            <a:lvl6pPr marL="2545027" indent="-231366" eaLnBrk="0" fontAlgn="base" hangingPunct="0">
              <a:spcBef>
                <a:spcPct val="0"/>
              </a:spcBef>
              <a:spcAft>
                <a:spcPct val="0"/>
              </a:spcAft>
              <a:defRPr sz="2000">
                <a:solidFill>
                  <a:schemeClr val="tx1"/>
                </a:solidFill>
                <a:latin typeface="Arial" charset="0"/>
                <a:ea typeface="ＭＳ Ｐゴシック" pitchFamily="34" charset="-128"/>
              </a:defRPr>
            </a:lvl6pPr>
            <a:lvl7pPr marL="3007759" indent="-231366" eaLnBrk="0" fontAlgn="base" hangingPunct="0">
              <a:spcBef>
                <a:spcPct val="0"/>
              </a:spcBef>
              <a:spcAft>
                <a:spcPct val="0"/>
              </a:spcAft>
              <a:defRPr sz="2000">
                <a:solidFill>
                  <a:schemeClr val="tx1"/>
                </a:solidFill>
                <a:latin typeface="Arial" charset="0"/>
                <a:ea typeface="ＭＳ Ｐゴシック" pitchFamily="34" charset="-128"/>
              </a:defRPr>
            </a:lvl7pPr>
            <a:lvl8pPr marL="3470491" indent="-231366" eaLnBrk="0" fontAlgn="base" hangingPunct="0">
              <a:spcBef>
                <a:spcPct val="0"/>
              </a:spcBef>
              <a:spcAft>
                <a:spcPct val="0"/>
              </a:spcAft>
              <a:defRPr sz="2000">
                <a:solidFill>
                  <a:schemeClr val="tx1"/>
                </a:solidFill>
                <a:latin typeface="Arial" charset="0"/>
                <a:ea typeface="ＭＳ Ｐゴシック" pitchFamily="34" charset="-128"/>
              </a:defRPr>
            </a:lvl8pPr>
            <a:lvl9pPr marL="3933223" indent="-231366"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fld id="{76836BD0-68BA-4947-9B77-63E5CAC14A98}" type="slidenum">
              <a:rPr lang="en-US" altLang="en-US" sz="1200" smtClean="0">
                <a:cs typeface="Arial" charset="0"/>
              </a:rPr>
              <a:t>30</a:t>
            </a:fld>
            <a:endParaRPr lang="en-US" altLang="en-US" sz="1200">
              <a:cs typeface="Arial"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bwMode="auto">
          <a:xfrm>
            <a:off x="936625" y="750888"/>
            <a:ext cx="5011738" cy="3757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smtClean="0">
                <a:ea typeface="ＭＳ Ｐゴシック" pitchFamily="34" charset="-128"/>
              </a:rPr>
              <a:t>For example we use </a:t>
            </a:r>
            <a:r>
              <a:rPr lang="en-US" dirty="0" err="1" smtClean="0">
                <a:ea typeface="ＭＳ Ｐゴシック" pitchFamily="34" charset="-128"/>
              </a:rPr>
              <a:t>ResourceCandidate</a:t>
            </a:r>
            <a:r>
              <a:rPr lang="en-US" dirty="0" smtClean="0">
                <a:ea typeface="ＭＳ Ｐゴシック" pitchFamily="34" charset="-128"/>
              </a:rPr>
              <a:t> for exposing our resources to 3</a:t>
            </a:r>
            <a:r>
              <a:rPr lang="en-US" baseline="30000" dirty="0" smtClean="0">
                <a:ea typeface="ＭＳ Ｐゴシック" pitchFamily="34" charset="-128"/>
              </a:rPr>
              <a:t>rd</a:t>
            </a:r>
            <a:r>
              <a:rPr lang="en-US" dirty="0" smtClean="0">
                <a:ea typeface="ＭＳ Ｐゴシック" pitchFamily="34" charset="-128"/>
              </a:rPr>
              <a:t> party catalog such as </a:t>
            </a:r>
          </a:p>
          <a:p>
            <a:r>
              <a:rPr lang="en-US" dirty="0" smtClean="0">
                <a:ea typeface="ＭＳ Ｐゴシック" pitchFamily="34" charset="-128"/>
              </a:rPr>
              <a:t>Or import resources such as routers, modems, CPE being provided by 3</a:t>
            </a:r>
            <a:r>
              <a:rPr lang="en-US" baseline="30000" dirty="0" smtClean="0">
                <a:ea typeface="ＭＳ Ｐゴシック" pitchFamily="34" charset="-128"/>
              </a:rPr>
              <a:t>rd</a:t>
            </a:r>
            <a:r>
              <a:rPr lang="en-US" dirty="0" smtClean="0">
                <a:ea typeface="ＭＳ Ｐゴシック" pitchFamily="34" charset="-128"/>
              </a:rPr>
              <a:t> party resource catalog..</a:t>
            </a:r>
          </a:p>
          <a:p>
            <a:endParaRPr lang="en-US" dirty="0" smtClean="0">
              <a:ea typeface="ＭＳ Ｐゴシック" pitchFamily="34" charset="-128"/>
            </a:endParaRPr>
          </a:p>
          <a:p>
            <a:r>
              <a:rPr lang="en-US" dirty="0" smtClean="0">
                <a:ea typeface="ＭＳ Ｐゴシック" pitchFamily="34" charset="-128"/>
              </a:rPr>
              <a:t>And for </a:t>
            </a:r>
            <a:r>
              <a:rPr lang="en-US" dirty="0" err="1" smtClean="0">
                <a:ea typeface="ＭＳ Ｐゴシック" pitchFamily="34" charset="-128"/>
              </a:rPr>
              <a:t>ServiceCandidate</a:t>
            </a:r>
            <a:r>
              <a:rPr lang="en-US" dirty="0" smtClean="0">
                <a:ea typeface="ＭＳ Ｐゴシック" pitchFamily="34" charset="-128"/>
              </a:rPr>
              <a:t> we would expose services such as voice, SMS etc. those to 3</a:t>
            </a:r>
            <a:r>
              <a:rPr lang="en-US" baseline="30000" dirty="0" smtClean="0">
                <a:ea typeface="ＭＳ Ｐゴシック" pitchFamily="34" charset="-128"/>
              </a:rPr>
              <a:t>rd</a:t>
            </a:r>
            <a:r>
              <a:rPr lang="en-US" dirty="0" smtClean="0">
                <a:ea typeface="ＭＳ Ｐゴシック" pitchFamily="34" charset="-128"/>
              </a:rPr>
              <a:t> party and we would have fulfilment of those services based on service order generated by 3</a:t>
            </a:r>
            <a:r>
              <a:rPr lang="en-US" baseline="30000" dirty="0" smtClean="0">
                <a:ea typeface="ＭＳ Ｐゴシック" pitchFamily="34" charset="-128"/>
              </a:rPr>
              <a:t>rd</a:t>
            </a:r>
            <a:r>
              <a:rPr lang="en-US" dirty="0" smtClean="0">
                <a:ea typeface="ＭＳ Ｐゴシック" pitchFamily="34" charset="-128"/>
              </a:rPr>
              <a:t> party.</a:t>
            </a:r>
          </a:p>
        </p:txBody>
      </p:sp>
      <p:sp>
        <p:nvSpPr>
          <p:cNvPr id="4" name="Header Placeholder 3"/>
          <p:cNvSpPr>
            <a:spLocks noGrp="1"/>
          </p:cNvSpPr>
          <p:nvPr>
            <p:ph type="hdr" sz="quarter"/>
          </p:nvPr>
        </p:nvSpPr>
        <p:spPr/>
        <p:txBody>
          <a:bodyPr/>
          <a:lstStyle/>
          <a:p>
            <a:pPr>
              <a:defRPr/>
            </a:pPr>
            <a:r>
              <a:rPr lang="en-US" smtClean="0"/>
              <a:t>2015 User Webinar: Ericsson Catalog Manager &amp; Ericsson Order Care </a:t>
            </a:r>
            <a:endParaRPr lang="en-US" dirty="0"/>
          </a:p>
        </p:txBody>
      </p:sp>
      <p:sp>
        <p:nvSpPr>
          <p:cNvPr id="5" name="Date Placeholder 4"/>
          <p:cNvSpPr>
            <a:spLocks noGrp="1"/>
          </p:cNvSpPr>
          <p:nvPr>
            <p:ph type="dt" sz="quarter" idx="1"/>
          </p:nvPr>
        </p:nvSpPr>
        <p:spPr/>
        <p:txBody>
          <a:bodyPr/>
          <a:lstStyle/>
          <a:p>
            <a:pPr>
              <a:defRPr/>
            </a:pPr>
            <a:r>
              <a:rPr lang="en-US" smtClean="0"/>
              <a:t>2015-01-19 </a:t>
            </a:r>
            <a:endParaRPr lang="en-US"/>
          </a:p>
        </p:txBody>
      </p:sp>
      <p:sp>
        <p:nvSpPr>
          <p:cNvPr id="6" name="Footer Placeholder 5"/>
          <p:cNvSpPr>
            <a:spLocks noGrp="1"/>
          </p:cNvSpPr>
          <p:nvPr>
            <p:ph type="ftr" sz="quarter" idx="4"/>
          </p:nvPr>
        </p:nvSpPr>
        <p:spPr/>
        <p:txBody>
          <a:bodyPr/>
          <a:lstStyle/>
          <a:p>
            <a:pPr>
              <a:defRPr/>
            </a:pPr>
            <a:r>
              <a:rPr lang="en-US" smtClean="0"/>
              <a:t> </a:t>
            </a:r>
            <a:endParaRPr lang="en-US"/>
          </a:p>
        </p:txBody>
      </p:sp>
      <p:sp>
        <p:nvSpPr>
          <p:cNvPr id="64519"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pitchFamily="34" charset="-128"/>
              </a:defRPr>
            </a:lvl1pPr>
            <a:lvl2pPr marL="751940" indent="-289208" eaLnBrk="0" hangingPunct="0">
              <a:defRPr sz="2000">
                <a:solidFill>
                  <a:schemeClr val="tx1"/>
                </a:solidFill>
                <a:latin typeface="Arial" charset="0"/>
                <a:ea typeface="ＭＳ Ｐゴシック" pitchFamily="34" charset="-128"/>
              </a:defRPr>
            </a:lvl2pPr>
            <a:lvl3pPr marL="1156830" indent="-231366" eaLnBrk="0" hangingPunct="0">
              <a:defRPr sz="2000">
                <a:solidFill>
                  <a:schemeClr val="tx1"/>
                </a:solidFill>
                <a:latin typeface="Arial" charset="0"/>
                <a:ea typeface="ＭＳ Ｐゴシック" pitchFamily="34" charset="-128"/>
              </a:defRPr>
            </a:lvl3pPr>
            <a:lvl4pPr marL="1619562" indent="-231366" eaLnBrk="0" hangingPunct="0">
              <a:defRPr sz="2000">
                <a:solidFill>
                  <a:schemeClr val="tx1"/>
                </a:solidFill>
                <a:latin typeface="Arial" charset="0"/>
                <a:ea typeface="ＭＳ Ｐゴシック" pitchFamily="34" charset="-128"/>
              </a:defRPr>
            </a:lvl4pPr>
            <a:lvl5pPr marL="2082295" indent="-231366" eaLnBrk="0" hangingPunct="0">
              <a:defRPr sz="2000">
                <a:solidFill>
                  <a:schemeClr val="tx1"/>
                </a:solidFill>
                <a:latin typeface="Arial" charset="0"/>
                <a:ea typeface="ＭＳ Ｐゴシック" pitchFamily="34" charset="-128"/>
              </a:defRPr>
            </a:lvl5pPr>
            <a:lvl6pPr marL="2545027" indent="-231366" eaLnBrk="0" fontAlgn="base" hangingPunct="0">
              <a:spcBef>
                <a:spcPct val="0"/>
              </a:spcBef>
              <a:spcAft>
                <a:spcPct val="0"/>
              </a:spcAft>
              <a:defRPr sz="2000">
                <a:solidFill>
                  <a:schemeClr val="tx1"/>
                </a:solidFill>
                <a:latin typeface="Arial" charset="0"/>
                <a:ea typeface="ＭＳ Ｐゴシック" pitchFamily="34" charset="-128"/>
              </a:defRPr>
            </a:lvl6pPr>
            <a:lvl7pPr marL="3007759" indent="-231366" eaLnBrk="0" fontAlgn="base" hangingPunct="0">
              <a:spcBef>
                <a:spcPct val="0"/>
              </a:spcBef>
              <a:spcAft>
                <a:spcPct val="0"/>
              </a:spcAft>
              <a:defRPr sz="2000">
                <a:solidFill>
                  <a:schemeClr val="tx1"/>
                </a:solidFill>
                <a:latin typeface="Arial" charset="0"/>
                <a:ea typeface="ＭＳ Ｐゴシック" pitchFamily="34" charset="-128"/>
              </a:defRPr>
            </a:lvl7pPr>
            <a:lvl8pPr marL="3470491" indent="-231366" eaLnBrk="0" fontAlgn="base" hangingPunct="0">
              <a:spcBef>
                <a:spcPct val="0"/>
              </a:spcBef>
              <a:spcAft>
                <a:spcPct val="0"/>
              </a:spcAft>
              <a:defRPr sz="2000">
                <a:solidFill>
                  <a:schemeClr val="tx1"/>
                </a:solidFill>
                <a:latin typeface="Arial" charset="0"/>
                <a:ea typeface="ＭＳ Ｐゴシック" pitchFamily="34" charset="-128"/>
              </a:defRPr>
            </a:lvl8pPr>
            <a:lvl9pPr marL="3933223" indent="-231366"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fld id="{5AC57F38-05CA-49C6-951D-86378B53EFA1}" type="slidenum">
              <a:rPr lang="en-US" altLang="en-US" sz="1200" smtClean="0">
                <a:cs typeface="Arial" charset="0"/>
              </a:rPr>
              <a:t>31</a:t>
            </a:fld>
            <a:endParaRPr lang="en-US" altLang="en-US" sz="1200">
              <a:cs typeface="Arial"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936625" y="750888"/>
            <a:ext cx="5011738" cy="3757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dirty="0" smtClean="0">
                <a:latin typeface="Arial" pitchFamily="34" charset="0"/>
              </a:rPr>
              <a:t>ELI</a:t>
            </a:r>
          </a:p>
          <a:p>
            <a:pPr defTabSz="927110">
              <a:defRPr/>
            </a:pPr>
            <a:r>
              <a:rPr lang="en-US" dirty="0"/>
              <a:t>Explain what’s new here. </a:t>
            </a:r>
            <a:br>
              <a:rPr lang="en-US" dirty="0"/>
            </a:br>
            <a:r>
              <a:rPr lang="en-US" dirty="0"/>
              <a:t>Data-to-Experience and </a:t>
            </a:r>
            <a:br>
              <a:rPr lang="en-US" dirty="0"/>
            </a:br>
            <a:r>
              <a:rPr lang="en-US" dirty="0"/>
              <a:t>Cloud management. </a:t>
            </a:r>
          </a:p>
          <a:p>
            <a:pPr eaLnBrk="1" hangingPunct="1"/>
            <a:endParaRPr lang="en-US" dirty="0" smtClean="0">
              <a:latin typeface="Arial" pitchFamily="34" charset="0"/>
            </a:endParaRPr>
          </a:p>
          <a:p>
            <a:pPr eaLnBrk="1" hangingPunct="1"/>
            <a:r>
              <a:rPr lang="en-US" dirty="0" smtClean="0">
                <a:latin typeface="Arial" pitchFamily="34" charset="0"/>
              </a:rPr>
              <a:t>&lt;&lt;CLICK&gt;&gt; The Agile Operator manages networks, services and customers.  All at once. </a:t>
            </a:r>
          </a:p>
          <a:p>
            <a:pPr eaLnBrk="1" hangingPunct="1"/>
            <a:endParaRPr lang="en-US" dirty="0" smtClean="0">
              <a:latin typeface="Arial" pitchFamily="34" charset="0"/>
            </a:endParaRPr>
          </a:p>
          <a:p>
            <a:pPr>
              <a:spcBef>
                <a:spcPts val="608"/>
              </a:spcBef>
              <a:buFontTx/>
              <a:buChar char="•"/>
            </a:pPr>
            <a:r>
              <a:rPr lang="en-US" dirty="0" smtClean="0">
                <a:solidFill>
                  <a:srgbClr val="000000"/>
                </a:solidFill>
                <a:latin typeface="Arial" pitchFamily="34" charset="0"/>
              </a:rPr>
              <a:t>Achieving CUSTOMER agility means operators must understand customer needs and have 3D insights and proactively acting to offer the right services, resolve problems and make customers feel in control. It’s about LEVERAGING DATA.</a:t>
            </a:r>
          </a:p>
          <a:p>
            <a:pPr>
              <a:spcBef>
                <a:spcPts val="608"/>
              </a:spcBef>
              <a:buFontTx/>
              <a:buChar char="•"/>
            </a:pPr>
            <a:r>
              <a:rPr lang="en-US" dirty="0" smtClean="0">
                <a:solidFill>
                  <a:srgbClr val="000000"/>
                </a:solidFill>
                <a:latin typeface="Arial" pitchFamily="34" charset="0"/>
                <a:sym typeface="Wingdings" pitchFamily="2" charset="2"/>
              </a:rPr>
              <a:t>Achieving SERVICE agility </a:t>
            </a:r>
            <a:r>
              <a:rPr lang="en-US" dirty="0" smtClean="0">
                <a:solidFill>
                  <a:srgbClr val="000000"/>
                </a:solidFill>
                <a:latin typeface="Arial" pitchFamily="34" charset="0"/>
              </a:rPr>
              <a:t>means operators must find exponential business growth – through customers and partners – and delivering and monetizing new services rapidly and cost effectively. It’s about SPEEDING INNOVATION.</a:t>
            </a:r>
          </a:p>
          <a:p>
            <a:pPr>
              <a:spcBef>
                <a:spcPts val="608"/>
              </a:spcBef>
              <a:buFontTx/>
              <a:buChar char="•"/>
            </a:pPr>
            <a:r>
              <a:rPr lang="en-US" dirty="0" smtClean="0">
                <a:latin typeface="Arial" pitchFamily="34" charset="0"/>
              </a:rPr>
              <a:t>Achieving NETWORK agility means operators must </a:t>
            </a:r>
            <a:r>
              <a:rPr lang="en-US" dirty="0" smtClean="0">
                <a:solidFill>
                  <a:srgbClr val="000000"/>
                </a:solidFill>
                <a:latin typeface="Arial" pitchFamily="34" charset="0"/>
              </a:rPr>
              <a:t>accelerate the planning, rollout and optimization of new and existing networks while dealing with network, technology and organizational complexity. It’s about SIMPLIFYING COMPLEXITY.</a:t>
            </a:r>
          </a:p>
          <a:p>
            <a:pPr>
              <a:spcBef>
                <a:spcPts val="608"/>
              </a:spcBef>
              <a:buFontTx/>
              <a:buChar char="•"/>
            </a:pPr>
            <a:r>
              <a:rPr lang="en-US" dirty="0" smtClean="0">
                <a:solidFill>
                  <a:srgbClr val="000000"/>
                </a:solidFill>
                <a:latin typeface="Arial" pitchFamily="34" charset="0"/>
              </a:rPr>
              <a:t>When operators are successful at managing these elements, they’ve achieve BUSINESS agility; meaning they are in position to innovate and drive profitable growth through new and existing value chains.</a:t>
            </a:r>
          </a:p>
          <a:p>
            <a:pPr>
              <a:spcBef>
                <a:spcPts val="608"/>
              </a:spcBef>
              <a:buFontTx/>
              <a:buChar char="•"/>
            </a:pPr>
            <a:endParaRPr lang="en-US" dirty="0" smtClean="0">
              <a:solidFill>
                <a:srgbClr val="000000"/>
              </a:solidFill>
              <a:latin typeface="Arial" pitchFamily="34" charset="0"/>
            </a:endParaRPr>
          </a:p>
          <a:p>
            <a:pPr>
              <a:spcBef>
                <a:spcPts val="608"/>
              </a:spcBef>
            </a:pPr>
            <a:r>
              <a:rPr lang="en-US" dirty="0" smtClean="0">
                <a:solidFill>
                  <a:srgbClr val="000000"/>
                </a:solidFill>
                <a:latin typeface="Arial" pitchFamily="34" charset="0"/>
              </a:rPr>
              <a:t>&lt;&lt;CLICK&gt;&gt;OSS/BSS are the key to such innovation and profitable growth. Ericsson has built our OSS/BSS Agility Suite to be the foundation for business agility with 3 key ingredients: business focus, process-driven orientation, and comprehensive footprint. More on that in a moment… </a:t>
            </a:r>
          </a:p>
        </p:txBody>
      </p:sp>
      <p:sp>
        <p:nvSpPr>
          <p:cNvPr id="4" name="Date Placeholder 3"/>
          <p:cNvSpPr>
            <a:spLocks noGrp="1"/>
          </p:cNvSpPr>
          <p:nvPr>
            <p:ph type="dt" sz="quarter" idx="1"/>
          </p:nvPr>
        </p:nvSpPr>
        <p:spPr/>
        <p:txBody>
          <a:bodyPr/>
          <a:lstStyle/>
          <a:p>
            <a:pPr>
              <a:defRPr/>
            </a:pPr>
            <a:r>
              <a:rPr lang="en-US" smtClean="0">
                <a:solidFill>
                  <a:prstClr val="black"/>
                </a:solidFill>
              </a:rPr>
              <a:t>2015-01-19 </a:t>
            </a:r>
            <a:endParaRPr lang="en-US" dirty="0">
              <a:solidFill>
                <a:prstClr val="black"/>
              </a:solidFill>
            </a:endParaRPr>
          </a:p>
        </p:txBody>
      </p:sp>
      <p:sp>
        <p:nvSpPr>
          <p:cNvPr id="5" name="Slide Number Placeholder 4"/>
          <p:cNvSpPr>
            <a:spLocks noGrp="1"/>
          </p:cNvSpPr>
          <p:nvPr>
            <p:ph type="sldNum" sz="quarter" idx="5"/>
          </p:nvPr>
        </p:nvSpPr>
        <p:spPr/>
        <p:txBody>
          <a:bodyPr/>
          <a:lstStyle/>
          <a:p>
            <a:pPr>
              <a:defRPr/>
            </a:pPr>
            <a:fld id="{4E3217E2-3E62-45C7-A4D0-55A1BA533F17}" type="slidenum">
              <a:rPr lang="en-US" smtClean="0">
                <a:solidFill>
                  <a:prstClr val="black"/>
                </a:solidFill>
              </a:rPr>
              <a:t>32</a:t>
            </a:fld>
            <a:endParaRPr lang="en-US" dirty="0">
              <a:solidFill>
                <a:prstClr val="black"/>
              </a:solidFill>
            </a:endParaRPr>
          </a:p>
        </p:txBody>
      </p:sp>
      <p:sp>
        <p:nvSpPr>
          <p:cNvPr id="6" name="Header Placeholder 5"/>
          <p:cNvSpPr>
            <a:spLocks noGrp="1"/>
          </p:cNvSpPr>
          <p:nvPr>
            <p:ph type="hdr" sz="quarter"/>
          </p:nvPr>
        </p:nvSpPr>
        <p:spPr/>
        <p:txBody>
          <a:bodyPr/>
          <a:lstStyle/>
          <a:p>
            <a:pPr>
              <a:defRPr/>
            </a:pPr>
            <a:r>
              <a:rPr lang="en-US" smtClean="0">
                <a:solidFill>
                  <a:prstClr val="black"/>
                </a:solidFill>
              </a:rPr>
              <a:t>2015 User Webinar: Ericsson Catalog Manager &amp; Ericsson Order Care </a:t>
            </a:r>
            <a:endParaRPr lang="en-US">
              <a:solidFill>
                <a:prstClr val="black"/>
              </a:solidFill>
            </a:endParaRPr>
          </a:p>
        </p:txBody>
      </p:sp>
      <p:sp>
        <p:nvSpPr>
          <p:cNvPr id="7" name="Footer Placeholder 6"/>
          <p:cNvSpPr>
            <a:spLocks noGrp="1"/>
          </p:cNvSpPr>
          <p:nvPr>
            <p:ph type="ftr" sz="quarter" idx="4"/>
          </p:nvPr>
        </p:nvSpPr>
        <p:spPr/>
        <p:txBody>
          <a:bodyPr/>
          <a:lstStyle/>
          <a:p>
            <a:pPr>
              <a:defRPr/>
            </a:pPr>
            <a:r>
              <a:rPr lang="en-US" smtClean="0">
                <a:solidFill>
                  <a:prstClr val="black"/>
                </a:solidFill>
              </a:rPr>
              <a:t> </a:t>
            </a:r>
            <a:endParaRPr lang="en-US" dirty="0">
              <a:solidFill>
                <a:prstClr val="black"/>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xfrm>
            <a:off x="936625" y="750888"/>
            <a:ext cx="5011738" cy="3757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latin typeface="Arial" pitchFamily="34" charset="0"/>
              </a:rPr>
              <a:t>Walk through the flow keeping in mind that the “customer” can be an end-user or can be a business partner (using an operator- or partner-supplied component or full end-to-end product offering).  To simplify the flow, the case depicted here is more of a consumer purchasing and using the full offering.</a:t>
            </a:r>
          </a:p>
        </p:txBody>
      </p:sp>
      <p:sp>
        <p:nvSpPr>
          <p:cNvPr id="60420"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t>2015-01-19 </a:t>
            </a:r>
            <a:endParaRPr lang="en-US" sz="1200"/>
          </a:p>
        </p:txBody>
      </p:sp>
      <p:sp>
        <p:nvSpPr>
          <p:cNvPr id="6042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fld id="{C67E7CB3-94EA-4C04-B0B4-9FCAD36DDAF3}" type="slidenum">
              <a:rPr lang="en-US" sz="1200" smtClean="0">
                <a:cs typeface="Arial" pitchFamily="34" charset="0"/>
              </a:rPr>
              <a:t>33</a:t>
            </a:fld>
            <a:endParaRPr lang="en-US" sz="1200" smtClean="0">
              <a:cs typeface="Arial" pitchFamily="34" charset="0"/>
            </a:endParaRPr>
          </a:p>
        </p:txBody>
      </p:sp>
      <p:sp>
        <p:nvSpPr>
          <p:cNvPr id="60422" name="Header Placeholder 5"/>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t>2015 User Webinar: Ericsson Catalog Manager &amp; Ericsson Order Care </a:t>
            </a:r>
            <a:endParaRPr lang="en-US" sz="1200"/>
          </a:p>
        </p:txBody>
      </p:sp>
      <p:sp>
        <p:nvSpPr>
          <p:cNvPr id="6042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t> </a:t>
            </a:r>
            <a:endParaRPr lang="en-US" sz="120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103" indent="-181103">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a:defRPr/>
            </a:pPr>
            <a:r>
              <a:rPr lang="en-US" smtClean="0"/>
              <a:t>2015 User Webinar: Ericsson Catalog Manager &amp; Ericsson Order Care </a:t>
            </a:r>
            <a:endParaRPr lang="en-US" dirty="0"/>
          </a:p>
        </p:txBody>
      </p:sp>
      <p:sp>
        <p:nvSpPr>
          <p:cNvPr id="5" name="Date Placeholder 4"/>
          <p:cNvSpPr>
            <a:spLocks noGrp="1"/>
          </p:cNvSpPr>
          <p:nvPr>
            <p:ph type="dt" idx="11"/>
          </p:nvPr>
        </p:nvSpPr>
        <p:spPr/>
        <p:txBody>
          <a:bodyPr/>
          <a:lstStyle/>
          <a:p>
            <a:pPr>
              <a:defRPr/>
            </a:pPr>
            <a:r>
              <a:rPr lang="en-US" smtClean="0"/>
              <a:t>2015-01-19 </a:t>
            </a:r>
            <a:endParaRPr lang="en-US"/>
          </a:p>
        </p:txBody>
      </p:sp>
      <p:sp>
        <p:nvSpPr>
          <p:cNvPr id="6" name="Footer Placeholder 5"/>
          <p:cNvSpPr>
            <a:spLocks noGrp="1"/>
          </p:cNvSpPr>
          <p:nvPr>
            <p:ph type="ftr" sz="quarter" idx="12"/>
          </p:nvPr>
        </p:nvSpPr>
        <p:spPr/>
        <p:txBody>
          <a:bodyPr/>
          <a:lstStyle/>
          <a:p>
            <a:pPr>
              <a:defRPr/>
            </a:pPr>
            <a:r>
              <a:rPr lang="en-US" smtClean="0"/>
              <a:t> </a:t>
            </a:r>
            <a:endParaRPr lang="en-US"/>
          </a:p>
        </p:txBody>
      </p:sp>
      <p:sp>
        <p:nvSpPr>
          <p:cNvPr id="7" name="Slide Number Placeholder 6"/>
          <p:cNvSpPr>
            <a:spLocks noGrp="1"/>
          </p:cNvSpPr>
          <p:nvPr>
            <p:ph type="sldNum" sz="quarter" idx="13"/>
          </p:nvPr>
        </p:nvSpPr>
        <p:spPr/>
        <p:txBody>
          <a:bodyPr/>
          <a:lstStyle/>
          <a:p>
            <a:pPr>
              <a:defRPr/>
            </a:pPr>
            <a:fld id="{4C8E27F0-5018-45D7-9900-FD0D36156F6B}" type="slidenum">
              <a:rPr lang="en-US" altLang="en-US" smtClean="0"/>
              <a:t>34</a:t>
            </a:fld>
            <a:endParaRPr lang="en-US" altLang="en-US"/>
          </a:p>
        </p:txBody>
      </p:sp>
    </p:spTree>
    <p:extLst>
      <p:ext uri="{BB962C8B-B14F-4D97-AF65-F5344CB8AC3E}">
        <p14:creationId xmlns:p14="http://schemas.microsoft.com/office/powerpoint/2010/main" val="34387412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81103" indent="-181103">
              <a:buFont typeface="Arial" panose="020B0604020202020204" pitchFamily="34" charset="0"/>
              <a:buChar char="•"/>
            </a:pPr>
            <a:r>
              <a:rPr lang="en-CA" dirty="0" smtClean="0"/>
              <a:t>Zip file import contains</a:t>
            </a:r>
          </a:p>
          <a:p>
            <a:pPr marL="664043" lvl="1" indent="-181103">
              <a:buFont typeface="Arial" panose="020B0604020202020204" pitchFamily="34" charset="0"/>
              <a:buChar char="•"/>
            </a:pPr>
            <a:r>
              <a:rPr lang="en-CA" dirty="0" smtClean="0"/>
              <a:t>Each object is within</a:t>
            </a:r>
            <a:r>
              <a:rPr lang="en-CA" baseline="0" dirty="0" smtClean="0"/>
              <a:t> this file</a:t>
            </a:r>
          </a:p>
          <a:p>
            <a:pPr marL="181103" indent="-181103">
              <a:buFont typeface="Arial" panose="020B0604020202020204" pitchFamily="34" charset="0"/>
              <a:buChar char="•"/>
            </a:pPr>
            <a:endParaRPr lang="en-CA" dirty="0" smtClean="0"/>
          </a:p>
          <a:p>
            <a:pPr marL="181103" indent="-181103">
              <a:buFont typeface="Arial" panose="020B0604020202020204" pitchFamily="34" charset="0"/>
              <a:buChar char="•"/>
            </a:pPr>
            <a:endParaRPr lang="en-CA" dirty="0" smtClean="0"/>
          </a:p>
        </p:txBody>
      </p:sp>
      <p:sp>
        <p:nvSpPr>
          <p:cNvPr id="1013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100">
                <a:solidFill>
                  <a:schemeClr val="tx1"/>
                </a:solidFill>
                <a:latin typeface="Arial" charset="0"/>
                <a:ea typeface="MS PGothic" pitchFamily="34" charset="-128"/>
              </a:defRPr>
            </a:lvl1pPr>
            <a:lvl2pPr marL="784778" indent="-301838" eaLnBrk="0" hangingPunct="0">
              <a:defRPr sz="2100">
                <a:solidFill>
                  <a:schemeClr val="tx1"/>
                </a:solidFill>
                <a:latin typeface="Arial" charset="0"/>
                <a:ea typeface="MS PGothic" pitchFamily="34" charset="-128"/>
              </a:defRPr>
            </a:lvl2pPr>
            <a:lvl3pPr marL="1207351" indent="-241470" eaLnBrk="0" hangingPunct="0">
              <a:defRPr sz="2100">
                <a:solidFill>
                  <a:schemeClr val="tx1"/>
                </a:solidFill>
                <a:latin typeface="Arial" charset="0"/>
                <a:ea typeface="MS PGothic" pitchFamily="34" charset="-128"/>
              </a:defRPr>
            </a:lvl3pPr>
            <a:lvl4pPr marL="1690291" indent="-241470" eaLnBrk="0" hangingPunct="0">
              <a:defRPr sz="2100">
                <a:solidFill>
                  <a:schemeClr val="tx1"/>
                </a:solidFill>
                <a:latin typeface="Arial" charset="0"/>
                <a:ea typeface="MS PGothic" pitchFamily="34" charset="-128"/>
              </a:defRPr>
            </a:lvl4pPr>
            <a:lvl5pPr marL="2173232" indent="-241470" eaLnBrk="0" hangingPunct="0">
              <a:defRPr sz="2100">
                <a:solidFill>
                  <a:schemeClr val="tx1"/>
                </a:solidFill>
                <a:latin typeface="Arial" charset="0"/>
                <a:ea typeface="MS PGothic" pitchFamily="34" charset="-128"/>
              </a:defRPr>
            </a:lvl5pPr>
            <a:lvl6pPr marL="2656172" indent="-241470" eaLnBrk="0" fontAlgn="base" hangingPunct="0">
              <a:spcBef>
                <a:spcPct val="0"/>
              </a:spcBef>
              <a:spcAft>
                <a:spcPct val="0"/>
              </a:spcAft>
              <a:defRPr sz="2100">
                <a:solidFill>
                  <a:schemeClr val="tx1"/>
                </a:solidFill>
                <a:latin typeface="Arial" charset="0"/>
                <a:ea typeface="MS PGothic" pitchFamily="34" charset="-128"/>
              </a:defRPr>
            </a:lvl6pPr>
            <a:lvl7pPr marL="3139112" indent="-241470" eaLnBrk="0" fontAlgn="base" hangingPunct="0">
              <a:spcBef>
                <a:spcPct val="0"/>
              </a:spcBef>
              <a:spcAft>
                <a:spcPct val="0"/>
              </a:spcAft>
              <a:defRPr sz="2100">
                <a:solidFill>
                  <a:schemeClr val="tx1"/>
                </a:solidFill>
                <a:latin typeface="Arial" charset="0"/>
                <a:ea typeface="MS PGothic" pitchFamily="34" charset="-128"/>
              </a:defRPr>
            </a:lvl7pPr>
            <a:lvl8pPr marL="3622053" indent="-241470" eaLnBrk="0" fontAlgn="base" hangingPunct="0">
              <a:spcBef>
                <a:spcPct val="0"/>
              </a:spcBef>
              <a:spcAft>
                <a:spcPct val="0"/>
              </a:spcAft>
              <a:defRPr sz="2100">
                <a:solidFill>
                  <a:schemeClr val="tx1"/>
                </a:solidFill>
                <a:latin typeface="Arial" charset="0"/>
                <a:ea typeface="MS PGothic" pitchFamily="34" charset="-128"/>
              </a:defRPr>
            </a:lvl8pPr>
            <a:lvl9pPr marL="4104993" indent="-241470" eaLnBrk="0" fontAlgn="base" hangingPunct="0">
              <a:spcBef>
                <a:spcPct val="0"/>
              </a:spcBef>
              <a:spcAft>
                <a:spcPct val="0"/>
              </a:spcAft>
              <a:defRPr sz="2100">
                <a:solidFill>
                  <a:schemeClr val="tx1"/>
                </a:solidFill>
                <a:latin typeface="Arial" charset="0"/>
                <a:ea typeface="MS PGothic" pitchFamily="34" charset="-128"/>
              </a:defRPr>
            </a:lvl9pPr>
          </a:lstStyle>
          <a:p>
            <a:pPr eaLnBrk="1" hangingPunct="1"/>
            <a:fld id="{377F1D57-CFCE-43A6-88F5-A24F40253659}" type="slidenum">
              <a:rPr lang="en-US" sz="1300" smtClean="0">
                <a:solidFill>
                  <a:srgbClr val="000000"/>
                </a:solidFill>
              </a:rPr>
              <a:t>35</a:t>
            </a:fld>
            <a:endParaRPr lang="en-US" sz="1300">
              <a:solidFill>
                <a:srgbClr val="000000"/>
              </a:solidFill>
            </a:endParaRPr>
          </a:p>
        </p:txBody>
      </p:sp>
      <p:sp>
        <p:nvSpPr>
          <p:cNvPr id="2" name="Header Placeholder 1"/>
          <p:cNvSpPr>
            <a:spLocks noGrp="1"/>
          </p:cNvSpPr>
          <p:nvPr>
            <p:ph type="hdr" sz="quarter"/>
          </p:nvPr>
        </p:nvSpPr>
        <p:spPr/>
        <p:txBody>
          <a:bodyPr/>
          <a:lstStyle/>
          <a:p>
            <a:r>
              <a:rPr lang="en-US" smtClean="0"/>
              <a:t>2015 User Webinar: Ericsson Catalog Manager &amp; Ericsson Order Care </a:t>
            </a:r>
            <a:endParaRPr lang="en-US"/>
          </a:p>
        </p:txBody>
      </p:sp>
      <p:sp>
        <p:nvSpPr>
          <p:cNvPr id="3" name="Footer Placeholder 2"/>
          <p:cNvSpPr>
            <a:spLocks noGrp="1"/>
          </p:cNvSpPr>
          <p:nvPr>
            <p:ph type="ftr" sz="quarter" idx="4"/>
          </p:nvPr>
        </p:nvSpPr>
        <p:spPr/>
        <p:txBody>
          <a:bodyPr/>
          <a:lstStyle/>
          <a:p>
            <a:r>
              <a:rPr lang="en-US" smtClean="0"/>
              <a:t> </a:t>
            </a:r>
            <a:endParaRPr lang="en-US"/>
          </a:p>
        </p:txBody>
      </p:sp>
      <p:sp>
        <p:nvSpPr>
          <p:cNvPr id="4" name="Date Placeholder 3"/>
          <p:cNvSpPr>
            <a:spLocks noGrp="1"/>
          </p:cNvSpPr>
          <p:nvPr>
            <p:ph type="dt" idx="1"/>
          </p:nvPr>
        </p:nvSpPr>
        <p:spPr/>
        <p:txBody>
          <a:bodyPr/>
          <a:lstStyle/>
          <a:p>
            <a:r>
              <a:rPr lang="en-US" smtClean="0"/>
              <a:t>2015-01-19 </a:t>
            </a:r>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81103" indent="-181103">
              <a:buFont typeface="Arial" panose="020B0604020202020204" pitchFamily="34" charset="0"/>
              <a:buChar char="•"/>
            </a:pPr>
            <a:endParaRPr lang="en-CA" dirty="0" smtClean="0"/>
          </a:p>
        </p:txBody>
      </p:sp>
      <p:sp>
        <p:nvSpPr>
          <p:cNvPr id="1013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100">
                <a:solidFill>
                  <a:schemeClr val="tx1"/>
                </a:solidFill>
                <a:latin typeface="Arial" charset="0"/>
                <a:ea typeface="MS PGothic" pitchFamily="34" charset="-128"/>
              </a:defRPr>
            </a:lvl1pPr>
            <a:lvl2pPr marL="784778" indent="-301838" eaLnBrk="0" hangingPunct="0">
              <a:defRPr sz="2100">
                <a:solidFill>
                  <a:schemeClr val="tx1"/>
                </a:solidFill>
                <a:latin typeface="Arial" charset="0"/>
                <a:ea typeface="MS PGothic" pitchFamily="34" charset="-128"/>
              </a:defRPr>
            </a:lvl2pPr>
            <a:lvl3pPr marL="1207351" indent="-241470" eaLnBrk="0" hangingPunct="0">
              <a:defRPr sz="2100">
                <a:solidFill>
                  <a:schemeClr val="tx1"/>
                </a:solidFill>
                <a:latin typeface="Arial" charset="0"/>
                <a:ea typeface="MS PGothic" pitchFamily="34" charset="-128"/>
              </a:defRPr>
            </a:lvl3pPr>
            <a:lvl4pPr marL="1690291" indent="-241470" eaLnBrk="0" hangingPunct="0">
              <a:defRPr sz="2100">
                <a:solidFill>
                  <a:schemeClr val="tx1"/>
                </a:solidFill>
                <a:latin typeface="Arial" charset="0"/>
                <a:ea typeface="MS PGothic" pitchFamily="34" charset="-128"/>
              </a:defRPr>
            </a:lvl4pPr>
            <a:lvl5pPr marL="2173232" indent="-241470" eaLnBrk="0" hangingPunct="0">
              <a:defRPr sz="2100">
                <a:solidFill>
                  <a:schemeClr val="tx1"/>
                </a:solidFill>
                <a:latin typeface="Arial" charset="0"/>
                <a:ea typeface="MS PGothic" pitchFamily="34" charset="-128"/>
              </a:defRPr>
            </a:lvl5pPr>
            <a:lvl6pPr marL="2656172" indent="-241470" eaLnBrk="0" fontAlgn="base" hangingPunct="0">
              <a:spcBef>
                <a:spcPct val="0"/>
              </a:spcBef>
              <a:spcAft>
                <a:spcPct val="0"/>
              </a:spcAft>
              <a:defRPr sz="2100">
                <a:solidFill>
                  <a:schemeClr val="tx1"/>
                </a:solidFill>
                <a:latin typeface="Arial" charset="0"/>
                <a:ea typeface="MS PGothic" pitchFamily="34" charset="-128"/>
              </a:defRPr>
            </a:lvl6pPr>
            <a:lvl7pPr marL="3139112" indent="-241470" eaLnBrk="0" fontAlgn="base" hangingPunct="0">
              <a:spcBef>
                <a:spcPct val="0"/>
              </a:spcBef>
              <a:spcAft>
                <a:spcPct val="0"/>
              </a:spcAft>
              <a:defRPr sz="2100">
                <a:solidFill>
                  <a:schemeClr val="tx1"/>
                </a:solidFill>
                <a:latin typeface="Arial" charset="0"/>
                <a:ea typeface="MS PGothic" pitchFamily="34" charset="-128"/>
              </a:defRPr>
            </a:lvl7pPr>
            <a:lvl8pPr marL="3622053" indent="-241470" eaLnBrk="0" fontAlgn="base" hangingPunct="0">
              <a:spcBef>
                <a:spcPct val="0"/>
              </a:spcBef>
              <a:spcAft>
                <a:spcPct val="0"/>
              </a:spcAft>
              <a:defRPr sz="2100">
                <a:solidFill>
                  <a:schemeClr val="tx1"/>
                </a:solidFill>
                <a:latin typeface="Arial" charset="0"/>
                <a:ea typeface="MS PGothic" pitchFamily="34" charset="-128"/>
              </a:defRPr>
            </a:lvl8pPr>
            <a:lvl9pPr marL="4104993" indent="-241470" eaLnBrk="0" fontAlgn="base" hangingPunct="0">
              <a:spcBef>
                <a:spcPct val="0"/>
              </a:spcBef>
              <a:spcAft>
                <a:spcPct val="0"/>
              </a:spcAft>
              <a:defRPr sz="2100">
                <a:solidFill>
                  <a:schemeClr val="tx1"/>
                </a:solidFill>
                <a:latin typeface="Arial" charset="0"/>
                <a:ea typeface="MS PGothic" pitchFamily="34" charset="-128"/>
              </a:defRPr>
            </a:lvl9pPr>
          </a:lstStyle>
          <a:p>
            <a:pPr eaLnBrk="1" hangingPunct="1"/>
            <a:fld id="{53F7D43D-0C47-4180-B83F-34CB0B10092F}" type="slidenum">
              <a:rPr lang="en-US" sz="1300" smtClean="0">
                <a:solidFill>
                  <a:srgbClr val="000000"/>
                </a:solidFill>
              </a:rPr>
              <a:t>36</a:t>
            </a:fld>
            <a:endParaRPr lang="en-US" sz="1300">
              <a:solidFill>
                <a:srgbClr val="000000"/>
              </a:solidFill>
            </a:endParaRPr>
          </a:p>
        </p:txBody>
      </p:sp>
      <p:sp>
        <p:nvSpPr>
          <p:cNvPr id="2" name="Header Placeholder 1"/>
          <p:cNvSpPr>
            <a:spLocks noGrp="1"/>
          </p:cNvSpPr>
          <p:nvPr>
            <p:ph type="hdr" sz="quarter"/>
          </p:nvPr>
        </p:nvSpPr>
        <p:spPr/>
        <p:txBody>
          <a:bodyPr/>
          <a:lstStyle/>
          <a:p>
            <a:r>
              <a:rPr lang="en-US" smtClean="0"/>
              <a:t>2015 User Webinar: Ericsson Catalog Manager &amp; Ericsson Order Care </a:t>
            </a:r>
            <a:endParaRPr lang="en-US"/>
          </a:p>
        </p:txBody>
      </p:sp>
      <p:sp>
        <p:nvSpPr>
          <p:cNvPr id="3" name="Footer Placeholder 2"/>
          <p:cNvSpPr>
            <a:spLocks noGrp="1"/>
          </p:cNvSpPr>
          <p:nvPr>
            <p:ph type="ftr" sz="quarter" idx="4"/>
          </p:nvPr>
        </p:nvSpPr>
        <p:spPr/>
        <p:txBody>
          <a:bodyPr/>
          <a:lstStyle/>
          <a:p>
            <a:r>
              <a:rPr lang="en-US" smtClean="0"/>
              <a:t> </a:t>
            </a:r>
            <a:endParaRPr lang="en-US"/>
          </a:p>
        </p:txBody>
      </p:sp>
      <p:sp>
        <p:nvSpPr>
          <p:cNvPr id="4" name="Date Placeholder 3"/>
          <p:cNvSpPr>
            <a:spLocks noGrp="1"/>
          </p:cNvSpPr>
          <p:nvPr>
            <p:ph type="dt" idx="1"/>
          </p:nvPr>
        </p:nvSpPr>
        <p:spPr/>
        <p:txBody>
          <a:bodyPr/>
          <a:lstStyle/>
          <a:p>
            <a:r>
              <a:rPr lang="en-US" smtClean="0"/>
              <a:t>2015-01-19 </a:t>
            </a:r>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pitchFamily="34" charset="0"/>
            </a:endParaRPr>
          </a:p>
        </p:txBody>
      </p:sp>
      <p:sp>
        <p:nvSpPr>
          <p:cNvPr id="56324"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01-19 </a:t>
            </a:r>
            <a:endParaRPr lang="en-US" sz="1200"/>
          </a:p>
        </p:txBody>
      </p:sp>
      <p:sp>
        <p:nvSpPr>
          <p:cNvPr id="56325"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fld id="{BAAC6543-3F41-4E24-9F2B-D860AEF6238A}" type="slidenum">
              <a:rPr lang="en-US" sz="1200" smtClean="0"/>
              <a:t>37</a:t>
            </a:fld>
            <a:endParaRPr lang="en-US" sz="1200" smtClean="0"/>
          </a:p>
        </p:txBody>
      </p:sp>
      <p:sp>
        <p:nvSpPr>
          <p:cNvPr id="56326" name="Header Placeholder 5"/>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 User Webinar: Ericsson Catalog Manager &amp; Ericsson Order Care </a:t>
            </a:r>
            <a:endParaRPr lang="en-US" sz="1200"/>
          </a:p>
        </p:txBody>
      </p:sp>
      <p:sp>
        <p:nvSpPr>
          <p:cNvPr id="56327"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 </a:t>
            </a:r>
            <a:endParaRPr lang="en-US" sz="120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xfrm>
            <a:off x="936625" y="750888"/>
            <a:ext cx="5011738" cy="3757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ea typeface="ＭＳ Ｐゴシック" pitchFamily="34" charset="-128"/>
            </a:endParaRPr>
          </a:p>
        </p:txBody>
      </p:sp>
      <p:sp>
        <p:nvSpPr>
          <p:cNvPr id="4" name="Date Placeholder 3"/>
          <p:cNvSpPr>
            <a:spLocks noGrp="1"/>
          </p:cNvSpPr>
          <p:nvPr>
            <p:ph type="dt" sz="quarter" idx="1"/>
          </p:nvPr>
        </p:nvSpPr>
        <p:spPr/>
        <p:txBody>
          <a:bodyPr/>
          <a:lstStyle/>
          <a:p>
            <a:pPr>
              <a:defRPr/>
            </a:pPr>
            <a:r>
              <a:rPr lang="en-US" smtClean="0"/>
              <a:t>2015-01-19 </a:t>
            </a:r>
            <a:endParaRPr lang="en-US" dirty="0"/>
          </a:p>
        </p:txBody>
      </p:sp>
      <p:sp>
        <p:nvSpPr>
          <p:cNvPr id="49157"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pitchFamily="34" charset="-128"/>
              </a:defRPr>
            </a:lvl1pPr>
            <a:lvl2pPr marL="751940" indent="-289208" eaLnBrk="0" hangingPunct="0">
              <a:defRPr sz="2000">
                <a:solidFill>
                  <a:schemeClr val="tx1"/>
                </a:solidFill>
                <a:latin typeface="Arial" charset="0"/>
                <a:ea typeface="ＭＳ Ｐゴシック" pitchFamily="34" charset="-128"/>
              </a:defRPr>
            </a:lvl2pPr>
            <a:lvl3pPr marL="1156830" indent="-231366" eaLnBrk="0" hangingPunct="0">
              <a:defRPr sz="2000">
                <a:solidFill>
                  <a:schemeClr val="tx1"/>
                </a:solidFill>
                <a:latin typeface="Arial" charset="0"/>
                <a:ea typeface="ＭＳ Ｐゴシック" pitchFamily="34" charset="-128"/>
              </a:defRPr>
            </a:lvl3pPr>
            <a:lvl4pPr marL="1619562" indent="-231366" eaLnBrk="0" hangingPunct="0">
              <a:defRPr sz="2000">
                <a:solidFill>
                  <a:schemeClr val="tx1"/>
                </a:solidFill>
                <a:latin typeface="Arial" charset="0"/>
                <a:ea typeface="ＭＳ Ｐゴシック" pitchFamily="34" charset="-128"/>
              </a:defRPr>
            </a:lvl4pPr>
            <a:lvl5pPr marL="2082295" indent="-231366" eaLnBrk="0" hangingPunct="0">
              <a:defRPr sz="2000">
                <a:solidFill>
                  <a:schemeClr val="tx1"/>
                </a:solidFill>
                <a:latin typeface="Arial" charset="0"/>
                <a:ea typeface="ＭＳ Ｐゴシック" pitchFamily="34" charset="-128"/>
              </a:defRPr>
            </a:lvl5pPr>
            <a:lvl6pPr marL="2545027" indent="-231366" eaLnBrk="0" fontAlgn="base" hangingPunct="0">
              <a:spcBef>
                <a:spcPct val="0"/>
              </a:spcBef>
              <a:spcAft>
                <a:spcPct val="0"/>
              </a:spcAft>
              <a:defRPr sz="2000">
                <a:solidFill>
                  <a:schemeClr val="tx1"/>
                </a:solidFill>
                <a:latin typeface="Arial" charset="0"/>
                <a:ea typeface="ＭＳ Ｐゴシック" pitchFamily="34" charset="-128"/>
              </a:defRPr>
            </a:lvl6pPr>
            <a:lvl7pPr marL="3007759" indent="-231366" eaLnBrk="0" fontAlgn="base" hangingPunct="0">
              <a:spcBef>
                <a:spcPct val="0"/>
              </a:spcBef>
              <a:spcAft>
                <a:spcPct val="0"/>
              </a:spcAft>
              <a:defRPr sz="2000">
                <a:solidFill>
                  <a:schemeClr val="tx1"/>
                </a:solidFill>
                <a:latin typeface="Arial" charset="0"/>
                <a:ea typeface="ＭＳ Ｐゴシック" pitchFamily="34" charset="-128"/>
              </a:defRPr>
            </a:lvl7pPr>
            <a:lvl8pPr marL="3470491" indent="-231366" eaLnBrk="0" fontAlgn="base" hangingPunct="0">
              <a:spcBef>
                <a:spcPct val="0"/>
              </a:spcBef>
              <a:spcAft>
                <a:spcPct val="0"/>
              </a:spcAft>
              <a:defRPr sz="2000">
                <a:solidFill>
                  <a:schemeClr val="tx1"/>
                </a:solidFill>
                <a:latin typeface="Arial" charset="0"/>
                <a:ea typeface="ＭＳ Ｐゴシック" pitchFamily="34" charset="-128"/>
              </a:defRPr>
            </a:lvl8pPr>
            <a:lvl9pPr marL="3933223" indent="-231366"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fld id="{6F58071B-67AA-4CAD-8264-9F8594C04BB1}" type="slidenum">
              <a:rPr lang="en-US" sz="1200" smtClean="0">
                <a:cs typeface="Arial" charset="0"/>
              </a:rPr>
              <a:t>38</a:t>
            </a:fld>
            <a:endParaRPr lang="en-US" sz="1200">
              <a:cs typeface="Arial" charset="0"/>
            </a:endParaRPr>
          </a:p>
        </p:txBody>
      </p:sp>
      <p:sp>
        <p:nvSpPr>
          <p:cNvPr id="6" name="Header Placeholder 5"/>
          <p:cNvSpPr>
            <a:spLocks noGrp="1"/>
          </p:cNvSpPr>
          <p:nvPr>
            <p:ph type="hdr" sz="quarter"/>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4"/>
          </p:nvPr>
        </p:nvSpPr>
        <p:spPr/>
        <p:txBody>
          <a:bodyPr/>
          <a:lstStyle/>
          <a:p>
            <a:pPr>
              <a:defRPr/>
            </a:pPr>
            <a:r>
              <a:rPr lang="en-US" smtClean="0"/>
              <a:t> </a:t>
            </a:r>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pitchFamily="34" charset="0"/>
            </a:endParaRPr>
          </a:p>
        </p:txBody>
      </p:sp>
      <p:sp>
        <p:nvSpPr>
          <p:cNvPr id="65540"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841" indent="-285708" eaLnBrk="0" hangingPunct="0">
              <a:defRPr sz="2000">
                <a:solidFill>
                  <a:schemeClr val="tx1"/>
                </a:solidFill>
                <a:latin typeface="Arial" pitchFamily="34" charset="0"/>
              </a:defRPr>
            </a:lvl2pPr>
            <a:lvl3pPr marL="1142833" indent="-228567" eaLnBrk="0" hangingPunct="0">
              <a:defRPr sz="2000">
                <a:solidFill>
                  <a:schemeClr val="tx1"/>
                </a:solidFill>
                <a:latin typeface="Arial" pitchFamily="34" charset="0"/>
              </a:defRPr>
            </a:lvl3pPr>
            <a:lvl4pPr marL="1599966" indent="-228567" eaLnBrk="0" hangingPunct="0">
              <a:defRPr sz="2000">
                <a:solidFill>
                  <a:schemeClr val="tx1"/>
                </a:solidFill>
                <a:latin typeface="Arial" pitchFamily="34" charset="0"/>
              </a:defRPr>
            </a:lvl4pPr>
            <a:lvl5pPr marL="2057098" indent="-228567" eaLnBrk="0" hangingPunct="0">
              <a:defRPr sz="2000">
                <a:solidFill>
                  <a:schemeClr val="tx1"/>
                </a:solidFill>
                <a:latin typeface="Arial" pitchFamily="34" charset="0"/>
              </a:defRPr>
            </a:lvl5pPr>
            <a:lvl6pPr marL="2514231" indent="-228567" algn="ctr" eaLnBrk="0" fontAlgn="base" hangingPunct="0">
              <a:spcBef>
                <a:spcPct val="0"/>
              </a:spcBef>
              <a:spcAft>
                <a:spcPct val="0"/>
              </a:spcAft>
              <a:defRPr sz="2000">
                <a:solidFill>
                  <a:schemeClr val="tx1"/>
                </a:solidFill>
                <a:latin typeface="Arial" pitchFamily="34" charset="0"/>
              </a:defRPr>
            </a:lvl6pPr>
            <a:lvl7pPr marL="2971365" indent="-228567" algn="ctr" eaLnBrk="0" fontAlgn="base" hangingPunct="0">
              <a:spcBef>
                <a:spcPct val="0"/>
              </a:spcBef>
              <a:spcAft>
                <a:spcPct val="0"/>
              </a:spcAft>
              <a:defRPr sz="2000">
                <a:solidFill>
                  <a:schemeClr val="tx1"/>
                </a:solidFill>
                <a:latin typeface="Arial" pitchFamily="34" charset="0"/>
              </a:defRPr>
            </a:lvl7pPr>
            <a:lvl8pPr marL="3428498" indent="-228567" algn="ctr" eaLnBrk="0" fontAlgn="base" hangingPunct="0">
              <a:spcBef>
                <a:spcPct val="0"/>
              </a:spcBef>
              <a:spcAft>
                <a:spcPct val="0"/>
              </a:spcAft>
              <a:defRPr sz="2000">
                <a:solidFill>
                  <a:schemeClr val="tx1"/>
                </a:solidFill>
                <a:latin typeface="Arial" pitchFamily="34" charset="0"/>
              </a:defRPr>
            </a:lvl8pPr>
            <a:lvl9pPr marL="3885631" indent="-228567"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solidFill>
                  <a:srgbClr val="000000"/>
                </a:solidFill>
              </a:rPr>
              <a:t>2015-01-19 </a:t>
            </a:r>
            <a:endParaRPr lang="en-US" sz="1200">
              <a:solidFill>
                <a:srgbClr val="000000"/>
              </a:solidFill>
            </a:endParaRPr>
          </a:p>
        </p:txBody>
      </p:sp>
      <p:sp>
        <p:nvSpPr>
          <p:cNvPr id="655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defRPr>
            </a:lvl1pPr>
            <a:lvl2pPr marL="742841" indent="-285708" eaLnBrk="0" hangingPunct="0">
              <a:defRPr sz="2000">
                <a:solidFill>
                  <a:schemeClr val="tx1"/>
                </a:solidFill>
                <a:latin typeface="Arial" pitchFamily="34" charset="0"/>
              </a:defRPr>
            </a:lvl2pPr>
            <a:lvl3pPr marL="1142833" indent="-228567" eaLnBrk="0" hangingPunct="0">
              <a:defRPr sz="2000">
                <a:solidFill>
                  <a:schemeClr val="tx1"/>
                </a:solidFill>
                <a:latin typeface="Arial" pitchFamily="34" charset="0"/>
              </a:defRPr>
            </a:lvl3pPr>
            <a:lvl4pPr marL="1599966" indent="-228567" eaLnBrk="0" hangingPunct="0">
              <a:defRPr sz="2000">
                <a:solidFill>
                  <a:schemeClr val="tx1"/>
                </a:solidFill>
                <a:latin typeface="Arial" pitchFamily="34" charset="0"/>
              </a:defRPr>
            </a:lvl4pPr>
            <a:lvl5pPr marL="2057098" indent="-228567" eaLnBrk="0" hangingPunct="0">
              <a:defRPr sz="2000">
                <a:solidFill>
                  <a:schemeClr val="tx1"/>
                </a:solidFill>
                <a:latin typeface="Arial" pitchFamily="34" charset="0"/>
              </a:defRPr>
            </a:lvl5pPr>
            <a:lvl6pPr marL="2514231" indent="-228567" algn="ctr" eaLnBrk="0" fontAlgn="base" hangingPunct="0">
              <a:spcBef>
                <a:spcPct val="0"/>
              </a:spcBef>
              <a:spcAft>
                <a:spcPct val="0"/>
              </a:spcAft>
              <a:defRPr sz="2000">
                <a:solidFill>
                  <a:schemeClr val="tx1"/>
                </a:solidFill>
                <a:latin typeface="Arial" pitchFamily="34" charset="0"/>
              </a:defRPr>
            </a:lvl6pPr>
            <a:lvl7pPr marL="2971365" indent="-228567" algn="ctr" eaLnBrk="0" fontAlgn="base" hangingPunct="0">
              <a:spcBef>
                <a:spcPct val="0"/>
              </a:spcBef>
              <a:spcAft>
                <a:spcPct val="0"/>
              </a:spcAft>
              <a:defRPr sz="2000">
                <a:solidFill>
                  <a:schemeClr val="tx1"/>
                </a:solidFill>
                <a:latin typeface="Arial" pitchFamily="34" charset="0"/>
              </a:defRPr>
            </a:lvl7pPr>
            <a:lvl8pPr marL="3428498" indent="-228567" algn="ctr" eaLnBrk="0" fontAlgn="base" hangingPunct="0">
              <a:spcBef>
                <a:spcPct val="0"/>
              </a:spcBef>
              <a:spcAft>
                <a:spcPct val="0"/>
              </a:spcAft>
              <a:defRPr sz="2000">
                <a:solidFill>
                  <a:schemeClr val="tx1"/>
                </a:solidFill>
                <a:latin typeface="Arial" pitchFamily="34" charset="0"/>
              </a:defRPr>
            </a:lvl8pPr>
            <a:lvl9pPr marL="3885631" indent="-228567" algn="ctr" eaLnBrk="0" fontAlgn="base" hangingPunct="0">
              <a:spcBef>
                <a:spcPct val="0"/>
              </a:spcBef>
              <a:spcAft>
                <a:spcPct val="0"/>
              </a:spcAft>
              <a:defRPr sz="2000">
                <a:solidFill>
                  <a:schemeClr val="tx1"/>
                </a:solidFill>
                <a:latin typeface="Arial" pitchFamily="34" charset="0"/>
              </a:defRPr>
            </a:lvl9pPr>
          </a:lstStyle>
          <a:p>
            <a:pPr eaLnBrk="1" hangingPunct="1"/>
            <a:fld id="{9321E1E3-2124-4F17-A46A-0C5BD6A5F90D}" type="slidenum">
              <a:rPr lang="en-US" sz="1200" smtClean="0">
                <a:solidFill>
                  <a:srgbClr val="000000"/>
                </a:solidFill>
              </a:rPr>
              <a:t>39</a:t>
            </a:fld>
            <a:endParaRPr lang="en-US" sz="1200">
              <a:solidFill>
                <a:srgbClr val="000000"/>
              </a:solidFill>
            </a:endParaRPr>
          </a:p>
        </p:txBody>
      </p:sp>
      <p:sp>
        <p:nvSpPr>
          <p:cNvPr id="65542" name="Header Placeholder 5"/>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841" indent="-285708" eaLnBrk="0" hangingPunct="0">
              <a:defRPr sz="2000">
                <a:solidFill>
                  <a:schemeClr val="tx1"/>
                </a:solidFill>
                <a:latin typeface="Arial" pitchFamily="34" charset="0"/>
              </a:defRPr>
            </a:lvl2pPr>
            <a:lvl3pPr marL="1142833" indent="-228567" eaLnBrk="0" hangingPunct="0">
              <a:defRPr sz="2000">
                <a:solidFill>
                  <a:schemeClr val="tx1"/>
                </a:solidFill>
                <a:latin typeface="Arial" pitchFamily="34" charset="0"/>
              </a:defRPr>
            </a:lvl3pPr>
            <a:lvl4pPr marL="1599966" indent="-228567" eaLnBrk="0" hangingPunct="0">
              <a:defRPr sz="2000">
                <a:solidFill>
                  <a:schemeClr val="tx1"/>
                </a:solidFill>
                <a:latin typeface="Arial" pitchFamily="34" charset="0"/>
              </a:defRPr>
            </a:lvl4pPr>
            <a:lvl5pPr marL="2057098" indent="-228567" eaLnBrk="0" hangingPunct="0">
              <a:defRPr sz="2000">
                <a:solidFill>
                  <a:schemeClr val="tx1"/>
                </a:solidFill>
                <a:latin typeface="Arial" pitchFamily="34" charset="0"/>
              </a:defRPr>
            </a:lvl5pPr>
            <a:lvl6pPr marL="2514231" indent="-228567" algn="ctr" eaLnBrk="0" fontAlgn="base" hangingPunct="0">
              <a:spcBef>
                <a:spcPct val="0"/>
              </a:spcBef>
              <a:spcAft>
                <a:spcPct val="0"/>
              </a:spcAft>
              <a:defRPr sz="2000">
                <a:solidFill>
                  <a:schemeClr val="tx1"/>
                </a:solidFill>
                <a:latin typeface="Arial" pitchFamily="34" charset="0"/>
              </a:defRPr>
            </a:lvl6pPr>
            <a:lvl7pPr marL="2971365" indent="-228567" algn="ctr" eaLnBrk="0" fontAlgn="base" hangingPunct="0">
              <a:spcBef>
                <a:spcPct val="0"/>
              </a:spcBef>
              <a:spcAft>
                <a:spcPct val="0"/>
              </a:spcAft>
              <a:defRPr sz="2000">
                <a:solidFill>
                  <a:schemeClr val="tx1"/>
                </a:solidFill>
                <a:latin typeface="Arial" pitchFamily="34" charset="0"/>
              </a:defRPr>
            </a:lvl7pPr>
            <a:lvl8pPr marL="3428498" indent="-228567" algn="ctr" eaLnBrk="0" fontAlgn="base" hangingPunct="0">
              <a:spcBef>
                <a:spcPct val="0"/>
              </a:spcBef>
              <a:spcAft>
                <a:spcPct val="0"/>
              </a:spcAft>
              <a:defRPr sz="2000">
                <a:solidFill>
                  <a:schemeClr val="tx1"/>
                </a:solidFill>
                <a:latin typeface="Arial" pitchFamily="34" charset="0"/>
              </a:defRPr>
            </a:lvl8pPr>
            <a:lvl9pPr marL="3885631" indent="-228567"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solidFill>
                  <a:srgbClr val="000000"/>
                </a:solidFill>
              </a:rPr>
              <a:t>2015 User Webinar: Ericsson Catalog Manager &amp; Ericsson Order Care </a:t>
            </a:r>
            <a:endParaRPr lang="en-US" sz="1200">
              <a:solidFill>
                <a:srgbClr val="000000"/>
              </a:solidFill>
            </a:endParaRPr>
          </a:p>
        </p:txBody>
      </p:sp>
      <p:sp>
        <p:nvSpPr>
          <p:cNvPr id="655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841" indent="-285708" eaLnBrk="0" hangingPunct="0">
              <a:defRPr sz="2000">
                <a:solidFill>
                  <a:schemeClr val="tx1"/>
                </a:solidFill>
                <a:latin typeface="Arial" pitchFamily="34" charset="0"/>
              </a:defRPr>
            </a:lvl2pPr>
            <a:lvl3pPr marL="1142833" indent="-228567" eaLnBrk="0" hangingPunct="0">
              <a:defRPr sz="2000">
                <a:solidFill>
                  <a:schemeClr val="tx1"/>
                </a:solidFill>
                <a:latin typeface="Arial" pitchFamily="34" charset="0"/>
              </a:defRPr>
            </a:lvl3pPr>
            <a:lvl4pPr marL="1599966" indent="-228567" eaLnBrk="0" hangingPunct="0">
              <a:defRPr sz="2000">
                <a:solidFill>
                  <a:schemeClr val="tx1"/>
                </a:solidFill>
                <a:latin typeface="Arial" pitchFamily="34" charset="0"/>
              </a:defRPr>
            </a:lvl4pPr>
            <a:lvl5pPr marL="2057098" indent="-228567" eaLnBrk="0" hangingPunct="0">
              <a:defRPr sz="2000">
                <a:solidFill>
                  <a:schemeClr val="tx1"/>
                </a:solidFill>
                <a:latin typeface="Arial" pitchFamily="34" charset="0"/>
              </a:defRPr>
            </a:lvl5pPr>
            <a:lvl6pPr marL="2514231" indent="-228567" algn="ctr" eaLnBrk="0" fontAlgn="base" hangingPunct="0">
              <a:spcBef>
                <a:spcPct val="0"/>
              </a:spcBef>
              <a:spcAft>
                <a:spcPct val="0"/>
              </a:spcAft>
              <a:defRPr sz="2000">
                <a:solidFill>
                  <a:schemeClr val="tx1"/>
                </a:solidFill>
                <a:latin typeface="Arial" pitchFamily="34" charset="0"/>
              </a:defRPr>
            </a:lvl6pPr>
            <a:lvl7pPr marL="2971365" indent="-228567" algn="ctr" eaLnBrk="0" fontAlgn="base" hangingPunct="0">
              <a:spcBef>
                <a:spcPct val="0"/>
              </a:spcBef>
              <a:spcAft>
                <a:spcPct val="0"/>
              </a:spcAft>
              <a:defRPr sz="2000">
                <a:solidFill>
                  <a:schemeClr val="tx1"/>
                </a:solidFill>
                <a:latin typeface="Arial" pitchFamily="34" charset="0"/>
              </a:defRPr>
            </a:lvl7pPr>
            <a:lvl8pPr marL="3428498" indent="-228567" algn="ctr" eaLnBrk="0" fontAlgn="base" hangingPunct="0">
              <a:spcBef>
                <a:spcPct val="0"/>
              </a:spcBef>
              <a:spcAft>
                <a:spcPct val="0"/>
              </a:spcAft>
              <a:defRPr sz="2000">
                <a:solidFill>
                  <a:schemeClr val="tx1"/>
                </a:solidFill>
                <a:latin typeface="Arial" pitchFamily="34" charset="0"/>
              </a:defRPr>
            </a:lvl8pPr>
            <a:lvl9pPr marL="3885631" indent="-228567"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solidFill>
                  <a:srgbClr val="000000"/>
                </a:solidFill>
              </a:rPr>
              <a:t> </a:t>
            </a:r>
            <a:endParaRPr lang="en-US" sz="1200">
              <a:solidFill>
                <a:srgbClr val="000000"/>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Rectangle 3"/>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567" indent="-228567">
              <a:buFontTx/>
              <a:buAutoNum type="arabicParenBoth"/>
              <a:defRPr/>
            </a:pPr>
            <a:r>
              <a:rPr lang="es-ES_tradnl" dirty="0" err="1" smtClean="0">
                <a:latin typeface="Arial" pitchFamily="34" charset="0"/>
              </a:rPr>
              <a:t>Analysis</a:t>
            </a:r>
            <a:r>
              <a:rPr lang="es-ES_tradnl" dirty="0" smtClean="0">
                <a:latin typeface="Arial" pitchFamily="34" charset="0"/>
              </a:rPr>
              <a:t> Mason 2014 </a:t>
            </a:r>
            <a:r>
              <a:rPr lang="es-ES_tradnl" dirty="0" err="1" smtClean="0">
                <a:latin typeface="Arial" pitchFamily="34" charset="0"/>
              </a:rPr>
              <a:t>Fulfillment</a:t>
            </a:r>
            <a:r>
              <a:rPr lang="es-ES_tradnl" dirty="0" smtClean="0">
                <a:latin typeface="Arial" pitchFamily="34" charset="0"/>
              </a:rPr>
              <a:t> </a:t>
            </a:r>
            <a:r>
              <a:rPr lang="es-ES_tradnl" dirty="0" err="1" smtClean="0">
                <a:latin typeface="Arial" pitchFamily="34" charset="0"/>
              </a:rPr>
              <a:t>Market</a:t>
            </a:r>
            <a:r>
              <a:rPr lang="es-ES_tradnl" dirty="0" smtClean="0">
                <a:latin typeface="Arial" pitchFamily="34" charset="0"/>
              </a:rPr>
              <a:t> drivers:</a:t>
            </a:r>
            <a:endParaRPr lang="en-US" dirty="0" smtClean="0"/>
          </a:p>
          <a:p>
            <a:pPr>
              <a:defRPr/>
            </a:pPr>
            <a:endParaRPr lang="en-US" dirty="0" smtClean="0"/>
          </a:p>
          <a:p>
            <a:pPr marL="171424" indent="-171424">
              <a:buFont typeface="Arial" panose="020B0604020202020204" pitchFamily="34" charset="0"/>
              <a:buChar char="•"/>
              <a:defRPr/>
            </a:pPr>
            <a:r>
              <a:rPr lang="en-US" dirty="0" smtClean="0"/>
              <a:t>Increasing subscriber numbers in emerging markets and for new-generation technology services </a:t>
            </a:r>
          </a:p>
          <a:p>
            <a:pPr marL="171424" indent="-171424">
              <a:buFont typeface="Arial" panose="020B0604020202020204" pitchFamily="34" charset="0"/>
              <a:buChar char="•"/>
              <a:defRPr/>
            </a:pPr>
            <a:r>
              <a:rPr lang="en-US" dirty="0" smtClean="0"/>
              <a:t>Growth in the number of connected devices </a:t>
            </a:r>
          </a:p>
          <a:p>
            <a:pPr marL="171424" indent="-171424">
              <a:buFont typeface="Arial" panose="020B0604020202020204" pitchFamily="34" charset="0"/>
              <a:buChar char="•"/>
              <a:defRPr/>
            </a:pPr>
            <a:r>
              <a:rPr lang="en-US" dirty="0" smtClean="0"/>
              <a:t>CSP initiatives to counter OTT services </a:t>
            </a:r>
          </a:p>
          <a:p>
            <a:pPr marL="171424" indent="-171424">
              <a:buFont typeface="Arial" panose="020B0604020202020204" pitchFamily="34" charset="0"/>
              <a:buChar char="•"/>
              <a:defRPr/>
            </a:pPr>
            <a:r>
              <a:rPr lang="en-US" dirty="0" smtClean="0"/>
              <a:t>Take-up of M2M services </a:t>
            </a:r>
          </a:p>
          <a:p>
            <a:pPr marL="171424" indent="-171424">
              <a:buFont typeface="Arial" panose="020B0604020202020204" pitchFamily="34" charset="0"/>
              <a:buChar char="•"/>
              <a:defRPr/>
            </a:pPr>
            <a:r>
              <a:rPr lang="en-US" dirty="0" smtClean="0"/>
              <a:t>New packet network technology deployments </a:t>
            </a:r>
          </a:p>
          <a:p>
            <a:pPr marL="171424" indent="-171424">
              <a:buFont typeface="Arial" panose="020B0604020202020204" pitchFamily="34" charset="0"/>
              <a:buChar char="•"/>
              <a:defRPr/>
            </a:pPr>
            <a:r>
              <a:rPr lang="en-US" dirty="0" smtClean="0"/>
              <a:t>System convergence </a:t>
            </a:r>
          </a:p>
          <a:p>
            <a:pPr marL="171424" indent="-171424">
              <a:buFont typeface="Arial" panose="020B0604020202020204" pitchFamily="34" charset="0"/>
              <a:buChar char="•"/>
              <a:defRPr/>
            </a:pPr>
            <a:r>
              <a:rPr lang="en-US" dirty="0" smtClean="0"/>
              <a:t>Investments in automation to reduce </a:t>
            </a:r>
            <a:r>
              <a:rPr lang="en-US" dirty="0" err="1" smtClean="0"/>
              <a:t>opex</a:t>
            </a:r>
            <a:r>
              <a:rPr lang="en-US" dirty="0" smtClean="0"/>
              <a:t> </a:t>
            </a:r>
          </a:p>
          <a:p>
            <a:pPr marL="171424" indent="-171424">
              <a:buFont typeface="Arial" panose="020B0604020202020204" pitchFamily="34" charset="0"/>
              <a:buChar char="•"/>
              <a:defRPr/>
            </a:pPr>
            <a:r>
              <a:rPr lang="en-US" dirty="0" smtClean="0"/>
              <a:t>‘Double-sided’ business models </a:t>
            </a:r>
          </a:p>
          <a:p>
            <a:pPr marL="171424" indent="-171424">
              <a:buFont typeface="Arial" panose="020B0604020202020204" pitchFamily="34" charset="0"/>
              <a:buChar char="•"/>
              <a:defRPr/>
            </a:pPr>
            <a:r>
              <a:rPr lang="en-US" dirty="0" smtClean="0"/>
              <a:t>Focus on enterprise and SME markets </a:t>
            </a:r>
          </a:p>
          <a:p>
            <a:pPr marL="171424" indent="-171424">
              <a:buFont typeface="Arial" panose="020B0604020202020204" pitchFamily="34" charset="0"/>
              <a:buChar char="•"/>
              <a:defRPr/>
            </a:pPr>
            <a:r>
              <a:rPr lang="en-US" dirty="0" smtClean="0"/>
              <a:t>National broadband infrastructure stimulus </a:t>
            </a:r>
            <a:r>
              <a:rPr lang="en-US" dirty="0" err="1" smtClean="0"/>
              <a:t>programmes</a:t>
            </a:r>
            <a:r>
              <a:rPr lang="en-US" dirty="0" smtClean="0"/>
              <a:t> </a:t>
            </a:r>
          </a:p>
          <a:p>
            <a:pPr marL="171424" indent="-171424">
              <a:buFont typeface="Arial" panose="020B0604020202020204" pitchFamily="34" charset="0"/>
              <a:buChar char="•"/>
              <a:defRPr/>
            </a:pPr>
            <a:r>
              <a:rPr lang="en-US" dirty="0" smtClean="0"/>
              <a:t>CSPs offering cloud services </a:t>
            </a:r>
          </a:p>
        </p:txBody>
      </p:sp>
      <p:sp>
        <p:nvSpPr>
          <p:cNvPr id="36868" name="Slide Number Placeholder 1"/>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fld id="{2C956A75-DD6F-4BF8-A160-B4D771B1E34C}" type="slidenum">
              <a:rPr lang="en-US" sz="1200" smtClean="0">
                <a:solidFill>
                  <a:srgbClr val="000000"/>
                </a:solidFill>
              </a:rPr>
              <a:t>4</a:t>
            </a:fld>
            <a:endParaRPr lang="en-US" sz="1200">
              <a:solidFill>
                <a:srgbClr val="000000"/>
              </a:solidFill>
            </a:endParaRPr>
          </a:p>
        </p:txBody>
      </p:sp>
      <p:sp>
        <p:nvSpPr>
          <p:cNvPr id="36869" name="Header Placeholder 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solidFill>
                  <a:srgbClr val="000000"/>
                </a:solidFill>
              </a:rPr>
              <a:t>2015 User Webinar: Ericsson Catalog Manager &amp; Ericsson Order Care </a:t>
            </a:r>
            <a:endParaRPr lang="en-US" sz="1200">
              <a:solidFill>
                <a:srgbClr val="000000"/>
              </a:solidFill>
            </a:endParaRPr>
          </a:p>
        </p:txBody>
      </p:sp>
      <p:sp>
        <p:nvSpPr>
          <p:cNvPr id="36870" name="Footer Placeholder 3"/>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solidFill>
                  <a:srgbClr val="000000"/>
                </a:solidFill>
              </a:rPr>
              <a:t> </a:t>
            </a:r>
            <a:endParaRPr lang="en-US" sz="1200">
              <a:solidFill>
                <a:srgbClr val="000000"/>
              </a:solidFill>
            </a:endParaRPr>
          </a:p>
        </p:txBody>
      </p:sp>
      <p:sp>
        <p:nvSpPr>
          <p:cNvPr id="36871"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solidFill>
                  <a:srgbClr val="000000"/>
                </a:solidFill>
              </a:rPr>
              <a:t>2015-01-19 </a:t>
            </a:r>
            <a:endParaRPr lang="en-US" sz="1200">
              <a:solidFill>
                <a:srgbClr val="000000"/>
              </a:solidFil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smtClean="0">
              <a:ea typeface="ＭＳ Ｐゴシック" pitchFamily="34" charset="-128"/>
            </a:endParaRPr>
          </a:p>
        </p:txBody>
      </p:sp>
      <p:sp>
        <p:nvSpPr>
          <p:cNvPr id="28676" name="Date Placeholder 3"/>
          <p:cNvSpPr>
            <a:spLocks noGrp="1"/>
          </p:cNvSpPr>
          <p:nvPr>
            <p:ph type="dt" sz="quarter"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50000"/>
              </a:spcBef>
              <a:defRPr sz="2000">
                <a:solidFill>
                  <a:schemeClr val="tx1"/>
                </a:solidFill>
                <a:latin typeface="Arial" pitchFamily="34" charset="0"/>
              </a:defRPr>
            </a:lvl1pPr>
            <a:lvl2pPr marL="742733" indent="-285666" eaLnBrk="0" hangingPunct="0">
              <a:spcBef>
                <a:spcPct val="50000"/>
              </a:spcBef>
              <a:defRPr sz="2000">
                <a:solidFill>
                  <a:schemeClr val="tx1"/>
                </a:solidFill>
                <a:latin typeface="Arial" pitchFamily="34" charset="0"/>
              </a:defRPr>
            </a:lvl2pPr>
            <a:lvl3pPr marL="1142666" indent="-228533" eaLnBrk="0" hangingPunct="0">
              <a:spcBef>
                <a:spcPct val="50000"/>
              </a:spcBef>
              <a:defRPr sz="2000">
                <a:solidFill>
                  <a:schemeClr val="tx1"/>
                </a:solidFill>
                <a:latin typeface="Arial" pitchFamily="34" charset="0"/>
              </a:defRPr>
            </a:lvl3pPr>
            <a:lvl4pPr marL="1599731" indent="-228533" eaLnBrk="0" hangingPunct="0">
              <a:spcBef>
                <a:spcPct val="50000"/>
              </a:spcBef>
              <a:defRPr sz="2000">
                <a:solidFill>
                  <a:schemeClr val="tx1"/>
                </a:solidFill>
                <a:latin typeface="Arial" pitchFamily="34" charset="0"/>
              </a:defRPr>
            </a:lvl4pPr>
            <a:lvl5pPr marL="2056797" indent="-228533" eaLnBrk="0" hangingPunct="0">
              <a:spcBef>
                <a:spcPct val="50000"/>
              </a:spcBef>
              <a:defRPr sz="2000">
                <a:solidFill>
                  <a:schemeClr val="tx1"/>
                </a:solidFill>
                <a:latin typeface="Arial" pitchFamily="34" charset="0"/>
              </a:defRPr>
            </a:lvl5pPr>
            <a:lvl6pPr marL="2513863" indent="-228533" eaLnBrk="0" fontAlgn="base" hangingPunct="0">
              <a:spcBef>
                <a:spcPct val="50000"/>
              </a:spcBef>
              <a:spcAft>
                <a:spcPct val="0"/>
              </a:spcAft>
              <a:defRPr sz="2000">
                <a:solidFill>
                  <a:schemeClr val="tx1"/>
                </a:solidFill>
                <a:latin typeface="Arial" pitchFamily="34" charset="0"/>
              </a:defRPr>
            </a:lvl6pPr>
            <a:lvl7pPr marL="2970929" indent="-228533" eaLnBrk="0" fontAlgn="base" hangingPunct="0">
              <a:spcBef>
                <a:spcPct val="50000"/>
              </a:spcBef>
              <a:spcAft>
                <a:spcPct val="0"/>
              </a:spcAft>
              <a:defRPr sz="2000">
                <a:solidFill>
                  <a:schemeClr val="tx1"/>
                </a:solidFill>
                <a:latin typeface="Arial" pitchFamily="34" charset="0"/>
              </a:defRPr>
            </a:lvl7pPr>
            <a:lvl8pPr marL="3427996" indent="-228533" eaLnBrk="0" fontAlgn="base" hangingPunct="0">
              <a:spcBef>
                <a:spcPct val="50000"/>
              </a:spcBef>
              <a:spcAft>
                <a:spcPct val="0"/>
              </a:spcAft>
              <a:defRPr sz="2000">
                <a:solidFill>
                  <a:schemeClr val="tx1"/>
                </a:solidFill>
                <a:latin typeface="Arial" pitchFamily="34" charset="0"/>
              </a:defRPr>
            </a:lvl8pPr>
            <a:lvl9pPr marL="3885062" indent="-228533" eaLnBrk="0" fontAlgn="base" hangingPunct="0">
              <a:spcBef>
                <a:spcPct val="50000"/>
              </a:spcBef>
              <a:spcAft>
                <a:spcPct val="0"/>
              </a:spcAft>
              <a:defRPr sz="2000">
                <a:solidFill>
                  <a:schemeClr val="tx1"/>
                </a:solidFill>
                <a:latin typeface="Arial" pitchFamily="34" charset="0"/>
              </a:defRPr>
            </a:lvl9pPr>
          </a:lstStyle>
          <a:p>
            <a:pPr eaLnBrk="1" hangingPunct="1">
              <a:defRPr/>
            </a:pPr>
            <a:r>
              <a:rPr lang="en-US" sz="1200" smtClean="0"/>
              <a:t>2015-01-19 </a:t>
            </a:r>
            <a:endParaRPr lang="en-US" sz="1200" dirty="0"/>
          </a:p>
        </p:txBody>
      </p:sp>
      <p:sp>
        <p:nvSpPr>
          <p:cNvPr id="71685"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pitchFamily="34" charset="-128"/>
              </a:defRPr>
            </a:lvl1pPr>
            <a:lvl2pPr marL="751830" indent="-289166" eaLnBrk="0" hangingPunct="0">
              <a:defRPr sz="2000">
                <a:solidFill>
                  <a:schemeClr val="tx1"/>
                </a:solidFill>
                <a:latin typeface="Arial" charset="0"/>
                <a:ea typeface="ＭＳ Ｐゴシック" pitchFamily="34" charset="-128"/>
              </a:defRPr>
            </a:lvl2pPr>
            <a:lvl3pPr marL="1156660" indent="-231332" eaLnBrk="0" hangingPunct="0">
              <a:defRPr sz="2000">
                <a:solidFill>
                  <a:schemeClr val="tx1"/>
                </a:solidFill>
                <a:latin typeface="Arial" charset="0"/>
                <a:ea typeface="ＭＳ Ｐゴシック" pitchFamily="34" charset="-128"/>
              </a:defRPr>
            </a:lvl3pPr>
            <a:lvl4pPr marL="1619325" indent="-231332" eaLnBrk="0" hangingPunct="0">
              <a:defRPr sz="2000">
                <a:solidFill>
                  <a:schemeClr val="tx1"/>
                </a:solidFill>
                <a:latin typeface="Arial" charset="0"/>
                <a:ea typeface="ＭＳ Ｐゴシック" pitchFamily="34" charset="-128"/>
              </a:defRPr>
            </a:lvl4pPr>
            <a:lvl5pPr marL="2081990" indent="-231332" eaLnBrk="0" hangingPunct="0">
              <a:defRPr sz="2000">
                <a:solidFill>
                  <a:schemeClr val="tx1"/>
                </a:solidFill>
                <a:latin typeface="Arial" charset="0"/>
                <a:ea typeface="ＭＳ Ｐゴシック" pitchFamily="34" charset="-128"/>
              </a:defRPr>
            </a:lvl5pPr>
            <a:lvl6pPr marL="2544654" indent="-231332" eaLnBrk="0" fontAlgn="base" hangingPunct="0">
              <a:spcBef>
                <a:spcPct val="0"/>
              </a:spcBef>
              <a:spcAft>
                <a:spcPct val="0"/>
              </a:spcAft>
              <a:defRPr sz="2000">
                <a:solidFill>
                  <a:schemeClr val="tx1"/>
                </a:solidFill>
                <a:latin typeface="Arial" charset="0"/>
                <a:ea typeface="ＭＳ Ｐゴシック" pitchFamily="34" charset="-128"/>
              </a:defRPr>
            </a:lvl6pPr>
            <a:lvl7pPr marL="3007319" indent="-231332" eaLnBrk="0" fontAlgn="base" hangingPunct="0">
              <a:spcBef>
                <a:spcPct val="0"/>
              </a:spcBef>
              <a:spcAft>
                <a:spcPct val="0"/>
              </a:spcAft>
              <a:defRPr sz="2000">
                <a:solidFill>
                  <a:schemeClr val="tx1"/>
                </a:solidFill>
                <a:latin typeface="Arial" charset="0"/>
                <a:ea typeface="ＭＳ Ｐゴシック" pitchFamily="34" charset="-128"/>
              </a:defRPr>
            </a:lvl7pPr>
            <a:lvl8pPr marL="3469983" indent="-231332" eaLnBrk="0" fontAlgn="base" hangingPunct="0">
              <a:spcBef>
                <a:spcPct val="0"/>
              </a:spcBef>
              <a:spcAft>
                <a:spcPct val="0"/>
              </a:spcAft>
              <a:defRPr sz="2000">
                <a:solidFill>
                  <a:schemeClr val="tx1"/>
                </a:solidFill>
                <a:latin typeface="Arial" charset="0"/>
                <a:ea typeface="ＭＳ Ｐゴシック" pitchFamily="34" charset="-128"/>
              </a:defRPr>
            </a:lvl8pPr>
            <a:lvl9pPr marL="3932647" indent="-231332"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fld id="{7942C4C0-283C-4F7B-B73F-B2A3697E8509}" type="slidenum">
              <a:rPr lang="en-US" sz="1200" smtClean="0">
                <a:cs typeface="Arial" charset="0"/>
              </a:rPr>
              <a:t>40</a:t>
            </a:fld>
            <a:endParaRPr lang="en-US" sz="1200">
              <a:cs typeface="Arial" charset="0"/>
            </a:endParaRPr>
          </a:p>
        </p:txBody>
      </p:sp>
      <p:sp>
        <p:nvSpPr>
          <p:cNvPr id="28678" name="Header Placeholder 5"/>
          <p:cNvSpPr>
            <a:spLocks noGrp="1"/>
          </p:cNvSpPr>
          <p:nvPr>
            <p:ph type="hdr" sz="quarter"/>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50000"/>
              </a:spcBef>
              <a:defRPr sz="2000">
                <a:solidFill>
                  <a:schemeClr val="tx1"/>
                </a:solidFill>
                <a:latin typeface="Arial" pitchFamily="34" charset="0"/>
              </a:defRPr>
            </a:lvl1pPr>
            <a:lvl2pPr marL="742733" indent="-285666" eaLnBrk="0" hangingPunct="0">
              <a:spcBef>
                <a:spcPct val="50000"/>
              </a:spcBef>
              <a:defRPr sz="2000">
                <a:solidFill>
                  <a:schemeClr val="tx1"/>
                </a:solidFill>
                <a:latin typeface="Arial" pitchFamily="34" charset="0"/>
              </a:defRPr>
            </a:lvl2pPr>
            <a:lvl3pPr marL="1142666" indent="-228533" eaLnBrk="0" hangingPunct="0">
              <a:spcBef>
                <a:spcPct val="50000"/>
              </a:spcBef>
              <a:defRPr sz="2000">
                <a:solidFill>
                  <a:schemeClr val="tx1"/>
                </a:solidFill>
                <a:latin typeface="Arial" pitchFamily="34" charset="0"/>
              </a:defRPr>
            </a:lvl3pPr>
            <a:lvl4pPr marL="1599731" indent="-228533" eaLnBrk="0" hangingPunct="0">
              <a:spcBef>
                <a:spcPct val="50000"/>
              </a:spcBef>
              <a:defRPr sz="2000">
                <a:solidFill>
                  <a:schemeClr val="tx1"/>
                </a:solidFill>
                <a:latin typeface="Arial" pitchFamily="34" charset="0"/>
              </a:defRPr>
            </a:lvl4pPr>
            <a:lvl5pPr marL="2056797" indent="-228533" eaLnBrk="0" hangingPunct="0">
              <a:spcBef>
                <a:spcPct val="50000"/>
              </a:spcBef>
              <a:defRPr sz="2000">
                <a:solidFill>
                  <a:schemeClr val="tx1"/>
                </a:solidFill>
                <a:latin typeface="Arial" pitchFamily="34" charset="0"/>
              </a:defRPr>
            </a:lvl5pPr>
            <a:lvl6pPr marL="2513863" indent="-228533" eaLnBrk="0" fontAlgn="base" hangingPunct="0">
              <a:spcBef>
                <a:spcPct val="50000"/>
              </a:spcBef>
              <a:spcAft>
                <a:spcPct val="0"/>
              </a:spcAft>
              <a:defRPr sz="2000">
                <a:solidFill>
                  <a:schemeClr val="tx1"/>
                </a:solidFill>
                <a:latin typeface="Arial" pitchFamily="34" charset="0"/>
              </a:defRPr>
            </a:lvl6pPr>
            <a:lvl7pPr marL="2970929" indent="-228533" eaLnBrk="0" fontAlgn="base" hangingPunct="0">
              <a:spcBef>
                <a:spcPct val="50000"/>
              </a:spcBef>
              <a:spcAft>
                <a:spcPct val="0"/>
              </a:spcAft>
              <a:defRPr sz="2000">
                <a:solidFill>
                  <a:schemeClr val="tx1"/>
                </a:solidFill>
                <a:latin typeface="Arial" pitchFamily="34" charset="0"/>
              </a:defRPr>
            </a:lvl7pPr>
            <a:lvl8pPr marL="3427996" indent="-228533" eaLnBrk="0" fontAlgn="base" hangingPunct="0">
              <a:spcBef>
                <a:spcPct val="50000"/>
              </a:spcBef>
              <a:spcAft>
                <a:spcPct val="0"/>
              </a:spcAft>
              <a:defRPr sz="2000">
                <a:solidFill>
                  <a:schemeClr val="tx1"/>
                </a:solidFill>
                <a:latin typeface="Arial" pitchFamily="34" charset="0"/>
              </a:defRPr>
            </a:lvl8pPr>
            <a:lvl9pPr marL="3885062" indent="-228533" eaLnBrk="0" fontAlgn="base" hangingPunct="0">
              <a:spcBef>
                <a:spcPct val="50000"/>
              </a:spcBef>
              <a:spcAft>
                <a:spcPct val="0"/>
              </a:spcAft>
              <a:defRPr sz="2000">
                <a:solidFill>
                  <a:schemeClr val="tx1"/>
                </a:solidFill>
                <a:latin typeface="Arial" pitchFamily="34" charset="0"/>
              </a:defRPr>
            </a:lvl9pPr>
          </a:lstStyle>
          <a:p>
            <a:pPr eaLnBrk="1" hangingPunct="1">
              <a:defRPr/>
            </a:pPr>
            <a:r>
              <a:rPr lang="en-US" sz="1200" smtClean="0"/>
              <a:t>2015 User Webinar: Ericsson Catalog Manager &amp; Ericsson Order Care </a:t>
            </a:r>
            <a:endParaRPr lang="en-US" sz="1200" dirty="0"/>
          </a:p>
        </p:txBody>
      </p:sp>
      <p:sp>
        <p:nvSpPr>
          <p:cNvPr id="28679" name="Footer Placeholder 6"/>
          <p:cNvSpPr>
            <a:spLocks noGrp="1"/>
          </p:cNvSpPr>
          <p:nvPr>
            <p:ph type="ftr" sz="quarter" idx="4"/>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50000"/>
              </a:spcBef>
              <a:defRPr sz="2000">
                <a:solidFill>
                  <a:schemeClr val="tx1"/>
                </a:solidFill>
                <a:latin typeface="Arial" pitchFamily="34" charset="0"/>
              </a:defRPr>
            </a:lvl1pPr>
            <a:lvl2pPr marL="742733" indent="-285666" eaLnBrk="0" hangingPunct="0">
              <a:spcBef>
                <a:spcPct val="50000"/>
              </a:spcBef>
              <a:defRPr sz="2000">
                <a:solidFill>
                  <a:schemeClr val="tx1"/>
                </a:solidFill>
                <a:latin typeface="Arial" pitchFamily="34" charset="0"/>
              </a:defRPr>
            </a:lvl2pPr>
            <a:lvl3pPr marL="1142666" indent="-228533" eaLnBrk="0" hangingPunct="0">
              <a:spcBef>
                <a:spcPct val="50000"/>
              </a:spcBef>
              <a:defRPr sz="2000">
                <a:solidFill>
                  <a:schemeClr val="tx1"/>
                </a:solidFill>
                <a:latin typeface="Arial" pitchFamily="34" charset="0"/>
              </a:defRPr>
            </a:lvl3pPr>
            <a:lvl4pPr marL="1599731" indent="-228533" eaLnBrk="0" hangingPunct="0">
              <a:spcBef>
                <a:spcPct val="50000"/>
              </a:spcBef>
              <a:defRPr sz="2000">
                <a:solidFill>
                  <a:schemeClr val="tx1"/>
                </a:solidFill>
                <a:latin typeface="Arial" pitchFamily="34" charset="0"/>
              </a:defRPr>
            </a:lvl4pPr>
            <a:lvl5pPr marL="2056797" indent="-228533" eaLnBrk="0" hangingPunct="0">
              <a:spcBef>
                <a:spcPct val="50000"/>
              </a:spcBef>
              <a:defRPr sz="2000">
                <a:solidFill>
                  <a:schemeClr val="tx1"/>
                </a:solidFill>
                <a:latin typeface="Arial" pitchFamily="34" charset="0"/>
              </a:defRPr>
            </a:lvl5pPr>
            <a:lvl6pPr marL="2513863" indent="-228533" eaLnBrk="0" fontAlgn="base" hangingPunct="0">
              <a:spcBef>
                <a:spcPct val="50000"/>
              </a:spcBef>
              <a:spcAft>
                <a:spcPct val="0"/>
              </a:spcAft>
              <a:defRPr sz="2000">
                <a:solidFill>
                  <a:schemeClr val="tx1"/>
                </a:solidFill>
                <a:latin typeface="Arial" pitchFamily="34" charset="0"/>
              </a:defRPr>
            </a:lvl6pPr>
            <a:lvl7pPr marL="2970929" indent="-228533" eaLnBrk="0" fontAlgn="base" hangingPunct="0">
              <a:spcBef>
                <a:spcPct val="50000"/>
              </a:spcBef>
              <a:spcAft>
                <a:spcPct val="0"/>
              </a:spcAft>
              <a:defRPr sz="2000">
                <a:solidFill>
                  <a:schemeClr val="tx1"/>
                </a:solidFill>
                <a:latin typeface="Arial" pitchFamily="34" charset="0"/>
              </a:defRPr>
            </a:lvl7pPr>
            <a:lvl8pPr marL="3427996" indent="-228533" eaLnBrk="0" fontAlgn="base" hangingPunct="0">
              <a:spcBef>
                <a:spcPct val="50000"/>
              </a:spcBef>
              <a:spcAft>
                <a:spcPct val="0"/>
              </a:spcAft>
              <a:defRPr sz="2000">
                <a:solidFill>
                  <a:schemeClr val="tx1"/>
                </a:solidFill>
                <a:latin typeface="Arial" pitchFamily="34" charset="0"/>
              </a:defRPr>
            </a:lvl8pPr>
            <a:lvl9pPr marL="3885062" indent="-228533" eaLnBrk="0" fontAlgn="base" hangingPunct="0">
              <a:spcBef>
                <a:spcPct val="50000"/>
              </a:spcBef>
              <a:spcAft>
                <a:spcPct val="0"/>
              </a:spcAft>
              <a:defRPr sz="2000">
                <a:solidFill>
                  <a:schemeClr val="tx1"/>
                </a:solidFill>
                <a:latin typeface="Arial" pitchFamily="34" charset="0"/>
              </a:defRPr>
            </a:lvl9pPr>
          </a:lstStyle>
          <a:p>
            <a:pPr eaLnBrk="1" hangingPunct="1">
              <a:defRPr/>
            </a:pPr>
            <a:r>
              <a:rPr lang="da-DK" sz="1200" smtClean="0"/>
              <a:t> </a:t>
            </a:r>
            <a:endParaRPr lang="en-US" sz="1200"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ea typeface="ＭＳ Ｐゴシック" pitchFamily="34" charset="-128"/>
            </a:endParaRPr>
          </a:p>
        </p:txBody>
      </p:sp>
      <p:sp>
        <p:nvSpPr>
          <p:cNvPr id="4" name="Date Placeholder 3"/>
          <p:cNvSpPr>
            <a:spLocks noGrp="1"/>
          </p:cNvSpPr>
          <p:nvPr>
            <p:ph type="dt" sz="quarter" idx="1"/>
          </p:nvPr>
        </p:nvSpPr>
        <p:spPr/>
        <p:txBody>
          <a:bodyPr/>
          <a:lstStyle/>
          <a:p>
            <a:pPr>
              <a:defRPr/>
            </a:pPr>
            <a:r>
              <a:rPr lang="en-US" smtClean="0"/>
              <a:t>2015-01-19 </a:t>
            </a:r>
            <a:endParaRPr lang="en-US" dirty="0"/>
          </a:p>
        </p:txBody>
      </p:sp>
      <p:sp>
        <p:nvSpPr>
          <p:cNvPr id="72709"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pitchFamily="34" charset="-128"/>
              </a:defRPr>
            </a:lvl1pPr>
            <a:lvl2pPr marL="751830" indent="-289166" eaLnBrk="0" hangingPunct="0">
              <a:defRPr sz="2000">
                <a:solidFill>
                  <a:schemeClr val="tx1"/>
                </a:solidFill>
                <a:latin typeface="Arial" charset="0"/>
                <a:ea typeface="ＭＳ Ｐゴシック" pitchFamily="34" charset="-128"/>
              </a:defRPr>
            </a:lvl2pPr>
            <a:lvl3pPr marL="1156660" indent="-231332" eaLnBrk="0" hangingPunct="0">
              <a:defRPr sz="2000">
                <a:solidFill>
                  <a:schemeClr val="tx1"/>
                </a:solidFill>
                <a:latin typeface="Arial" charset="0"/>
                <a:ea typeface="ＭＳ Ｐゴシック" pitchFamily="34" charset="-128"/>
              </a:defRPr>
            </a:lvl3pPr>
            <a:lvl4pPr marL="1619325" indent="-231332" eaLnBrk="0" hangingPunct="0">
              <a:defRPr sz="2000">
                <a:solidFill>
                  <a:schemeClr val="tx1"/>
                </a:solidFill>
                <a:latin typeface="Arial" charset="0"/>
                <a:ea typeface="ＭＳ Ｐゴシック" pitchFamily="34" charset="-128"/>
              </a:defRPr>
            </a:lvl4pPr>
            <a:lvl5pPr marL="2081990" indent="-231332" eaLnBrk="0" hangingPunct="0">
              <a:defRPr sz="2000">
                <a:solidFill>
                  <a:schemeClr val="tx1"/>
                </a:solidFill>
                <a:latin typeface="Arial" charset="0"/>
                <a:ea typeface="ＭＳ Ｐゴシック" pitchFamily="34" charset="-128"/>
              </a:defRPr>
            </a:lvl5pPr>
            <a:lvl6pPr marL="2544654" indent="-231332" eaLnBrk="0" fontAlgn="base" hangingPunct="0">
              <a:spcBef>
                <a:spcPct val="0"/>
              </a:spcBef>
              <a:spcAft>
                <a:spcPct val="0"/>
              </a:spcAft>
              <a:defRPr sz="2000">
                <a:solidFill>
                  <a:schemeClr val="tx1"/>
                </a:solidFill>
                <a:latin typeface="Arial" charset="0"/>
                <a:ea typeface="ＭＳ Ｐゴシック" pitchFamily="34" charset="-128"/>
              </a:defRPr>
            </a:lvl6pPr>
            <a:lvl7pPr marL="3007319" indent="-231332" eaLnBrk="0" fontAlgn="base" hangingPunct="0">
              <a:spcBef>
                <a:spcPct val="0"/>
              </a:spcBef>
              <a:spcAft>
                <a:spcPct val="0"/>
              </a:spcAft>
              <a:defRPr sz="2000">
                <a:solidFill>
                  <a:schemeClr val="tx1"/>
                </a:solidFill>
                <a:latin typeface="Arial" charset="0"/>
                <a:ea typeface="ＭＳ Ｐゴシック" pitchFamily="34" charset="-128"/>
              </a:defRPr>
            </a:lvl7pPr>
            <a:lvl8pPr marL="3469983" indent="-231332" eaLnBrk="0" fontAlgn="base" hangingPunct="0">
              <a:spcBef>
                <a:spcPct val="0"/>
              </a:spcBef>
              <a:spcAft>
                <a:spcPct val="0"/>
              </a:spcAft>
              <a:defRPr sz="2000">
                <a:solidFill>
                  <a:schemeClr val="tx1"/>
                </a:solidFill>
                <a:latin typeface="Arial" charset="0"/>
                <a:ea typeface="ＭＳ Ｐゴシック" pitchFamily="34" charset="-128"/>
              </a:defRPr>
            </a:lvl8pPr>
            <a:lvl9pPr marL="3932647" indent="-231332"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fld id="{9D1A1C5C-F0A1-4740-8FC8-F65B7779AE0C}" type="slidenum">
              <a:rPr lang="en-US" sz="1200" smtClean="0">
                <a:cs typeface="Arial" charset="0"/>
              </a:rPr>
              <a:t>41</a:t>
            </a:fld>
            <a:endParaRPr lang="en-US" sz="1200">
              <a:cs typeface="Arial" charset="0"/>
            </a:endParaRPr>
          </a:p>
        </p:txBody>
      </p:sp>
      <p:sp>
        <p:nvSpPr>
          <p:cNvPr id="6" name="Header Placeholder 5"/>
          <p:cNvSpPr>
            <a:spLocks noGrp="1"/>
          </p:cNvSpPr>
          <p:nvPr>
            <p:ph type="hdr" sz="quarter"/>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4"/>
          </p:nvPr>
        </p:nvSpPr>
        <p:spPr/>
        <p:txBody>
          <a:bodyPr/>
          <a:lstStyle/>
          <a:p>
            <a:pPr>
              <a:defRPr/>
            </a:pPr>
            <a:r>
              <a:rPr lang="da-DK" smtClean="0"/>
              <a:t> </a:t>
            </a:r>
            <a:endParaRPr 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F1315BCC-5342-450C-AE2A-D85E88FB99E6}" type="slidenum">
              <a:rPr lang="en-US" smtClean="0"/>
              <a:t>42</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22716934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64AE70FF-DAB8-4822-B376-BAFA1B630E88}" type="slidenum">
              <a:rPr lang="en-US" smtClean="0"/>
              <a:t>43</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240803637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pitchFamily="34" charset="0"/>
            </a:endParaRPr>
          </a:p>
        </p:txBody>
      </p:sp>
      <p:sp>
        <p:nvSpPr>
          <p:cNvPr id="56324"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01-19 </a:t>
            </a:r>
            <a:endParaRPr lang="en-US" sz="1200"/>
          </a:p>
        </p:txBody>
      </p:sp>
      <p:sp>
        <p:nvSpPr>
          <p:cNvPr id="56325"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fld id="{F097D6C3-00F6-404C-AE88-21770F7F986A}" type="slidenum">
              <a:rPr lang="en-US" sz="1200" smtClean="0"/>
              <a:t>44</a:t>
            </a:fld>
            <a:endParaRPr lang="en-US" sz="1200" smtClean="0"/>
          </a:p>
        </p:txBody>
      </p:sp>
      <p:sp>
        <p:nvSpPr>
          <p:cNvPr id="56326" name="Header Placeholder 5"/>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 User Webinar: Ericsson Catalog Manager &amp; Ericsson Order Care </a:t>
            </a:r>
            <a:endParaRPr lang="en-US" sz="1200"/>
          </a:p>
        </p:txBody>
      </p:sp>
      <p:sp>
        <p:nvSpPr>
          <p:cNvPr id="56327"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 </a:t>
            </a:r>
            <a:endParaRPr lang="en-US" sz="120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171DFA58-A5B6-4D2C-994B-7D2C5AF1B4AB}" type="slidenum">
              <a:rPr lang="en-US" smtClean="0"/>
              <a:t>45</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18983960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CBC4CD61-3810-4E5D-A206-F82E229134D1}" type="slidenum">
              <a:rPr lang="en-US" smtClean="0"/>
              <a:t>46</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267047376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D5809C59-0400-4F98-944B-88F88C1A7112}" type="slidenum">
              <a:rPr lang="en-US" smtClean="0"/>
              <a:t>47</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31756434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7CEC6441-FEF6-4E10-AC1E-A208CAEECB6D}" type="slidenum">
              <a:rPr lang="en-US" smtClean="0"/>
              <a:t>48</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358870312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5F47835C-EC4F-4F8C-95E7-4B92EA6AD980}" type="slidenum">
              <a:rPr lang="en-US" smtClean="0"/>
              <a:t>49</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3117410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r>
              <a:rPr lang="en-US" dirty="0" smtClean="0">
                <a:latin typeface="Arial" pitchFamily="34" charset="0"/>
              </a:rPr>
              <a:t>Ericsson Lead-to-Service Suite bring real results to real customers.</a:t>
            </a:r>
          </a:p>
          <a:p>
            <a:pPr eaLnBrk="1" hangingPunct="1">
              <a:defRPr/>
            </a:pPr>
            <a:endParaRPr lang="en-US" dirty="0">
              <a:latin typeface="Arial" pitchFamily="34" charset="0"/>
            </a:endParaRPr>
          </a:p>
          <a:p>
            <a:pPr>
              <a:spcBef>
                <a:spcPts val="200"/>
              </a:spcBef>
              <a:spcAft>
                <a:spcPts val="200"/>
              </a:spcAft>
              <a:buClr>
                <a:srgbClr val="FABB00"/>
              </a:buClr>
              <a:defRPr/>
            </a:pPr>
            <a:r>
              <a:rPr lang="en-US" b="1" dirty="0">
                <a:solidFill>
                  <a:srgbClr val="000000"/>
                </a:solidFill>
                <a:ea typeface="ＭＳ Ｐゴシック" charset="0"/>
              </a:rPr>
              <a:t>When its comes to operational efficiency, operators can:  </a:t>
            </a:r>
          </a:p>
          <a:p>
            <a:pPr marL="403166" indent="-174599">
              <a:spcBef>
                <a:spcPts val="0"/>
              </a:spcBef>
              <a:spcAft>
                <a:spcPts val="200"/>
              </a:spcAft>
              <a:buClr>
                <a:srgbClr val="FABB00"/>
              </a:buClr>
              <a:buFont typeface="Lucida Grande"/>
              <a:buChar char="›"/>
              <a:defRPr/>
            </a:pPr>
            <a:r>
              <a:rPr lang="en-US" dirty="0">
                <a:solidFill>
                  <a:srgbClr val="000000"/>
                </a:solidFill>
              </a:rPr>
              <a:t>Achieve a faster and cheaper fulfillment of complex service orders due to efficient automation and process orchestration </a:t>
            </a:r>
          </a:p>
          <a:p>
            <a:pPr marL="403166" indent="-174599">
              <a:spcBef>
                <a:spcPts val="0"/>
              </a:spcBef>
              <a:spcAft>
                <a:spcPts val="200"/>
              </a:spcAft>
              <a:buClr>
                <a:srgbClr val="FABB00"/>
              </a:buClr>
              <a:buFont typeface="Lucida Grande"/>
              <a:buChar char="›"/>
              <a:defRPr/>
            </a:pPr>
            <a:r>
              <a:rPr lang="en-US" dirty="0">
                <a:solidFill>
                  <a:srgbClr val="000000"/>
                </a:solidFill>
              </a:rPr>
              <a:t>Reduce operational expenses by coordinating the most suitable provisioning processes – even for the most complex products  </a:t>
            </a:r>
          </a:p>
          <a:p>
            <a:pPr marL="403166" indent="-174599">
              <a:spcBef>
                <a:spcPts val="0"/>
              </a:spcBef>
              <a:spcAft>
                <a:spcPts val="200"/>
              </a:spcAft>
              <a:buClr>
                <a:srgbClr val="FABB00"/>
              </a:buClr>
              <a:buFont typeface="Lucida Grande"/>
              <a:buChar char="›"/>
              <a:defRPr/>
            </a:pPr>
            <a:r>
              <a:rPr lang="en-US" dirty="0">
                <a:solidFill>
                  <a:srgbClr val="000000"/>
                </a:solidFill>
              </a:rPr>
              <a:t>Reduce service order fallout due to a more consistent, well-structured process orchestration      </a:t>
            </a:r>
          </a:p>
          <a:p>
            <a:pPr marL="403166" indent="-174599">
              <a:spcBef>
                <a:spcPts val="0"/>
              </a:spcBef>
              <a:spcAft>
                <a:spcPts val="200"/>
              </a:spcAft>
              <a:buClr>
                <a:srgbClr val="FABB00"/>
              </a:buClr>
              <a:buFont typeface="Lucida Grande"/>
              <a:buChar char="›"/>
              <a:defRPr/>
            </a:pPr>
            <a:r>
              <a:rPr lang="en-US" dirty="0">
                <a:solidFill>
                  <a:srgbClr val="000000"/>
                </a:solidFill>
              </a:rPr>
              <a:t>Increase operational flow-through by making well-structured components and workflows and other assets available to third-party service partners via APIs    </a:t>
            </a:r>
          </a:p>
          <a:p>
            <a:pPr>
              <a:spcBef>
                <a:spcPts val="200"/>
              </a:spcBef>
              <a:spcAft>
                <a:spcPts val="200"/>
              </a:spcAft>
              <a:buClr>
                <a:srgbClr val="FABB00"/>
              </a:buClr>
              <a:defRPr/>
            </a:pPr>
            <a:r>
              <a:rPr lang="en-US" b="1" dirty="0">
                <a:solidFill>
                  <a:srgbClr val="000000"/>
                </a:solidFill>
                <a:ea typeface="ＭＳ Ｐゴシック" charset="0"/>
              </a:rPr>
              <a:t>When it comes to OSS/BSS, marketing, product management and catalog management, operators can:  </a:t>
            </a:r>
          </a:p>
          <a:p>
            <a:pPr marL="403166" indent="-174599">
              <a:spcBef>
                <a:spcPts val="0"/>
              </a:spcBef>
              <a:spcAft>
                <a:spcPts val="200"/>
              </a:spcAft>
              <a:buClr>
                <a:srgbClr val="FABB00"/>
              </a:buClr>
              <a:buFont typeface="Lucida Grande"/>
              <a:buChar char="›"/>
              <a:defRPr/>
            </a:pPr>
            <a:r>
              <a:rPr lang="en-US" dirty="0">
                <a:solidFill>
                  <a:srgbClr val="000000"/>
                </a:solidFill>
                <a:ea typeface="ＭＳ Ｐゴシック" charset="0"/>
              </a:rPr>
              <a:t>Reduce time-to-market of new </a:t>
            </a:r>
            <a:r>
              <a:rPr lang="en-US" dirty="0">
                <a:solidFill>
                  <a:srgbClr val="000000"/>
                </a:solidFill>
              </a:rPr>
              <a:t>services by providing a common terminology across their business for products and their definitions  </a:t>
            </a:r>
          </a:p>
          <a:p>
            <a:pPr marL="403166" indent="-174599">
              <a:spcBef>
                <a:spcPts val="0"/>
              </a:spcBef>
              <a:spcAft>
                <a:spcPts val="200"/>
              </a:spcAft>
              <a:buClr>
                <a:srgbClr val="FABB00"/>
              </a:buClr>
              <a:buFont typeface="Lucida Grande"/>
              <a:buChar char="›"/>
              <a:defRPr/>
            </a:pPr>
            <a:r>
              <a:rPr lang="en-US" dirty="0">
                <a:solidFill>
                  <a:srgbClr val="000000"/>
                </a:solidFill>
              </a:rPr>
              <a:t>Increase customer satisfaction through a centralized platform that enables consistent support for products  </a:t>
            </a:r>
          </a:p>
          <a:p>
            <a:pPr marL="403166" indent="-174599">
              <a:spcBef>
                <a:spcPts val="0"/>
              </a:spcBef>
              <a:spcAft>
                <a:spcPts val="200"/>
              </a:spcAft>
              <a:buClr>
                <a:srgbClr val="FABB00"/>
              </a:buClr>
              <a:buFont typeface="Lucida Grande"/>
              <a:buChar char="›"/>
              <a:defRPr/>
            </a:pPr>
            <a:r>
              <a:rPr lang="en-US" dirty="0">
                <a:solidFill>
                  <a:srgbClr val="000000"/>
                </a:solidFill>
              </a:rPr>
              <a:t>Reduce service creation costs by promoting component reuse  </a:t>
            </a:r>
          </a:p>
          <a:p>
            <a:pPr marL="403166" indent="-174599">
              <a:spcBef>
                <a:spcPts val="0"/>
              </a:spcBef>
              <a:spcAft>
                <a:spcPts val="200"/>
              </a:spcAft>
              <a:buClr>
                <a:srgbClr val="FABB00"/>
              </a:buClr>
              <a:buFont typeface="Lucida Grande"/>
              <a:buChar char="›"/>
              <a:defRPr/>
            </a:pPr>
            <a:r>
              <a:rPr lang="en-US" dirty="0">
                <a:solidFill>
                  <a:srgbClr val="000000"/>
                </a:solidFill>
              </a:rPr>
              <a:t>Quickly meet new customer requirements by using flexible product structures  </a:t>
            </a:r>
          </a:p>
          <a:p>
            <a:pPr marL="403166" indent="-174599">
              <a:spcBef>
                <a:spcPts val="0"/>
              </a:spcBef>
              <a:spcAft>
                <a:spcPts val="200"/>
              </a:spcAft>
              <a:buClr>
                <a:srgbClr val="FABB00"/>
              </a:buClr>
              <a:buFont typeface="Lucida Grande"/>
              <a:buChar char="›"/>
              <a:defRPr/>
            </a:pPr>
            <a:endParaRPr lang="en-US" dirty="0">
              <a:solidFill>
                <a:srgbClr val="000000"/>
              </a:solidFill>
            </a:endParaRPr>
          </a:p>
          <a:p>
            <a:pPr eaLnBrk="1" hangingPunct="1">
              <a:defRPr/>
            </a:pPr>
            <a:endParaRPr lang="en-US" dirty="0" smtClean="0">
              <a:latin typeface="Arial" pitchFamily="34" charset="0"/>
            </a:endParaRPr>
          </a:p>
        </p:txBody>
      </p:sp>
      <p:sp>
        <p:nvSpPr>
          <p:cNvPr id="40964"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solidFill>
                  <a:srgbClr val="000000"/>
                </a:solidFill>
              </a:rPr>
              <a:t>2015-01-19 </a:t>
            </a:r>
            <a:endParaRPr lang="en-US" sz="1200">
              <a:solidFill>
                <a:srgbClr val="000000"/>
              </a:solidFill>
            </a:endParaRPr>
          </a:p>
        </p:txBody>
      </p:sp>
      <p:sp>
        <p:nvSpPr>
          <p:cNvPr id="40965"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fld id="{51965035-AE5E-4C62-B0AC-A23AF6C038F4}" type="slidenum">
              <a:rPr lang="en-US" sz="1200" smtClean="0">
                <a:solidFill>
                  <a:srgbClr val="000000"/>
                </a:solidFill>
              </a:rPr>
              <a:t>5</a:t>
            </a:fld>
            <a:endParaRPr lang="en-US" sz="1200">
              <a:solidFill>
                <a:srgbClr val="000000"/>
              </a:solidFill>
            </a:endParaRPr>
          </a:p>
        </p:txBody>
      </p:sp>
      <p:sp>
        <p:nvSpPr>
          <p:cNvPr id="40966" name="Header Placeholder 5"/>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solidFill>
                  <a:srgbClr val="000000"/>
                </a:solidFill>
              </a:rPr>
              <a:t>2015 User Webinar: Ericsson Catalog Manager &amp; Ericsson Order Care </a:t>
            </a:r>
            <a:endParaRPr lang="en-US" sz="1200">
              <a:solidFill>
                <a:srgbClr val="000000"/>
              </a:solidFill>
            </a:endParaRPr>
          </a:p>
        </p:txBody>
      </p:sp>
      <p:sp>
        <p:nvSpPr>
          <p:cNvPr id="40967"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solidFill>
                  <a:srgbClr val="000000"/>
                </a:solidFill>
              </a:rPr>
              <a:t> </a:t>
            </a:r>
            <a:endParaRPr lang="en-US" sz="1200">
              <a:solidFill>
                <a:srgbClr val="000000"/>
              </a:solidFill>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57C26DEE-5FAC-4CCD-A5A0-B938BE4D6D1D}" type="slidenum">
              <a:rPr lang="en-US" smtClean="0"/>
              <a:t>50</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15214196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pitchFamily="34" charset="0"/>
            </a:endParaRPr>
          </a:p>
        </p:txBody>
      </p:sp>
      <p:sp>
        <p:nvSpPr>
          <p:cNvPr id="56324"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01-19 </a:t>
            </a:r>
            <a:endParaRPr lang="en-US" sz="1200"/>
          </a:p>
        </p:txBody>
      </p:sp>
      <p:sp>
        <p:nvSpPr>
          <p:cNvPr id="56325"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fld id="{B2F6F261-8E9F-4516-A235-DF3217A1F070}" type="slidenum">
              <a:rPr lang="en-US" sz="1200" smtClean="0"/>
              <a:t>51</a:t>
            </a:fld>
            <a:endParaRPr lang="en-US" sz="1200" smtClean="0"/>
          </a:p>
        </p:txBody>
      </p:sp>
      <p:sp>
        <p:nvSpPr>
          <p:cNvPr id="56326" name="Header Placeholder 5"/>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 User Webinar: Ericsson Catalog Manager &amp; Ericsson Order Care </a:t>
            </a:r>
            <a:endParaRPr lang="en-US" sz="1200"/>
          </a:p>
        </p:txBody>
      </p:sp>
      <p:sp>
        <p:nvSpPr>
          <p:cNvPr id="56327"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 </a:t>
            </a:r>
            <a:endParaRPr lang="en-US" sz="120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Date Placeholder 1"/>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solidFill>
                  <a:srgbClr val="000000"/>
                </a:solidFill>
              </a:rPr>
              <a:t>2015-01-19 </a:t>
            </a:r>
            <a:endParaRPr lang="en-US" sz="1200">
              <a:solidFill>
                <a:srgbClr val="000000"/>
              </a:solidFill>
            </a:endParaRPr>
          </a:p>
        </p:txBody>
      </p:sp>
      <p:sp>
        <p:nvSpPr>
          <p:cNvPr id="46083"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fld id="{77598723-78EC-42BF-9B46-A8D5B3BECC62}" type="slidenum">
              <a:rPr lang="en-US" sz="1200" smtClean="0">
                <a:solidFill>
                  <a:srgbClr val="000000"/>
                </a:solidFill>
              </a:rPr>
              <a:t>52</a:t>
            </a:fld>
            <a:endParaRPr lang="en-US" sz="1200">
              <a:solidFill>
                <a:srgbClr val="000000"/>
              </a:solidFill>
            </a:endParaRPr>
          </a:p>
        </p:txBody>
      </p:sp>
      <p:sp>
        <p:nvSpPr>
          <p:cNvPr id="4608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solidFill>
                  <a:srgbClr val="000000"/>
                </a:solidFill>
              </a:rPr>
              <a:t>2015 User Webinar: Ericsson Catalog Manager &amp; Ericsson Order Care </a:t>
            </a:r>
            <a:endParaRPr lang="en-US" sz="1200">
              <a:solidFill>
                <a:srgbClr val="000000"/>
              </a:solidFill>
            </a:endParaRPr>
          </a:p>
        </p:txBody>
      </p:sp>
      <p:sp>
        <p:nvSpPr>
          <p:cNvPr id="46085" name="Footer Placehold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solidFill>
                  <a:srgbClr val="000000"/>
                </a:solidFill>
              </a:rPr>
              <a:t> </a:t>
            </a:r>
            <a:endParaRPr lang="en-US" sz="1200">
              <a:solidFill>
                <a:srgbClr val="000000"/>
              </a:solidFill>
            </a:endParaRPr>
          </a:p>
        </p:txBody>
      </p:sp>
      <p:sp>
        <p:nvSpPr>
          <p:cNvPr id="46086" name="Date Placeholder 1"/>
          <p:cNvSpPr txBox="1">
            <a:spLocks noGrp="1"/>
          </p:cNvSpPr>
          <p:nvPr/>
        </p:nvSpPr>
        <p:spPr bwMode="auto">
          <a:xfrm>
            <a:off x="3900958" y="0"/>
            <a:ext cx="2982422" cy="500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7" tIns="45714" rIns="91427" bIns="45714"/>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spcBef>
                <a:spcPct val="50000"/>
              </a:spcBef>
            </a:pPr>
            <a:fld id="{EEA879B1-11DC-4FDA-BF16-56B8B9114B31}" type="datetime1">
              <a:rPr lang="en-US" sz="1200">
                <a:solidFill>
                  <a:srgbClr val="000000"/>
                </a:solidFill>
                <a:cs typeface="Arial" pitchFamily="34" charset="0"/>
              </a:rPr>
              <a:pPr algn="r" eaLnBrk="1" hangingPunct="1">
                <a:spcBef>
                  <a:spcPct val="50000"/>
                </a:spcBef>
              </a:pPr>
              <a:t>1/19/2015</a:t>
            </a:fld>
            <a:r>
              <a:rPr lang="en-US" sz="1200">
                <a:solidFill>
                  <a:srgbClr val="000000"/>
                </a:solidFill>
                <a:cs typeface="Arial" pitchFamily="34" charset="0"/>
              </a:rPr>
              <a:t>2011-10-19 </a:t>
            </a:r>
          </a:p>
        </p:txBody>
      </p:sp>
      <p:sp>
        <p:nvSpPr>
          <p:cNvPr id="46087" name="Slide Number Placeholder 2"/>
          <p:cNvSpPr txBox="1">
            <a:spLocks noGrp="1"/>
          </p:cNvSpPr>
          <p:nvPr/>
        </p:nvSpPr>
        <p:spPr bwMode="auto">
          <a:xfrm>
            <a:off x="3900958" y="9516172"/>
            <a:ext cx="2982422" cy="500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7" tIns="45714" rIns="91427" bIns="45714" anchor="b"/>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spcBef>
                <a:spcPct val="50000"/>
              </a:spcBef>
            </a:pPr>
            <a:fld id="{09EC8684-78F5-44F4-A768-92A0D890CC69}" type="slidenum">
              <a:rPr lang="en-US" sz="1200">
                <a:solidFill>
                  <a:srgbClr val="000000"/>
                </a:solidFill>
                <a:cs typeface="Arial" pitchFamily="34" charset="0"/>
              </a:rPr>
              <a:pPr algn="r" eaLnBrk="1" hangingPunct="1">
                <a:spcBef>
                  <a:spcPct val="50000"/>
                </a:spcBef>
              </a:pPr>
              <a:t>52</a:t>
            </a:fld>
            <a:endParaRPr lang="en-US" sz="1200">
              <a:solidFill>
                <a:srgbClr val="000000"/>
              </a:solidFill>
              <a:cs typeface="Arial" pitchFamily="34" charset="0"/>
            </a:endParaRPr>
          </a:p>
        </p:txBody>
      </p:sp>
      <p:sp>
        <p:nvSpPr>
          <p:cNvPr id="46088" name="Header Placeholder 3"/>
          <p:cNvSpPr txBox="1">
            <a:spLocks noGrp="1"/>
          </p:cNvSpPr>
          <p:nvPr/>
        </p:nvSpPr>
        <p:spPr bwMode="auto">
          <a:xfrm>
            <a:off x="1" y="0"/>
            <a:ext cx="2982422" cy="500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7" tIns="45714" rIns="91427" bIns="45714"/>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pPr>
            <a:r>
              <a:rPr lang="en-US" sz="1200">
                <a:solidFill>
                  <a:srgbClr val="000000"/>
                </a:solidFill>
                <a:cs typeface="Arial" pitchFamily="34" charset="0"/>
              </a:rPr>
              <a:t>Sharpen Your Operations  </a:t>
            </a:r>
          </a:p>
        </p:txBody>
      </p:sp>
      <p:sp>
        <p:nvSpPr>
          <p:cNvPr id="46089" name="Footer Placeholder 5"/>
          <p:cNvSpPr txBox="1">
            <a:spLocks noGrp="1"/>
          </p:cNvSpPr>
          <p:nvPr/>
        </p:nvSpPr>
        <p:spPr bwMode="auto">
          <a:xfrm>
            <a:off x="1" y="9516172"/>
            <a:ext cx="2982422" cy="500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7" tIns="45714" rIns="91427" bIns="45714" anchor="b"/>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pPr>
            <a:r>
              <a:rPr lang="en-US" sz="1200">
                <a:solidFill>
                  <a:srgbClr val="000000"/>
                </a:solidFill>
                <a:cs typeface="Arial" pitchFamily="34" charset="0"/>
              </a:rPr>
              <a:t>  </a:t>
            </a:r>
          </a:p>
        </p:txBody>
      </p:sp>
      <p:sp>
        <p:nvSpPr>
          <p:cNvPr id="4609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9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84388" indent="-284388">
              <a:buFontTx/>
              <a:buChar char="•"/>
            </a:pPr>
            <a:r>
              <a:rPr lang="en-US" sz="1800">
                <a:latin typeface="Arial" pitchFamily="34" charset="0"/>
                <a:ea typeface="Geneva"/>
                <a:cs typeface="Geneva"/>
              </a:rPr>
              <a:t>Met benchmark of 8 million orders per month</a:t>
            </a:r>
          </a:p>
          <a:p>
            <a:pPr marL="284388" indent="-284388">
              <a:buFontTx/>
              <a:buChar char="•"/>
            </a:pPr>
            <a:r>
              <a:rPr lang="en-US" sz="1800">
                <a:latin typeface="Arial" pitchFamily="34" charset="0"/>
                <a:ea typeface="Geneva"/>
                <a:cs typeface="Geneva"/>
              </a:rPr>
              <a:t>Handling ~50 interfaces to a variety of systems</a:t>
            </a:r>
          </a:p>
          <a:p>
            <a:pPr marL="284388" indent="-284388">
              <a:buFontTx/>
              <a:buChar char="•"/>
            </a:pPr>
            <a:r>
              <a:rPr lang="en-US" sz="1800">
                <a:latin typeface="Arial" pitchFamily="34" charset="0"/>
                <a:ea typeface="Geneva"/>
                <a:cs typeface="Geneva"/>
              </a:rPr>
              <a:t>Improved customer experience with faster activation: from hours to minutes</a:t>
            </a:r>
          </a:p>
          <a:p>
            <a:pPr marL="284388" indent="-284388">
              <a:buFontTx/>
              <a:buChar char="•"/>
            </a:pPr>
            <a:r>
              <a:rPr lang="en-US" sz="1800">
                <a:latin typeface="Arial" pitchFamily="34" charset="0"/>
                <a:ea typeface="Geneva"/>
                <a:cs typeface="Geneva"/>
              </a:rPr>
              <a:t>Processes that took hours now take seconds</a:t>
            </a:r>
          </a:p>
          <a:p>
            <a:pPr marL="284388" indent="-284388">
              <a:buFontTx/>
              <a:buChar char="•"/>
            </a:pPr>
            <a:r>
              <a:rPr lang="en-US" sz="1800">
                <a:latin typeface="Arial" pitchFamily="34" charset="0"/>
                <a:ea typeface="Geneva"/>
                <a:cs typeface="Geneva"/>
              </a:rPr>
              <a:t>150% increase in daily total of orders processed</a:t>
            </a:r>
          </a:p>
          <a:p>
            <a:pPr marL="284388" indent="-284388">
              <a:buFontTx/>
              <a:buChar char="•"/>
            </a:pPr>
            <a:r>
              <a:rPr lang="en-US" sz="1800">
                <a:latin typeface="Arial" pitchFamily="34" charset="0"/>
                <a:ea typeface="Geneva"/>
                <a:cs typeface="Geneva"/>
              </a:rPr>
              <a:t>36% increase in total number of services offered</a:t>
            </a:r>
          </a:p>
          <a:p>
            <a:pPr marL="284388" indent="-284388">
              <a:buFontTx/>
              <a:buChar char="•"/>
            </a:pPr>
            <a:r>
              <a:rPr lang="en-US" sz="1800">
                <a:latin typeface="Arial" pitchFamily="34" charset="0"/>
                <a:ea typeface="ヒラギノ角ゴ Pro W3"/>
                <a:cs typeface="ヒラギノ角ゴ Pro W3"/>
              </a:rPr>
              <a:t>Manual order handling reduced from 10 touch points to 4 for 70% of orders</a:t>
            </a:r>
          </a:p>
          <a:p>
            <a:pPr marL="284388" indent="-284388">
              <a:buFontTx/>
              <a:buChar char="•"/>
            </a:pPr>
            <a:r>
              <a:rPr lang="en-US" sz="1800">
                <a:latin typeface="Arial" pitchFamily="34" charset="0"/>
                <a:ea typeface="ヒラギノ角ゴ Pro W3"/>
                <a:cs typeface="ヒラギノ角ゴ Pro W3"/>
              </a:rPr>
              <a:t>Time from order to dispatch reduced from 5 days to 5 minutes</a:t>
            </a:r>
          </a:p>
          <a:p>
            <a:pPr marL="284388" indent="-284388">
              <a:buFontTx/>
              <a:buChar char="•"/>
            </a:pPr>
            <a:r>
              <a:rPr lang="en-US" sz="1800">
                <a:latin typeface="Arial" pitchFamily="34" charset="0"/>
                <a:ea typeface="ヒラギノ角ゴ Pro W3"/>
                <a:cs typeface="ヒラギノ角ゴ Pro W3"/>
              </a:rPr>
              <a:t>Lead time for service delivery reduced from 4-6 weeks to 2-5 days</a:t>
            </a:r>
          </a:p>
          <a:p>
            <a:pPr marL="284388" indent="-284388">
              <a:buFontTx/>
              <a:buChar char="•"/>
            </a:pPr>
            <a:endParaRPr lang="en-US" sz="1800">
              <a:latin typeface="Arial" pitchFamily="34" charset="0"/>
              <a:ea typeface="Geneva"/>
              <a:cs typeface="Geneva"/>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Rectangle 3"/>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567" indent="-228567">
              <a:buFontTx/>
              <a:buAutoNum type="arabicParenBoth"/>
              <a:defRPr/>
            </a:pPr>
            <a:r>
              <a:rPr lang="es-ES_tradnl" dirty="0" err="1" smtClean="0">
                <a:latin typeface="Arial" pitchFamily="34" charset="0"/>
              </a:rPr>
              <a:t>Analysis</a:t>
            </a:r>
            <a:r>
              <a:rPr lang="es-ES_tradnl" dirty="0" smtClean="0">
                <a:latin typeface="Arial" pitchFamily="34" charset="0"/>
              </a:rPr>
              <a:t> Mason 2014 </a:t>
            </a:r>
            <a:r>
              <a:rPr lang="es-ES_tradnl" dirty="0" err="1" smtClean="0">
                <a:latin typeface="Arial" pitchFamily="34" charset="0"/>
              </a:rPr>
              <a:t>Fulfillment</a:t>
            </a:r>
            <a:r>
              <a:rPr lang="es-ES_tradnl" dirty="0" smtClean="0">
                <a:latin typeface="Arial" pitchFamily="34" charset="0"/>
              </a:rPr>
              <a:t> </a:t>
            </a:r>
            <a:r>
              <a:rPr lang="es-ES_tradnl" dirty="0" err="1" smtClean="0">
                <a:latin typeface="Arial" pitchFamily="34" charset="0"/>
              </a:rPr>
              <a:t>Market</a:t>
            </a:r>
            <a:r>
              <a:rPr lang="es-ES_tradnl" dirty="0" smtClean="0">
                <a:latin typeface="Arial" pitchFamily="34" charset="0"/>
              </a:rPr>
              <a:t> drivers:</a:t>
            </a:r>
            <a:endParaRPr lang="en-US" dirty="0" smtClean="0"/>
          </a:p>
          <a:p>
            <a:pPr>
              <a:defRPr/>
            </a:pPr>
            <a:endParaRPr lang="en-US" dirty="0" smtClean="0"/>
          </a:p>
          <a:p>
            <a:pPr marL="171424" indent="-171424">
              <a:buFont typeface="Arial" panose="020B0604020202020204" pitchFamily="34" charset="0"/>
              <a:buChar char="•"/>
              <a:defRPr/>
            </a:pPr>
            <a:r>
              <a:rPr lang="en-US" dirty="0" smtClean="0"/>
              <a:t>Increasing subscriber numbers in emerging markets and for new-generation technology services </a:t>
            </a:r>
          </a:p>
          <a:p>
            <a:pPr marL="171424" indent="-171424">
              <a:buFont typeface="Arial" panose="020B0604020202020204" pitchFamily="34" charset="0"/>
              <a:buChar char="•"/>
              <a:defRPr/>
            </a:pPr>
            <a:r>
              <a:rPr lang="en-US" dirty="0" smtClean="0"/>
              <a:t>Growth in the number of connected devices </a:t>
            </a:r>
          </a:p>
          <a:p>
            <a:pPr marL="171424" indent="-171424">
              <a:buFont typeface="Arial" panose="020B0604020202020204" pitchFamily="34" charset="0"/>
              <a:buChar char="•"/>
              <a:defRPr/>
            </a:pPr>
            <a:r>
              <a:rPr lang="en-US" dirty="0" smtClean="0"/>
              <a:t>CSP initiatives to counter OTT services </a:t>
            </a:r>
          </a:p>
          <a:p>
            <a:pPr marL="171424" indent="-171424">
              <a:buFont typeface="Arial" panose="020B0604020202020204" pitchFamily="34" charset="0"/>
              <a:buChar char="•"/>
              <a:defRPr/>
            </a:pPr>
            <a:r>
              <a:rPr lang="en-US" dirty="0" smtClean="0"/>
              <a:t>Take-up of M2M services </a:t>
            </a:r>
          </a:p>
          <a:p>
            <a:pPr marL="171424" indent="-171424">
              <a:buFont typeface="Arial" panose="020B0604020202020204" pitchFamily="34" charset="0"/>
              <a:buChar char="•"/>
              <a:defRPr/>
            </a:pPr>
            <a:r>
              <a:rPr lang="en-US" dirty="0" smtClean="0"/>
              <a:t>New packet network technology deployments </a:t>
            </a:r>
          </a:p>
          <a:p>
            <a:pPr marL="171424" indent="-171424">
              <a:buFont typeface="Arial" panose="020B0604020202020204" pitchFamily="34" charset="0"/>
              <a:buChar char="•"/>
              <a:defRPr/>
            </a:pPr>
            <a:r>
              <a:rPr lang="en-US" dirty="0" smtClean="0"/>
              <a:t>System convergence </a:t>
            </a:r>
          </a:p>
          <a:p>
            <a:pPr marL="171424" indent="-171424">
              <a:buFont typeface="Arial" panose="020B0604020202020204" pitchFamily="34" charset="0"/>
              <a:buChar char="•"/>
              <a:defRPr/>
            </a:pPr>
            <a:r>
              <a:rPr lang="en-US" dirty="0" smtClean="0"/>
              <a:t>Investments in automation to reduce </a:t>
            </a:r>
            <a:r>
              <a:rPr lang="en-US" dirty="0" err="1" smtClean="0"/>
              <a:t>opex</a:t>
            </a:r>
            <a:r>
              <a:rPr lang="en-US" dirty="0" smtClean="0"/>
              <a:t> </a:t>
            </a:r>
          </a:p>
          <a:p>
            <a:pPr marL="171424" indent="-171424">
              <a:buFont typeface="Arial" panose="020B0604020202020204" pitchFamily="34" charset="0"/>
              <a:buChar char="•"/>
              <a:defRPr/>
            </a:pPr>
            <a:r>
              <a:rPr lang="en-US" dirty="0" smtClean="0"/>
              <a:t>‘Double-sided’ business models </a:t>
            </a:r>
          </a:p>
          <a:p>
            <a:pPr marL="171424" indent="-171424">
              <a:buFont typeface="Arial" panose="020B0604020202020204" pitchFamily="34" charset="0"/>
              <a:buChar char="•"/>
              <a:defRPr/>
            </a:pPr>
            <a:r>
              <a:rPr lang="en-US" dirty="0" smtClean="0"/>
              <a:t>Focus on enterprise and SME markets </a:t>
            </a:r>
          </a:p>
          <a:p>
            <a:pPr marL="171424" indent="-171424">
              <a:buFont typeface="Arial" panose="020B0604020202020204" pitchFamily="34" charset="0"/>
              <a:buChar char="•"/>
              <a:defRPr/>
            </a:pPr>
            <a:r>
              <a:rPr lang="en-US" dirty="0" smtClean="0"/>
              <a:t>National broadband infrastructure stimulus </a:t>
            </a:r>
            <a:r>
              <a:rPr lang="en-US" dirty="0" err="1" smtClean="0"/>
              <a:t>programmes</a:t>
            </a:r>
            <a:r>
              <a:rPr lang="en-US" dirty="0" smtClean="0"/>
              <a:t> </a:t>
            </a:r>
          </a:p>
          <a:p>
            <a:pPr marL="171424" indent="-171424">
              <a:buFont typeface="Arial" panose="020B0604020202020204" pitchFamily="34" charset="0"/>
              <a:buChar char="•"/>
              <a:defRPr/>
            </a:pPr>
            <a:r>
              <a:rPr lang="en-US" dirty="0" smtClean="0"/>
              <a:t>CSPs offering cloud services </a:t>
            </a:r>
          </a:p>
        </p:txBody>
      </p:sp>
      <p:sp>
        <p:nvSpPr>
          <p:cNvPr id="47108" name="Slide Number Placeholder 1"/>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fld id="{602FF3E2-B075-4509-9C55-8698982A68E2}" type="slidenum">
              <a:rPr lang="en-US" sz="1200" smtClean="0">
                <a:solidFill>
                  <a:srgbClr val="000000"/>
                </a:solidFill>
              </a:rPr>
              <a:t>53</a:t>
            </a:fld>
            <a:endParaRPr lang="en-US" sz="1200">
              <a:solidFill>
                <a:srgbClr val="000000"/>
              </a:solidFill>
            </a:endParaRPr>
          </a:p>
        </p:txBody>
      </p:sp>
      <p:sp>
        <p:nvSpPr>
          <p:cNvPr id="47109" name="Header Placeholder 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solidFill>
                  <a:srgbClr val="000000"/>
                </a:solidFill>
              </a:rPr>
              <a:t>2015 User Webinar: Ericsson Catalog Manager &amp; Ericsson Order Care </a:t>
            </a:r>
            <a:endParaRPr lang="en-US" sz="1200">
              <a:solidFill>
                <a:srgbClr val="000000"/>
              </a:solidFill>
            </a:endParaRPr>
          </a:p>
        </p:txBody>
      </p:sp>
      <p:sp>
        <p:nvSpPr>
          <p:cNvPr id="47110" name="Footer Placeholder 3"/>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solidFill>
                  <a:srgbClr val="000000"/>
                </a:solidFill>
              </a:rPr>
              <a:t> </a:t>
            </a:r>
            <a:endParaRPr lang="en-US" sz="1200">
              <a:solidFill>
                <a:srgbClr val="000000"/>
              </a:solidFill>
            </a:endParaRPr>
          </a:p>
        </p:txBody>
      </p:sp>
      <p:sp>
        <p:nvSpPr>
          <p:cNvPr id="47111"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solidFill>
                  <a:srgbClr val="000000"/>
                </a:solidFill>
              </a:rPr>
              <a:t>2015-01-19 </a:t>
            </a:r>
            <a:endParaRPr lang="en-US" sz="1200">
              <a:solidFill>
                <a:srgbClr val="000000"/>
              </a:solidFill>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pitchFamily="34" charset="0"/>
            </a:endParaRPr>
          </a:p>
        </p:txBody>
      </p:sp>
      <p:sp>
        <p:nvSpPr>
          <p:cNvPr id="100356"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01-19 </a:t>
            </a:r>
            <a:endParaRPr lang="en-US" sz="1200"/>
          </a:p>
        </p:txBody>
      </p:sp>
      <p:sp>
        <p:nvSpPr>
          <p:cNvPr id="100357"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fld id="{449F52CE-2310-45C4-8368-A5EB339D8280}" type="slidenum">
              <a:rPr lang="en-US" sz="1200" smtClean="0"/>
              <a:t>54</a:t>
            </a:fld>
            <a:endParaRPr lang="en-US" sz="1200" smtClean="0"/>
          </a:p>
        </p:txBody>
      </p:sp>
      <p:sp>
        <p:nvSpPr>
          <p:cNvPr id="100358" name="Header Placeholder 5"/>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 User Webinar: Ericsson Catalog Manager &amp; Ericsson Order Care </a:t>
            </a:r>
            <a:endParaRPr lang="en-US" sz="1200"/>
          </a:p>
        </p:txBody>
      </p:sp>
      <p:sp>
        <p:nvSpPr>
          <p:cNvPr id="100359"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 </a:t>
            </a:r>
            <a:endParaRPr lang="en-US" sz="120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pitchFamily="34" charset="0"/>
            </a:endParaRPr>
          </a:p>
        </p:txBody>
      </p:sp>
      <p:sp>
        <p:nvSpPr>
          <p:cNvPr id="102404"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01-19 </a:t>
            </a:r>
            <a:endParaRPr lang="en-US" sz="1200"/>
          </a:p>
        </p:txBody>
      </p:sp>
      <p:sp>
        <p:nvSpPr>
          <p:cNvPr id="102405"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fld id="{FC0CD746-A4C1-4C52-B183-624F83333446}" type="slidenum">
              <a:rPr lang="en-US" sz="1200" smtClean="0"/>
              <a:t>55</a:t>
            </a:fld>
            <a:endParaRPr lang="en-US" sz="1200" smtClean="0"/>
          </a:p>
        </p:txBody>
      </p:sp>
      <p:sp>
        <p:nvSpPr>
          <p:cNvPr id="102406" name="Header Placeholder 5"/>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 User Webinar: Ericsson Catalog Manager &amp; Ericsson Order Care </a:t>
            </a:r>
            <a:endParaRPr lang="en-US" sz="1200"/>
          </a:p>
        </p:txBody>
      </p:sp>
      <p:sp>
        <p:nvSpPr>
          <p:cNvPr id="102407"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 </a:t>
            </a:r>
            <a:endParaRPr lang="en-US" sz="120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Date Placeholder 1"/>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01-19 </a:t>
            </a:r>
            <a:endParaRPr lang="en-US" sz="1200"/>
          </a:p>
        </p:txBody>
      </p:sp>
      <p:sp>
        <p:nvSpPr>
          <p:cNvPr id="103427"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fld id="{5F1202CF-38CB-46D9-A9D6-67A764AA9927}" type="slidenum">
              <a:rPr lang="en-US" sz="1200" smtClean="0"/>
              <a:t>56</a:t>
            </a:fld>
            <a:endParaRPr lang="en-US" sz="1200" smtClean="0"/>
          </a:p>
        </p:txBody>
      </p:sp>
      <p:sp>
        <p:nvSpPr>
          <p:cNvPr id="10342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2015 User Webinar: Ericsson Catalog Manager &amp; Ericsson Order Care </a:t>
            </a:r>
            <a:endParaRPr lang="en-US" sz="1200"/>
          </a:p>
        </p:txBody>
      </p:sp>
      <p:sp>
        <p:nvSpPr>
          <p:cNvPr id="103429" name="Footer Placehold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200" smtClean="0"/>
              <a:t> </a:t>
            </a:r>
            <a:endParaRPr lang="en-US" sz="1200"/>
          </a:p>
        </p:txBody>
      </p:sp>
      <p:sp>
        <p:nvSpPr>
          <p:cNvPr id="10343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3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r>
              <a:rPr lang="en-US" smtClean="0"/>
              <a:t>2015-01-19 </a:t>
            </a:r>
            <a:endParaRPr lang="en-US"/>
          </a:p>
        </p:txBody>
      </p:sp>
      <p:sp>
        <p:nvSpPr>
          <p:cNvPr id="5" name="Slide Number Placeholder 4"/>
          <p:cNvSpPr>
            <a:spLocks noGrp="1"/>
          </p:cNvSpPr>
          <p:nvPr>
            <p:ph type="sldNum" sz="quarter" idx="11"/>
          </p:nvPr>
        </p:nvSpPr>
        <p:spPr/>
        <p:txBody>
          <a:bodyPr/>
          <a:lstStyle/>
          <a:p>
            <a:pPr>
              <a:defRPr/>
            </a:pPr>
            <a:fld id="{39EACB0D-5162-47B6-88E5-90C20B02C1FB}" type="slidenum">
              <a:rPr lang="en-US" smtClean="0"/>
              <a:t>6</a:t>
            </a:fld>
            <a:endParaRPr lang="en-US" dirty="0"/>
          </a:p>
        </p:txBody>
      </p:sp>
      <p:sp>
        <p:nvSpPr>
          <p:cNvPr id="6" name="Header Placeholder 5"/>
          <p:cNvSpPr>
            <a:spLocks noGrp="1"/>
          </p:cNvSpPr>
          <p:nvPr>
            <p:ph type="hdr" sz="quarter" idx="12"/>
          </p:nvPr>
        </p:nvSpPr>
        <p:spPr/>
        <p:txBody>
          <a:bodyPr/>
          <a:lstStyle/>
          <a:p>
            <a:pPr>
              <a:defRPr/>
            </a:pPr>
            <a:r>
              <a:rPr lang="en-US" smtClean="0"/>
              <a:t>2015 User Webinar: Ericsson Catalog Manager &amp; Ericsson Order Care </a:t>
            </a:r>
            <a:endParaRPr lang="en-US" dirty="0"/>
          </a:p>
        </p:txBody>
      </p:sp>
      <p:sp>
        <p:nvSpPr>
          <p:cNvPr id="7" name="Footer Placeholder 6"/>
          <p:cNvSpPr>
            <a:spLocks noGrp="1"/>
          </p:cNvSpPr>
          <p:nvPr>
            <p:ph type="ftr" sz="quarter" idx="13"/>
          </p:nvPr>
        </p:nvSpPr>
        <p:spPr/>
        <p:txBody>
          <a:bodyPr/>
          <a:lstStyle/>
          <a:p>
            <a:pPr>
              <a:defRPr/>
            </a:pPr>
            <a:r>
              <a:rPr lang="en-US" smtClean="0"/>
              <a:t> </a:t>
            </a:r>
            <a:endParaRPr lang="en-US"/>
          </a:p>
        </p:txBody>
      </p:sp>
    </p:spTree>
    <p:extLst>
      <p:ext uri="{BB962C8B-B14F-4D97-AF65-F5344CB8AC3E}">
        <p14:creationId xmlns:p14="http://schemas.microsoft.com/office/powerpoint/2010/main" val="41952003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smtClean="0">
                <a:latin typeface="Arial" pitchFamily="34" charset="0"/>
              </a:rPr>
              <a:t>... From the bottom we have 3 main strategic components/initatives:</a:t>
            </a:r>
          </a:p>
          <a:p>
            <a:endParaRPr lang="it-IT" smtClean="0">
              <a:latin typeface="Arial" pitchFamily="34" charset="0"/>
            </a:endParaRPr>
          </a:p>
          <a:p>
            <a:r>
              <a:rPr lang="it-IT" smtClean="0">
                <a:latin typeface="Arial" pitchFamily="34" charset="0"/>
              </a:rPr>
              <a:t>	- Common Characterstics	=&gt; Architecture principles and common execution environment.,  «how we put all component togheter»</a:t>
            </a:r>
          </a:p>
          <a:p>
            <a:r>
              <a:rPr lang="it-IT" smtClean="0">
                <a:latin typeface="Arial" pitchFamily="34" charset="0"/>
              </a:rPr>
              <a:t>	- Platform		=&gt; how we realize the single «block» (SW components) of the architecture</a:t>
            </a:r>
          </a:p>
          <a:p>
            <a:r>
              <a:rPr lang="it-IT" smtClean="0">
                <a:latin typeface="Arial" pitchFamily="34" charset="0"/>
              </a:rPr>
              <a:t>	- Business Solution	=&gt; how we use architecture and SW platform components to address specific customer need</a:t>
            </a:r>
          </a:p>
          <a:p>
            <a:r>
              <a:rPr lang="it-IT" smtClean="0">
                <a:latin typeface="Arial" pitchFamily="34" charset="0"/>
              </a:rPr>
              <a:t>			=&gt; Strategy principles of our solutions</a:t>
            </a:r>
          </a:p>
          <a:p>
            <a:endParaRPr lang="it-IT" smtClean="0">
              <a:latin typeface="Arial" pitchFamily="34" charset="0"/>
            </a:endParaRPr>
          </a:p>
          <a:p>
            <a:r>
              <a:rPr lang="it-IT" smtClean="0">
                <a:latin typeface="Arial" pitchFamily="34" charset="0"/>
              </a:rPr>
              <a:t>These strategic components form the base for our OSS/BSS portfolio which is:</a:t>
            </a:r>
          </a:p>
          <a:p>
            <a:pPr>
              <a:buFontTx/>
              <a:buChar char="-"/>
            </a:pPr>
            <a:r>
              <a:rPr lang="it-IT" smtClean="0">
                <a:latin typeface="Arial" pitchFamily="34" charset="0"/>
              </a:rPr>
              <a:t>Process driven -&gt; software products not only supporting a specific functional role, but also adapted to fit the lifecycle of our customers business processes</a:t>
            </a:r>
          </a:p>
          <a:p>
            <a:pPr>
              <a:buFontTx/>
              <a:buChar char="-"/>
            </a:pPr>
            <a:r>
              <a:rPr lang="it-IT" smtClean="0">
                <a:latin typeface="Arial" pitchFamily="34" charset="0"/>
              </a:rPr>
              <a:t>End-to-End -&gt; covering each process end-to-end, organinc and in-organic efforts. Evolving our OBS portfolio to meet the needs of the market  </a:t>
            </a:r>
          </a:p>
          <a:p>
            <a:pPr>
              <a:buFontTx/>
              <a:buChar char="-"/>
            </a:pPr>
            <a:r>
              <a:rPr lang="it-IT" smtClean="0">
                <a:latin typeface="Arial" pitchFamily="34" charset="0"/>
              </a:rPr>
              <a:t>Business Suites –&gt; </a:t>
            </a:r>
            <a:r>
              <a:rPr lang="en-US" smtClean="0">
                <a:latin typeface="Arial" pitchFamily="34" charset="0"/>
              </a:rPr>
              <a:t>pre-integrated solutions that meet our customers need (repetitive offering scenarios), with speed time to market and minimize deployment costs and TCO. Pre-integration of software components to meet the needs of a business process; e.g. L2S, S2C etc</a:t>
            </a:r>
            <a:r>
              <a:rPr lang="it-IT" smtClean="0">
                <a:latin typeface="Arial" pitchFamily="34" charset="0"/>
              </a:rPr>
              <a:t>			</a:t>
            </a:r>
          </a:p>
          <a:p>
            <a:endParaRPr lang="it-IT" smtClean="0">
              <a:latin typeface="Arial" pitchFamily="34" charset="0"/>
            </a:endParaRPr>
          </a:p>
          <a:p>
            <a:r>
              <a:rPr lang="it-IT" smtClean="0">
                <a:latin typeface="Arial" pitchFamily="34" charset="0"/>
              </a:rPr>
              <a:t>Goals of our Strategy:</a:t>
            </a:r>
          </a:p>
          <a:p>
            <a:r>
              <a:rPr lang="it-IT" smtClean="0">
                <a:latin typeface="Arial" pitchFamily="34" charset="0"/>
              </a:rPr>
              <a:t>	- Optimize cost either investment and recurrent</a:t>
            </a:r>
          </a:p>
          <a:p>
            <a:r>
              <a:rPr lang="it-IT" smtClean="0">
                <a:latin typeface="Arial" pitchFamily="34" charset="0"/>
              </a:rPr>
              <a:t>	- Enabling simple / effective transformation</a:t>
            </a:r>
            <a:endParaRPr lang="en-US" smtClean="0">
              <a:latin typeface="Arial" pitchFamily="34" charset="0"/>
            </a:endParaRPr>
          </a:p>
          <a:p>
            <a:endParaRPr lang="en-US" smtClean="0">
              <a:latin typeface="Arial" pitchFamily="34" charset="0"/>
            </a:endParaRPr>
          </a:p>
        </p:txBody>
      </p:sp>
      <p:sp>
        <p:nvSpPr>
          <p:cNvPr id="4" name="Date Placeholder 3"/>
          <p:cNvSpPr>
            <a:spLocks noGrp="1"/>
          </p:cNvSpPr>
          <p:nvPr>
            <p:ph type="dt" sz="quarter" idx="1"/>
          </p:nvPr>
        </p:nvSpPr>
        <p:spPr/>
        <p:txBody>
          <a:bodyPr/>
          <a:lstStyle/>
          <a:p>
            <a:pPr>
              <a:defRPr/>
            </a:pPr>
            <a:r>
              <a:rPr lang="en-US" smtClean="0"/>
              <a:t>2015-01-19 </a:t>
            </a:r>
            <a:endParaRPr lang="en-US"/>
          </a:p>
        </p:txBody>
      </p:sp>
      <p:sp>
        <p:nvSpPr>
          <p:cNvPr id="37893"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fld id="{893C15F0-B7C8-45F7-A7CA-B0A979809953}" type="slidenum">
              <a:rPr lang="en-US" sz="1200" smtClean="0"/>
              <a:t>7</a:t>
            </a:fld>
            <a:endParaRPr lang="en-US" sz="1200"/>
          </a:p>
        </p:txBody>
      </p:sp>
      <p:sp>
        <p:nvSpPr>
          <p:cNvPr id="6" name="Header Placeholder 5"/>
          <p:cNvSpPr>
            <a:spLocks noGrp="1"/>
          </p:cNvSpPr>
          <p:nvPr>
            <p:ph type="hdr" sz="quarter"/>
          </p:nvPr>
        </p:nvSpPr>
        <p:spPr/>
        <p:txBody>
          <a:bodyPr/>
          <a:lstStyle/>
          <a:p>
            <a:pPr>
              <a:defRPr/>
            </a:pPr>
            <a:r>
              <a:rPr lang="en-US" smtClean="0"/>
              <a:t>2015 User Webinar: Ericsson Catalog Manager &amp; Ericsson Order Care </a:t>
            </a:r>
            <a:endParaRPr lang="en-US"/>
          </a:p>
        </p:txBody>
      </p:sp>
      <p:sp>
        <p:nvSpPr>
          <p:cNvPr id="7" name="Footer Placeholder 6"/>
          <p:cNvSpPr>
            <a:spLocks noGrp="1"/>
          </p:cNvSpPr>
          <p:nvPr>
            <p:ph type="ftr" sz="quarter" idx="4"/>
          </p:nvPr>
        </p:nvSpPr>
        <p:spPr/>
        <p:txBody>
          <a:bodyPr/>
          <a:lstStyle/>
          <a:p>
            <a:pPr>
              <a:defRPr/>
            </a:pPr>
            <a:r>
              <a:rPr lang="en-US" smtClean="0"/>
              <a:t> </a:t>
            </a:r>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cs typeface="Arial" pitchFamily="34" charset="0"/>
              </a:rPr>
              <a:t>2015-01-19 </a:t>
            </a:r>
            <a:endParaRPr lang="en-US" sz="1200">
              <a:cs typeface="Arial" pitchFamily="34" charset="0"/>
            </a:endParaRPr>
          </a:p>
        </p:txBody>
      </p:sp>
      <p:sp>
        <p:nvSpPr>
          <p:cNvPr id="38916"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fld id="{C33D302A-8E4A-4788-8846-437BDA78A662}" type="slidenum">
              <a:rPr lang="en-US" sz="1200" smtClean="0"/>
              <a:t>8</a:t>
            </a:fld>
            <a:endParaRPr lang="en-US" sz="1200"/>
          </a:p>
        </p:txBody>
      </p:sp>
      <p:sp>
        <p:nvSpPr>
          <p:cNvPr id="38917" name="Header Placeholder 5"/>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cs typeface="Arial" pitchFamily="34" charset="0"/>
              </a:rPr>
              <a:t>2015 User Webinar: Ericsson Catalog Manager &amp; Ericsson Order Care </a:t>
            </a:r>
            <a:endParaRPr lang="en-US" sz="1200">
              <a:cs typeface="Arial" pitchFamily="34" charset="0"/>
            </a:endParaRPr>
          </a:p>
        </p:txBody>
      </p:sp>
      <p:sp>
        <p:nvSpPr>
          <p:cNvPr id="38918"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smtClean="0">
                <a:cs typeface="Arial" pitchFamily="34" charset="0"/>
              </a:rPr>
              <a:t> </a:t>
            </a:r>
            <a:endParaRPr lang="en-US" sz="1200">
              <a:cs typeface="Arial" pitchFamily="34" charset="0"/>
            </a:endParaRPr>
          </a:p>
        </p:txBody>
      </p:sp>
      <p:sp>
        <p:nvSpPr>
          <p:cNvPr id="38919" name="Notes Placeholder 1"/>
          <p:cNvSpPr>
            <a:spLocks noGrp="1"/>
          </p:cNvSpPr>
          <p:nvPr/>
        </p:nvSpPr>
        <p:spPr bwMode="auto">
          <a:xfrm>
            <a:off x="688499" y="4758889"/>
            <a:ext cx="5507990" cy="4508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a:lstStyle/>
          <a:p>
            <a:pPr eaLnBrk="0" hangingPunct="0">
              <a:spcBef>
                <a:spcPct val="30000"/>
              </a:spcBef>
            </a:pPr>
            <a:endParaRPr lang="en-US" sz="1200"/>
          </a:p>
        </p:txBody>
      </p:sp>
      <p:sp>
        <p:nvSpPr>
          <p:cNvPr id="3" name="Notes Placeholder 2"/>
          <p:cNvSpPr>
            <a:spLocks noGrp="1"/>
          </p:cNvSpPr>
          <p:nvPr>
            <p:ph type="body" idx="1"/>
          </p:nvPr>
        </p:nvSpPr>
        <p:spPr/>
        <p:txBody>
          <a:bodyPr/>
          <a:lstStyle/>
          <a:p>
            <a:pPr marL="176135" indent="-176135">
              <a:spcBef>
                <a:spcPts val="1198"/>
              </a:spcBef>
              <a:buClr>
                <a:schemeClr val="bg1"/>
              </a:buClr>
              <a:buFont typeface="Wingdings" pitchFamily="2" charset="2"/>
              <a:buChar char="§"/>
              <a:defRPr/>
            </a:pPr>
            <a:r>
              <a:rPr lang="en-US" dirty="0" smtClean="0">
                <a:solidFill>
                  <a:schemeClr val="bg1"/>
                </a:solidFill>
              </a:rPr>
              <a:t>Catalog driven composition to all the key management processes</a:t>
            </a:r>
          </a:p>
          <a:p>
            <a:pPr marL="176135" indent="-176135">
              <a:spcBef>
                <a:spcPts val="1198"/>
              </a:spcBef>
              <a:buClr>
                <a:schemeClr val="bg1"/>
              </a:buClr>
              <a:buFont typeface="Wingdings" pitchFamily="2" charset="2"/>
              <a:buChar char="§"/>
              <a:defRPr/>
            </a:pPr>
            <a:r>
              <a:rPr lang="en-US" dirty="0" smtClean="0">
                <a:solidFill>
                  <a:schemeClr val="bg1"/>
                </a:solidFill>
              </a:rPr>
              <a:t>“Componentization” of fulfillment, assurance, and charging &amp; policy to provide faster product lifecycle management and easier IT maintenance  </a:t>
            </a:r>
          </a:p>
          <a:p>
            <a:pPr marL="176135" indent="-176135">
              <a:spcBef>
                <a:spcPts val="1198"/>
              </a:spcBef>
              <a:buClr>
                <a:schemeClr val="bg1"/>
              </a:buClr>
              <a:buFont typeface="Wingdings" pitchFamily="2" charset="2"/>
              <a:buChar char="§"/>
              <a:defRPr/>
            </a:pPr>
            <a:r>
              <a:rPr lang="en-US" dirty="0" smtClean="0">
                <a:solidFill>
                  <a:schemeClr val="bg1"/>
                </a:solidFill>
              </a:rPr>
              <a:t>Real-time network services </a:t>
            </a:r>
            <a:r>
              <a:rPr lang="en-US" altLang="en-US" dirty="0" smtClean="0">
                <a:solidFill>
                  <a:schemeClr val="bg1"/>
                </a:solidFill>
              </a:rPr>
              <a:t>L</a:t>
            </a:r>
            <a:r>
              <a:rPr lang="en-US" dirty="0" smtClean="0">
                <a:solidFill>
                  <a:schemeClr val="bg1"/>
                </a:solidFill>
              </a:rPr>
              <a:t>everage innovation strength of partners and vertical enterprises</a:t>
            </a:r>
            <a:endParaRPr lang="en-US" altLang="en-US" dirty="0" smtClean="0">
              <a:solidFill>
                <a:srgbClr val="FFFFFF"/>
              </a:solidFill>
            </a:endParaRPr>
          </a:p>
          <a:p>
            <a:pPr marL="176135" indent="-176135">
              <a:spcBef>
                <a:spcPts val="1198"/>
              </a:spcBef>
              <a:buClr>
                <a:schemeClr val="bg1"/>
              </a:buClr>
              <a:buFont typeface="Wingdings" pitchFamily="2" charset="2"/>
              <a:buChar char="§"/>
              <a:defRPr/>
            </a:pPr>
            <a:r>
              <a:rPr lang="en-US" dirty="0" smtClean="0">
                <a:solidFill>
                  <a:schemeClr val="bg1"/>
                </a:solidFill>
              </a:rPr>
              <a:t>Provides a common framework for exposure, browsing and composition of real-time services </a:t>
            </a:r>
          </a:p>
          <a:p>
            <a:pPr marL="176135" indent="-176135">
              <a:spcBef>
                <a:spcPts val="1198"/>
              </a:spcBef>
              <a:buClr>
                <a:schemeClr val="bg1"/>
              </a:buClr>
              <a:buFont typeface="Wingdings" pitchFamily="2" charset="2"/>
              <a:buChar char="§"/>
              <a:defRPr/>
            </a:pPr>
            <a:r>
              <a:rPr lang="en-US" dirty="0" smtClean="0">
                <a:solidFill>
                  <a:schemeClr val="bg1"/>
                </a:solidFill>
              </a:rPr>
              <a:t>All in all: Service Enablement + catalog driven business processes</a:t>
            </a:r>
          </a:p>
          <a:p>
            <a:pPr eaLnBrk="1" hangingPunct="1">
              <a:buFont typeface="Arial" pitchFamily="34" charset="0"/>
              <a:buNone/>
              <a:defRPr/>
            </a:pPr>
            <a:endParaRPr lang="en-US" dirty="0" smtClean="0">
              <a:cs typeface="Arial" panose="020B0604020202020204" pitchFamily="34" charset="0"/>
            </a:endParaRPr>
          </a:p>
          <a:p>
            <a:pPr eaLnBrk="1" hangingPunct="1">
              <a:buFont typeface="Arial" pitchFamily="34" charset="0"/>
              <a:buNone/>
              <a:defRPr/>
            </a:pPr>
            <a:endParaRPr lang="en-US" dirty="0" smtClean="0">
              <a:cs typeface="Arial" panose="020B0604020202020204" pitchFamily="34" charset="0"/>
            </a:endParaRPr>
          </a:p>
          <a:p>
            <a:pPr eaLnBrk="1" hangingPunct="1">
              <a:buFont typeface="Arial" pitchFamily="34" charset="0"/>
              <a:buNone/>
              <a:defRPr/>
            </a:pPr>
            <a:r>
              <a:rPr lang="en-US" dirty="0" smtClean="0">
                <a:cs typeface="Arial" panose="020B0604020202020204" pitchFamily="34" charset="0"/>
              </a:rPr>
              <a:t>Standards-Based Platform</a:t>
            </a:r>
          </a:p>
          <a:p>
            <a:pPr lvl="1" eaLnBrk="1" hangingPunct="1">
              <a:buClr>
                <a:schemeClr val="bg1"/>
              </a:buClr>
              <a:defRPr/>
            </a:pPr>
            <a:r>
              <a:rPr lang="en-US" dirty="0" smtClean="0">
                <a:cs typeface="Arial" panose="020B0604020202020204" pitchFamily="34" charset="0"/>
              </a:rPr>
              <a:t>Retooling of OSS/BSS creating an </a:t>
            </a:r>
            <a:br>
              <a:rPr lang="en-US" dirty="0" smtClean="0">
                <a:cs typeface="Arial" panose="020B0604020202020204" pitchFamily="34" charset="0"/>
              </a:rPr>
            </a:br>
            <a:r>
              <a:rPr lang="en-US" dirty="0" smtClean="0">
                <a:cs typeface="Arial" panose="020B0604020202020204" pitchFamily="34" charset="0"/>
              </a:rPr>
              <a:t>NGOSS information platform</a:t>
            </a:r>
          </a:p>
          <a:p>
            <a:pPr lvl="1" eaLnBrk="1" hangingPunct="1">
              <a:buClr>
                <a:schemeClr val="bg1"/>
              </a:buClr>
              <a:defRPr/>
            </a:pPr>
            <a:r>
              <a:rPr lang="en-US" dirty="0" smtClean="0">
                <a:cs typeface="Arial" panose="020B0604020202020204" pitchFamily="34" charset="0"/>
              </a:rPr>
              <a:t>Enabling transition to SDN and NFV service-centric network</a:t>
            </a:r>
          </a:p>
          <a:p>
            <a:pPr eaLnBrk="1" hangingPunct="1">
              <a:spcBef>
                <a:spcPct val="20000"/>
              </a:spcBef>
              <a:buClr>
                <a:srgbClr val="00A9D4"/>
              </a:buClr>
              <a:defRPr/>
            </a:pPr>
            <a:endParaRPr lang="en-US" kern="0" dirty="0" smtClean="0">
              <a:ea typeface="ＭＳ Ｐゴシック" charset="0"/>
              <a:cs typeface="Arial" panose="020B0604020202020204" pitchFamily="34" charset="0"/>
            </a:endParaRPr>
          </a:p>
          <a:p>
            <a:pPr eaLnBrk="1" hangingPunct="1">
              <a:spcBef>
                <a:spcPct val="20000"/>
              </a:spcBef>
              <a:buClr>
                <a:srgbClr val="00A9D4"/>
              </a:buClr>
              <a:defRPr/>
            </a:pPr>
            <a:r>
              <a:rPr lang="en-US" kern="0" dirty="0" smtClean="0">
                <a:ea typeface="ＭＳ Ｐゴシック" charset="0"/>
                <a:cs typeface="Arial" panose="020B0604020202020204" pitchFamily="34" charset="0"/>
              </a:rPr>
              <a:t>Process Consistency</a:t>
            </a:r>
          </a:p>
          <a:p>
            <a:pPr marL="533166" lvl="1" indent="-177722">
              <a:spcBef>
                <a:spcPct val="20000"/>
              </a:spcBef>
              <a:buClr>
                <a:schemeClr val="bg1"/>
              </a:buClr>
              <a:buFont typeface="Ericsson Capital TT" charset="0"/>
              <a:buChar char="–"/>
              <a:defRPr/>
            </a:pPr>
            <a:r>
              <a:rPr lang="en-US" dirty="0" smtClean="0">
                <a:cs typeface="Arial" panose="020B0604020202020204" pitchFamily="34" charset="0"/>
              </a:rPr>
              <a:t>Synchronized product catalog, order handling, inventory management, provisioning automation, and data management leading to consistent customer experience</a:t>
            </a:r>
          </a:p>
          <a:p>
            <a:pPr marL="533166" lvl="1" indent="-177722">
              <a:spcBef>
                <a:spcPct val="20000"/>
              </a:spcBef>
              <a:buClr>
                <a:schemeClr val="bg1"/>
              </a:buClr>
              <a:buFont typeface="Ericsson Capital TT" charset="0"/>
              <a:buChar char="–"/>
              <a:defRPr/>
            </a:pPr>
            <a:endParaRPr lang="en-US" dirty="0" smtClean="0">
              <a:cs typeface="Arial" panose="020B0604020202020204" pitchFamily="34" charset="0"/>
            </a:endParaRPr>
          </a:p>
          <a:p>
            <a:pPr eaLnBrk="1" hangingPunct="1">
              <a:spcBef>
                <a:spcPct val="20000"/>
              </a:spcBef>
              <a:buClr>
                <a:srgbClr val="00A9D4"/>
              </a:buClr>
              <a:defRPr/>
            </a:pPr>
            <a:r>
              <a:rPr lang="en-US" kern="0" dirty="0" smtClean="0">
                <a:ea typeface="ＭＳ Ｐゴシック" charset="0"/>
                <a:cs typeface="Arial" panose="020B0604020202020204" pitchFamily="34" charset="0"/>
              </a:rPr>
              <a:t>Greater Efficiency</a:t>
            </a:r>
          </a:p>
          <a:p>
            <a:pPr marL="533166" lvl="1" indent="-177722">
              <a:spcBef>
                <a:spcPct val="20000"/>
              </a:spcBef>
              <a:buClr>
                <a:schemeClr val="bg1"/>
              </a:buClr>
              <a:buFont typeface="Ericsson Capital TT" charset="0"/>
              <a:buChar char="–"/>
              <a:defRPr/>
            </a:pPr>
            <a:r>
              <a:rPr lang="en-US" dirty="0" smtClean="0">
                <a:cs typeface="Arial" panose="020B0604020202020204" pitchFamily="34" charset="0"/>
              </a:rPr>
              <a:t>Faster in-service of new network</a:t>
            </a:r>
          </a:p>
          <a:p>
            <a:pPr marL="533166" lvl="1" indent="-177722">
              <a:spcBef>
                <a:spcPct val="20000"/>
              </a:spcBef>
              <a:buClr>
                <a:schemeClr val="bg1"/>
              </a:buClr>
              <a:buFont typeface="Ericsson Capital TT" charset="0"/>
              <a:buChar char="–"/>
              <a:defRPr/>
            </a:pPr>
            <a:r>
              <a:rPr lang="en-US" dirty="0" smtClean="0">
                <a:cs typeface="Arial" panose="020B0604020202020204" pitchFamily="34" charset="0"/>
              </a:rPr>
              <a:t>Faster service provisioning with fewer errors </a:t>
            </a:r>
          </a:p>
          <a:p>
            <a:pPr marL="533166" lvl="1" indent="-177722">
              <a:spcBef>
                <a:spcPct val="20000"/>
              </a:spcBef>
              <a:buClr>
                <a:schemeClr val="bg1"/>
              </a:buClr>
              <a:buFont typeface="Ericsson Capital TT" charset="0"/>
              <a:buChar char="–"/>
              <a:defRPr/>
            </a:pPr>
            <a:r>
              <a:rPr lang="en-US" dirty="0" smtClean="0">
                <a:cs typeface="Arial" panose="020B0604020202020204" pitchFamily="34" charset="0"/>
              </a:rPr>
              <a:t>More accurate and real-time network and service inventory information</a:t>
            </a:r>
          </a:p>
          <a:p>
            <a:pPr marL="533166" lvl="1" indent="-177722">
              <a:spcBef>
                <a:spcPct val="20000"/>
              </a:spcBef>
              <a:buClr>
                <a:schemeClr val="bg1"/>
              </a:buClr>
              <a:buFont typeface="Ericsson Capital TT" charset="0"/>
              <a:buChar char="–"/>
              <a:defRPr/>
            </a:pPr>
            <a:r>
              <a:rPr lang="en-US" dirty="0" smtClean="0">
                <a:cs typeface="Arial" panose="020B0604020202020204" pitchFamily="34" charset="0"/>
              </a:rPr>
              <a:t>Unified ordering and provisioning</a:t>
            </a:r>
          </a:p>
          <a:p>
            <a:pPr marL="533166" lvl="1" indent="-177722">
              <a:spcBef>
                <a:spcPct val="20000"/>
              </a:spcBef>
              <a:buClr>
                <a:schemeClr val="bg1"/>
              </a:buClr>
              <a:buFont typeface="Ericsson Capital TT" charset="0"/>
              <a:buChar char="–"/>
              <a:defRPr/>
            </a:pPr>
            <a:endParaRPr lang="en-US" dirty="0" smtClean="0">
              <a:cs typeface="Arial" panose="020B0604020202020204" pitchFamily="34" charset="0"/>
            </a:endParaRPr>
          </a:p>
          <a:p>
            <a:pPr eaLnBrk="1" hangingPunct="1">
              <a:spcBef>
                <a:spcPct val="20000"/>
              </a:spcBef>
              <a:buClr>
                <a:srgbClr val="00A9D4"/>
              </a:buClr>
              <a:defRPr/>
            </a:pPr>
            <a:r>
              <a:rPr lang="en-US" kern="0" dirty="0" smtClean="0">
                <a:ea typeface="ＭＳ Ｐゴシック" charset="0"/>
                <a:cs typeface="Arial" panose="020B0604020202020204" pitchFamily="34" charset="0"/>
              </a:rPr>
              <a:t>More Value from Network</a:t>
            </a:r>
          </a:p>
          <a:p>
            <a:pPr marL="533166" lvl="1" indent="-177722">
              <a:spcBef>
                <a:spcPct val="20000"/>
              </a:spcBef>
              <a:buClr>
                <a:schemeClr val="bg1"/>
              </a:buClr>
              <a:buFont typeface="Ericsson Capital TT" charset="0"/>
              <a:buChar char="–"/>
              <a:defRPr/>
            </a:pPr>
            <a:r>
              <a:rPr lang="en-US" dirty="0" smtClean="0">
                <a:cs typeface="Arial" panose="020B0604020202020204" pitchFamily="34" charset="0"/>
              </a:rPr>
              <a:t>Improved and real-time network asset visibility</a:t>
            </a:r>
          </a:p>
          <a:p>
            <a:pPr marL="533166" lvl="1" indent="-177722">
              <a:spcBef>
                <a:spcPct val="20000"/>
              </a:spcBef>
              <a:buClr>
                <a:schemeClr val="bg1"/>
              </a:buClr>
              <a:buFont typeface="Ericsson Capital TT" charset="0"/>
              <a:buChar char="–"/>
              <a:defRPr/>
            </a:pPr>
            <a:r>
              <a:rPr lang="en-US" dirty="0" smtClean="0">
                <a:cs typeface="Arial" panose="020B0604020202020204" pitchFamily="34" charset="0"/>
              </a:rPr>
              <a:t>Proactive and accelerated capacity planning</a:t>
            </a:r>
          </a:p>
          <a:p>
            <a:pPr marL="533166" lvl="1" indent="-177722">
              <a:spcBef>
                <a:spcPct val="20000"/>
              </a:spcBef>
              <a:buClr>
                <a:schemeClr val="bg1"/>
              </a:buClr>
              <a:buFont typeface="Ericsson Capital TT" charset="0"/>
              <a:buChar char="–"/>
              <a:defRPr/>
            </a:pPr>
            <a:r>
              <a:rPr lang="en-US" dirty="0" smtClean="0">
                <a:cs typeface="Arial" panose="020B0604020202020204" pitchFamily="34" charset="0"/>
              </a:rPr>
              <a:t>Better data quality and consistency</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300" smtClean="0"/>
              <a:t>2015 User Webinar: Ericsson Catalog Manager &amp; Ericsson Order Care </a:t>
            </a:r>
            <a:endParaRPr lang="en-US" sz="1300"/>
          </a:p>
        </p:txBody>
      </p:sp>
      <p:sp>
        <p:nvSpPr>
          <p:cNvPr id="39939" name="Rectangle 3"/>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300" smtClean="0"/>
              <a:t>2015-01-19 </a:t>
            </a:r>
            <a:endParaRPr lang="en-US" sz="1300"/>
          </a:p>
        </p:txBody>
      </p:sp>
      <p:sp>
        <p:nvSpPr>
          <p:cNvPr id="39940" name="Rectangle 6"/>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300" smtClean="0"/>
              <a:t> </a:t>
            </a:r>
            <a:endParaRPr lang="en-US" sz="1300"/>
          </a:p>
        </p:txBody>
      </p:sp>
      <p:sp>
        <p:nvSpPr>
          <p:cNvPr id="39941"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51940" indent="-289208" eaLnBrk="0" hangingPunct="0">
              <a:defRPr sz="2000">
                <a:solidFill>
                  <a:schemeClr val="tx1"/>
                </a:solidFill>
                <a:latin typeface="Arial" pitchFamily="34" charset="0"/>
                <a:ea typeface="MS PGothic" pitchFamily="34" charset="-128"/>
              </a:defRPr>
            </a:lvl2pPr>
            <a:lvl3pPr marL="1156830" indent="-231366" eaLnBrk="0" hangingPunct="0">
              <a:defRPr sz="2000">
                <a:solidFill>
                  <a:schemeClr val="tx1"/>
                </a:solidFill>
                <a:latin typeface="Arial" pitchFamily="34" charset="0"/>
                <a:ea typeface="MS PGothic" pitchFamily="34" charset="-128"/>
              </a:defRPr>
            </a:lvl3pPr>
            <a:lvl4pPr marL="1619562" indent="-231366" eaLnBrk="0" hangingPunct="0">
              <a:defRPr sz="2000">
                <a:solidFill>
                  <a:schemeClr val="tx1"/>
                </a:solidFill>
                <a:latin typeface="Arial" pitchFamily="34" charset="0"/>
                <a:ea typeface="MS PGothic" pitchFamily="34" charset="-128"/>
              </a:defRPr>
            </a:lvl4pPr>
            <a:lvl5pPr marL="2082295" indent="-231366" eaLnBrk="0" hangingPunct="0">
              <a:defRPr sz="2000">
                <a:solidFill>
                  <a:schemeClr val="tx1"/>
                </a:solidFill>
                <a:latin typeface="Arial" pitchFamily="34" charset="0"/>
                <a:ea typeface="MS PGothic" pitchFamily="34" charset="-128"/>
              </a:defRPr>
            </a:lvl5pPr>
            <a:lvl6pPr marL="2545027" indent="-231366" eaLnBrk="0" fontAlgn="base" hangingPunct="0">
              <a:spcBef>
                <a:spcPct val="0"/>
              </a:spcBef>
              <a:spcAft>
                <a:spcPct val="0"/>
              </a:spcAft>
              <a:defRPr sz="2000">
                <a:solidFill>
                  <a:schemeClr val="tx1"/>
                </a:solidFill>
                <a:latin typeface="Arial" pitchFamily="34" charset="0"/>
                <a:ea typeface="MS PGothic" pitchFamily="34" charset="-128"/>
              </a:defRPr>
            </a:lvl6pPr>
            <a:lvl7pPr marL="3007759" indent="-231366" eaLnBrk="0" fontAlgn="base" hangingPunct="0">
              <a:spcBef>
                <a:spcPct val="0"/>
              </a:spcBef>
              <a:spcAft>
                <a:spcPct val="0"/>
              </a:spcAft>
              <a:defRPr sz="2000">
                <a:solidFill>
                  <a:schemeClr val="tx1"/>
                </a:solidFill>
                <a:latin typeface="Arial" pitchFamily="34" charset="0"/>
                <a:ea typeface="MS PGothic" pitchFamily="34" charset="-128"/>
              </a:defRPr>
            </a:lvl7pPr>
            <a:lvl8pPr marL="3470491" indent="-231366" eaLnBrk="0" fontAlgn="base" hangingPunct="0">
              <a:spcBef>
                <a:spcPct val="0"/>
              </a:spcBef>
              <a:spcAft>
                <a:spcPct val="0"/>
              </a:spcAft>
              <a:defRPr sz="2000">
                <a:solidFill>
                  <a:schemeClr val="tx1"/>
                </a:solidFill>
                <a:latin typeface="Arial" pitchFamily="34" charset="0"/>
                <a:ea typeface="MS PGothic" pitchFamily="34" charset="-128"/>
              </a:defRPr>
            </a:lvl8pPr>
            <a:lvl9pPr marL="3933223" indent="-231366"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fld id="{AAF61905-E603-48EB-9D9A-DF27337EE9BE}" type="slidenum">
              <a:rPr lang="en-US" sz="1300" smtClean="0"/>
              <a:t>9</a:t>
            </a:fld>
            <a:endParaRPr lang="en-US" sz="1300"/>
          </a:p>
        </p:txBody>
      </p:sp>
      <p:sp>
        <p:nvSpPr>
          <p:cNvPr id="3994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9" name="Rectangle 3"/>
          <p:cNvSpPr>
            <a:spLocks noGrp="1" noChangeArrowheads="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US" dirty="0" smtClean="0"/>
              <a:t>Catalog driven business processes is an essential approach to reach agility. </a:t>
            </a:r>
          </a:p>
          <a:p>
            <a:pPr>
              <a:defRPr/>
            </a:pPr>
            <a:endParaRPr lang="en-US" dirty="0" smtClean="0"/>
          </a:p>
          <a:p>
            <a:pPr>
              <a:defRPr/>
            </a:pPr>
            <a:r>
              <a:rPr lang="en-US" dirty="0" smtClean="0"/>
              <a:t>The catalog manger product </a:t>
            </a:r>
            <a:r>
              <a:rPr lang="en-US" dirty="0" err="1" smtClean="0"/>
              <a:t>aquired</a:t>
            </a:r>
            <a:r>
              <a:rPr lang="en-US" dirty="0" smtClean="0"/>
              <a:t> by </a:t>
            </a:r>
            <a:r>
              <a:rPr lang="en-US" dirty="0" err="1" smtClean="0"/>
              <a:t>ConceptWave</a:t>
            </a:r>
            <a:r>
              <a:rPr lang="en-US" dirty="0" smtClean="0"/>
              <a:t> is the engine to realize the catalog driven OSS/BSS.</a:t>
            </a:r>
          </a:p>
          <a:p>
            <a:pPr eaLnBrk="1" hangingPunct="1">
              <a:defRPr/>
            </a:pPr>
            <a:endParaRPr lang="en-US" dirty="0" smtClean="0">
              <a:latin typeface="Arial" pitchFamily="34" charset="0"/>
            </a:endParaRPr>
          </a:p>
          <a:p>
            <a:pPr>
              <a:spcBef>
                <a:spcPts val="999"/>
              </a:spcBef>
              <a:buClr>
                <a:srgbClr val="90B9B6"/>
              </a:buClr>
              <a:buSzPct val="100000"/>
              <a:defRPr/>
            </a:pPr>
            <a:r>
              <a:rPr lang="en-US" b="1" dirty="0" smtClean="0">
                <a:solidFill>
                  <a:srgbClr val="90B9B6"/>
                </a:solidFill>
                <a:ea typeface="+mn-ea"/>
              </a:rPr>
              <a:t>Our approach is based on:   </a:t>
            </a:r>
          </a:p>
          <a:p>
            <a:pPr marL="176351" indent="-176351">
              <a:spcBef>
                <a:spcPts val="999"/>
              </a:spcBef>
              <a:buClr>
                <a:srgbClr val="90B9B6"/>
              </a:buClr>
              <a:buSzPct val="100000"/>
              <a:buFont typeface="Lucida Grande"/>
              <a:buChar char="›"/>
              <a:defRPr/>
            </a:pPr>
            <a:r>
              <a:rPr lang="en-US" dirty="0" smtClean="0">
                <a:ea typeface="+mn-ea"/>
              </a:rPr>
              <a:t>A single enterprise catalog that drives all phases of the product lifecycle  </a:t>
            </a:r>
          </a:p>
          <a:p>
            <a:pPr marL="176351" indent="-176351">
              <a:spcBef>
                <a:spcPts val="999"/>
              </a:spcBef>
              <a:buClr>
                <a:srgbClr val="90B9B6"/>
              </a:buClr>
              <a:buSzPct val="100000"/>
              <a:buFont typeface="Lucida Grande"/>
              <a:buChar char="›"/>
              <a:defRPr/>
            </a:pPr>
            <a:r>
              <a:rPr lang="en-US" dirty="0" smtClean="0">
                <a:ea typeface="+mn-ea"/>
              </a:rPr>
              <a:t>A catalog capable of modeling the end-to-end view of a product offering, from pricing through to network policy  </a:t>
            </a:r>
          </a:p>
          <a:p>
            <a:pPr marL="176351" indent="-176351">
              <a:spcBef>
                <a:spcPts val="999"/>
              </a:spcBef>
              <a:buClr>
                <a:srgbClr val="90B9B6"/>
              </a:buClr>
              <a:buSzPct val="100000"/>
              <a:buFont typeface="Lucida Grande"/>
              <a:buChar char="›"/>
              <a:defRPr/>
            </a:pPr>
            <a:r>
              <a:rPr lang="en-US" dirty="0" smtClean="0">
                <a:ea typeface="+mn-ea"/>
              </a:rPr>
              <a:t>A catalog that can provide both real-time services and publish domain-specific views of  other systems  </a:t>
            </a:r>
          </a:p>
          <a:p>
            <a:pPr marL="176351" indent="-176351">
              <a:spcBef>
                <a:spcPts val="999"/>
              </a:spcBef>
              <a:buClr>
                <a:srgbClr val="90B9B6"/>
              </a:buClr>
              <a:buSzPct val="100000"/>
              <a:buFont typeface="Lucida Grande"/>
              <a:buChar char="›"/>
              <a:defRPr/>
            </a:pPr>
            <a:r>
              <a:rPr lang="en-US" dirty="0" smtClean="0">
                <a:ea typeface="+mn-ea"/>
              </a:rPr>
              <a:t>An OSS/BSS portfolio that automatically and </a:t>
            </a:r>
            <a:br>
              <a:rPr lang="en-US" dirty="0" smtClean="0">
                <a:ea typeface="+mn-ea"/>
              </a:rPr>
            </a:br>
            <a:r>
              <a:rPr lang="en-US" dirty="0" smtClean="0">
                <a:ea typeface="+mn-ea"/>
              </a:rPr>
              <a:t>seamlessly integrates the enterprise catalog </a:t>
            </a:r>
            <a:br>
              <a:rPr lang="en-US" dirty="0" smtClean="0">
                <a:ea typeface="+mn-ea"/>
              </a:rPr>
            </a:br>
            <a:r>
              <a:rPr lang="en-US" dirty="0" smtClean="0">
                <a:ea typeface="+mn-ea"/>
              </a:rPr>
              <a:t>data without manual intervention </a:t>
            </a:r>
            <a:endParaRPr lang="en-ZA" dirty="0" smtClean="0">
              <a:ea typeface="+mn-ea"/>
            </a:endParaRPr>
          </a:p>
          <a:p>
            <a:pPr eaLnBrk="1" hangingPunct="1">
              <a:defRPr/>
            </a:pPr>
            <a:endParaRPr lang="en-US" dirty="0" smtClean="0">
              <a:latin typeface="Arial" pitchFamily="34" charset="0"/>
            </a:endParaRPr>
          </a:p>
          <a:p>
            <a:pPr eaLnBrk="1" hangingPunct="1">
              <a:defRPr/>
            </a:pPr>
            <a:r>
              <a:rPr lang="en-US" dirty="0" smtClean="0">
                <a:latin typeface="Arial" pitchFamily="34" charset="0"/>
              </a:rPr>
              <a:t>Some key values:</a:t>
            </a:r>
          </a:p>
          <a:p>
            <a:pPr marL="179974" indent="-179974">
              <a:spcBef>
                <a:spcPts val="800"/>
              </a:spcBef>
              <a:buClr>
                <a:srgbClr val="7B0664"/>
              </a:buClr>
              <a:buFont typeface="Lucida Grande" pitchFamily="-84" charset="0"/>
              <a:buChar char="›"/>
              <a:defRPr/>
            </a:pPr>
            <a:r>
              <a:rPr lang="en-US" altLang="en-US" dirty="0"/>
              <a:t>Define and launch new products in days, and new promotions in minutes  </a:t>
            </a:r>
          </a:p>
          <a:p>
            <a:pPr marL="179974" indent="-179974">
              <a:spcBef>
                <a:spcPts val="800"/>
              </a:spcBef>
              <a:buClr>
                <a:srgbClr val="7B0664"/>
              </a:buClr>
              <a:buFont typeface="Lucida Grande" pitchFamily="-84" charset="0"/>
              <a:buChar char="›"/>
              <a:defRPr/>
            </a:pPr>
            <a:r>
              <a:rPr lang="en-US" altLang="en-US" dirty="0"/>
              <a:t>Manage the entire lifecycle of a product in one place  </a:t>
            </a:r>
          </a:p>
          <a:p>
            <a:pPr marL="179974" indent="-179974">
              <a:spcBef>
                <a:spcPts val="800"/>
              </a:spcBef>
              <a:buClr>
                <a:srgbClr val="7B0664"/>
              </a:buClr>
              <a:buFont typeface="Lucida Grande" pitchFamily="-84" charset="0"/>
              <a:buChar char="›"/>
              <a:defRPr/>
            </a:pPr>
            <a:r>
              <a:rPr lang="en-US" altLang="en-US" dirty="0"/>
              <a:t>Immediately sell, activate, charge/bill and deliver across all sales channels </a:t>
            </a:r>
          </a:p>
          <a:p>
            <a:pPr marL="179974" indent="-179974">
              <a:spcBef>
                <a:spcPts val="800"/>
              </a:spcBef>
              <a:buClr>
                <a:srgbClr val="7B0664"/>
              </a:buClr>
              <a:buFont typeface="Lucida Grande" pitchFamily="-84" charset="0"/>
              <a:buChar char="›"/>
              <a:defRPr/>
            </a:pPr>
            <a:endParaRPr lang="en-US" altLang="en-US" dirty="0"/>
          </a:p>
          <a:p>
            <a:pPr>
              <a:spcBef>
                <a:spcPts val="800"/>
              </a:spcBef>
              <a:buClr>
                <a:srgbClr val="7B0664"/>
              </a:buClr>
              <a:defRPr/>
            </a:pPr>
            <a:r>
              <a:rPr lang="en-US" altLang="en-US" dirty="0"/>
              <a:t>The Catalog relation with OBS portfolio is threefold:</a:t>
            </a:r>
          </a:p>
          <a:p>
            <a:pPr marL="228567" indent="-228567">
              <a:spcBef>
                <a:spcPts val="800"/>
              </a:spcBef>
              <a:buClr>
                <a:srgbClr val="7B0664"/>
              </a:buClr>
              <a:buFont typeface="Lucida Grande" pitchFamily="-84" charset="0"/>
              <a:buAutoNum type="arabicPeriod"/>
              <a:defRPr/>
            </a:pPr>
            <a:r>
              <a:rPr lang="en-US" altLang="en-US" dirty="0"/>
              <a:t>As part of stand-alone, self-contained offerings (Catalog Manager, Order Care) that can be added on top of/integrated with legacy 3PP environments</a:t>
            </a:r>
          </a:p>
          <a:p>
            <a:pPr marL="228567" indent="-228567">
              <a:spcBef>
                <a:spcPts val="800"/>
              </a:spcBef>
              <a:buClr>
                <a:srgbClr val="7B0664"/>
              </a:buClr>
              <a:buFont typeface="Lucida Grande" pitchFamily="-84" charset="0"/>
              <a:buAutoNum type="arabicPeriod"/>
              <a:defRPr/>
            </a:pPr>
            <a:r>
              <a:rPr lang="en-ZA" altLang="en-US" dirty="0"/>
              <a:t>Embedded – </a:t>
            </a:r>
            <a:r>
              <a:rPr lang="en-ZA" altLang="en-US" dirty="0" err="1"/>
              <a:t>techology</a:t>
            </a:r>
            <a:r>
              <a:rPr lang="en-ZA" altLang="en-US" dirty="0"/>
              <a:t> is as part of other Ericsson offerings (next gen CS/</a:t>
            </a:r>
            <a:r>
              <a:rPr lang="en-ZA" altLang="en-US" dirty="0" err="1"/>
              <a:t>CBiO</a:t>
            </a:r>
            <a:r>
              <a:rPr lang="en-ZA" altLang="en-US" dirty="0"/>
              <a:t>, SIF, </a:t>
            </a:r>
            <a:r>
              <a:rPr lang="en-ZA" altLang="en-US" dirty="0" smtClean="0"/>
              <a:t>Ericsson Catalog Manager)</a:t>
            </a:r>
            <a:endParaRPr lang="en-ZA" altLang="en-US" dirty="0"/>
          </a:p>
          <a:p>
            <a:pPr marL="228567" indent="-228567">
              <a:spcBef>
                <a:spcPts val="800"/>
              </a:spcBef>
              <a:buClr>
                <a:srgbClr val="7B0664"/>
              </a:buClr>
              <a:buFont typeface="Lucida Grande" pitchFamily="-84" charset="0"/>
              <a:buAutoNum type="arabicPeriod"/>
              <a:defRPr/>
            </a:pPr>
            <a:r>
              <a:rPr lang="en-ZA" altLang="en-US" dirty="0"/>
              <a:t>Pre-integrated with other core E/// OSS/BSS offerings like </a:t>
            </a:r>
            <a:r>
              <a:rPr lang="en-ZA" altLang="en-US" dirty="0" err="1"/>
              <a:t>CBiO</a:t>
            </a:r>
            <a:r>
              <a:rPr lang="en-ZA" altLang="en-US" dirty="0"/>
              <a:t>, SEP, EMA, EEM…</a:t>
            </a: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eftInfo"/>
          <p:cNvSpPr txBox="1">
            <a:spLocks noChangeArrowheads="1"/>
          </p:cNvSpPr>
          <p:nvPr/>
        </p:nvSpPr>
        <p:spPr bwMode="auto">
          <a:xfrm>
            <a:off x="-1514475" y="2828925"/>
            <a:ext cx="1476375" cy="341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r" eaLnBrk="1" hangingPunct="1">
              <a:defRPr/>
            </a:pPr>
            <a:r>
              <a:rPr lang="en-US" sz="1200" smtClean="0">
                <a:solidFill>
                  <a:srgbClr val="FFFFFF"/>
                </a:solidFill>
              </a:rPr>
              <a:t>Slide title</a:t>
            </a:r>
          </a:p>
          <a:p>
            <a:pPr algn="r" eaLnBrk="1" hangingPunct="1">
              <a:defRPr/>
            </a:pPr>
            <a:r>
              <a:rPr lang="en-US" sz="1200" smtClean="0">
                <a:solidFill>
                  <a:srgbClr val="FFFFFF"/>
                </a:solidFill>
              </a:rPr>
              <a:t>70 pt</a:t>
            </a:r>
          </a:p>
          <a:p>
            <a:pPr algn="r" eaLnBrk="1" hangingPunct="1">
              <a:defRPr/>
            </a:pPr>
            <a:endParaRPr lang="en-US" sz="1200" smtClean="0">
              <a:solidFill>
                <a:srgbClr val="FFFFFF"/>
              </a:solidFill>
            </a:endParaRPr>
          </a:p>
          <a:p>
            <a:pPr algn="r" eaLnBrk="1" hangingPunct="1">
              <a:defRPr/>
            </a:pPr>
            <a:endParaRPr lang="en-US" sz="1200" smtClean="0">
              <a:solidFill>
                <a:srgbClr val="FFFFFF"/>
              </a:solidFill>
            </a:endParaRPr>
          </a:p>
          <a:p>
            <a:pPr algn="r" eaLnBrk="1" hangingPunct="1">
              <a:defRPr/>
            </a:pPr>
            <a:endParaRPr lang="en-US" sz="1200" smtClean="0">
              <a:solidFill>
                <a:srgbClr val="FFFFFF"/>
              </a:solidFill>
            </a:endParaRPr>
          </a:p>
          <a:p>
            <a:pPr algn="r" eaLnBrk="1" hangingPunct="1">
              <a:defRPr/>
            </a:pPr>
            <a:r>
              <a:rPr lang="en-US" sz="1200" smtClean="0">
                <a:solidFill>
                  <a:srgbClr val="9FB7D3"/>
                </a:solidFill>
              </a:rPr>
              <a:t>CAPITALS</a:t>
            </a:r>
          </a:p>
          <a:p>
            <a:pPr algn="r" eaLnBrk="1" hangingPunct="1">
              <a:defRPr/>
            </a:pPr>
            <a:endParaRPr lang="en-US" sz="1200" smtClean="0">
              <a:solidFill>
                <a:srgbClr val="FFFFFF"/>
              </a:solidFill>
            </a:endParaRPr>
          </a:p>
          <a:p>
            <a:pPr algn="r" eaLnBrk="1" hangingPunct="1">
              <a:defRPr/>
            </a:pPr>
            <a:endParaRPr lang="en-US" sz="1200" smtClean="0">
              <a:solidFill>
                <a:srgbClr val="FFFFFF"/>
              </a:solidFill>
            </a:endParaRPr>
          </a:p>
          <a:p>
            <a:pPr algn="r" eaLnBrk="1" hangingPunct="1">
              <a:defRPr/>
            </a:pPr>
            <a:endParaRPr lang="en-US" sz="1200" smtClean="0">
              <a:solidFill>
                <a:srgbClr val="FFFFFF"/>
              </a:solidFill>
            </a:endParaRPr>
          </a:p>
          <a:p>
            <a:pPr algn="r" eaLnBrk="1" hangingPunct="1">
              <a:defRPr/>
            </a:pPr>
            <a:endParaRPr lang="en-US" sz="1200" smtClean="0">
              <a:solidFill>
                <a:srgbClr val="FFFFFF"/>
              </a:solidFill>
            </a:endParaRPr>
          </a:p>
          <a:p>
            <a:pPr algn="r" eaLnBrk="1" hangingPunct="1">
              <a:defRPr/>
            </a:pPr>
            <a:endParaRPr lang="en-US" sz="1200" smtClean="0">
              <a:solidFill>
                <a:srgbClr val="FFFFFF"/>
              </a:solidFill>
            </a:endParaRPr>
          </a:p>
          <a:p>
            <a:pPr algn="r" eaLnBrk="1" hangingPunct="1">
              <a:defRPr/>
            </a:pPr>
            <a:endParaRPr lang="en-US" sz="1200" smtClean="0">
              <a:solidFill>
                <a:srgbClr val="FFFFFF"/>
              </a:solidFill>
            </a:endParaRPr>
          </a:p>
          <a:p>
            <a:pPr algn="r" eaLnBrk="1" hangingPunct="1">
              <a:defRPr/>
            </a:pPr>
            <a:endParaRPr lang="en-US" sz="1200" smtClean="0">
              <a:solidFill>
                <a:srgbClr val="FFFFFF"/>
              </a:solidFill>
            </a:endParaRPr>
          </a:p>
          <a:p>
            <a:pPr algn="r" eaLnBrk="1" hangingPunct="1">
              <a:defRPr/>
            </a:pPr>
            <a:endParaRPr lang="en-US" sz="1200" smtClean="0">
              <a:solidFill>
                <a:srgbClr val="FFFFFF"/>
              </a:solidFill>
            </a:endParaRPr>
          </a:p>
          <a:p>
            <a:pPr algn="r" eaLnBrk="1" hangingPunct="1">
              <a:defRPr/>
            </a:pPr>
            <a:endParaRPr lang="en-US" sz="1200" smtClean="0">
              <a:solidFill>
                <a:srgbClr val="FFFFFF"/>
              </a:solidFill>
            </a:endParaRPr>
          </a:p>
          <a:p>
            <a:pPr algn="r" eaLnBrk="1" hangingPunct="1">
              <a:defRPr/>
            </a:pPr>
            <a:r>
              <a:rPr lang="en-US" sz="1200" smtClean="0">
                <a:solidFill>
                  <a:srgbClr val="FFFFFF"/>
                </a:solidFill>
              </a:rPr>
              <a:t>Slide subtitle </a:t>
            </a:r>
          </a:p>
          <a:p>
            <a:pPr algn="r" eaLnBrk="1" hangingPunct="1">
              <a:defRPr/>
            </a:pPr>
            <a:r>
              <a:rPr lang="en-US" sz="1200" smtClean="0">
                <a:solidFill>
                  <a:srgbClr val="FFFFFF"/>
                </a:solidFill>
              </a:rPr>
              <a:t>minimum 30 pt</a:t>
            </a:r>
          </a:p>
          <a:p>
            <a:pPr algn="r" eaLnBrk="1" hangingPunct="1">
              <a:defRPr/>
            </a:pPr>
            <a:endParaRPr lang="en-GB" sz="1200" smtClean="0">
              <a:solidFill>
                <a:schemeClr val="bg1"/>
              </a:solidFill>
            </a:endParaRPr>
          </a:p>
        </p:txBody>
      </p:sp>
      <p:pic>
        <p:nvPicPr>
          <p:cNvPr id="5" name="Logo2011" descr="Ericsson_Logo_Vertical_MSPowerPoin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21600" y="431800"/>
            <a:ext cx="104775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7" name="Rectangle 11"/>
          <p:cNvSpPr>
            <a:spLocks noGrp="1" noChangeArrowheads="1"/>
          </p:cNvSpPr>
          <p:nvPr>
            <p:ph type="ctrTitle" sz="quarter"/>
          </p:nvPr>
        </p:nvSpPr>
        <p:spPr>
          <a:xfrm>
            <a:off x="393700" y="1808163"/>
            <a:ext cx="8351838" cy="2840037"/>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lstStyle>
            <a:lvl1pPr>
              <a:defRPr sz="7000" smtClean="0">
                <a:latin typeface="Ericsson Capital TT" pitchFamily="2" charset="0"/>
              </a:defRPr>
            </a:lvl1pPr>
          </a:lstStyle>
          <a:p>
            <a:pPr lvl="0"/>
            <a:r>
              <a:rPr lang="en-US" noProof="0" smtClean="0"/>
              <a:t>Click to add Title</a:t>
            </a:r>
          </a:p>
        </p:txBody>
      </p:sp>
      <p:sp>
        <p:nvSpPr>
          <p:cNvPr id="29708" name="Rectangle 12"/>
          <p:cNvSpPr>
            <a:spLocks noGrp="1" noChangeArrowheads="1"/>
          </p:cNvSpPr>
          <p:nvPr>
            <p:ph type="subTitle" sz="quarter" idx="1"/>
          </p:nvPr>
        </p:nvSpPr>
        <p:spPr>
          <a:xfrm>
            <a:off x="393700" y="5137150"/>
            <a:ext cx="8355013" cy="1385888"/>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marL="0" indent="0">
              <a:buFont typeface="Arial" charset="0"/>
              <a:buNone/>
              <a:defRPr sz="3000" smtClean="0"/>
            </a:lvl1pPr>
          </a:lstStyle>
          <a:p>
            <a:pPr lvl="0"/>
            <a:r>
              <a:rPr lang="en-US" noProof="0" smtClean="0"/>
              <a:t>Click to Add subtitle</a:t>
            </a:r>
          </a:p>
        </p:txBody>
      </p:sp>
    </p:spTree>
    <p:extLst>
      <p:ext uri="{BB962C8B-B14F-4D97-AF65-F5344CB8AC3E}">
        <p14:creationId xmlns:p14="http://schemas.microsoft.com/office/powerpoint/2010/main" val="3987423"/>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eader, two horizontal contents">
    <p:spTree>
      <p:nvGrpSpPr>
        <p:cNvPr id="1" name=""/>
        <p:cNvGrpSpPr/>
        <p:nvPr/>
      </p:nvGrpSpPr>
      <p:grpSpPr>
        <a:xfrm>
          <a:off x="0" y="0"/>
          <a:ext cx="0" cy="0"/>
          <a:chOff x="0" y="0"/>
          <a:chExt cx="0" cy="0"/>
        </a:xfrm>
      </p:grpSpPr>
      <p:sp>
        <p:nvSpPr>
          <p:cNvPr id="7" name="Content Placeholder 2"/>
          <p:cNvSpPr>
            <a:spLocks noGrp="1"/>
          </p:cNvSpPr>
          <p:nvPr>
            <p:ph sz="quarter" idx="11"/>
          </p:nvPr>
        </p:nvSpPr>
        <p:spPr>
          <a:xfrm>
            <a:off x="393700" y="4010025"/>
            <a:ext cx="8355013" cy="2070100"/>
          </a:xfrm>
        </p:spPr>
        <p:txBody>
          <a:bodyPr/>
          <a:lstStyle/>
          <a:p>
            <a:pPr lvl="0"/>
            <a:r>
              <a:rPr lang="en-US" dirty="0" err="1" smtClean="0"/>
              <a:t>Click to edit Master text styles</a:t>
            </a:r>
          </a:p>
          <a:p>
            <a:pPr lvl="1"/>
            <a:r>
              <a:rPr lang="en-US" dirty="0" err="1" smtClean="0"/>
              <a:t>Second level</a:t>
            </a:r>
          </a:p>
          <a:p>
            <a:pPr lvl="2"/>
            <a:r>
              <a:rPr lang="en-US" dirty="0" err="1" smtClean="0"/>
              <a:t>Third level</a:t>
            </a:r>
          </a:p>
          <a:p>
            <a:pPr lvl="3"/>
            <a:r>
              <a:rPr lang="en-US" dirty="0" err="1" smtClean="0"/>
              <a:t>Fourth level</a:t>
            </a:r>
          </a:p>
          <a:p>
            <a:pPr lvl="4"/>
            <a:r>
              <a:rPr lang="en-US" dirty="0" err="1" smtClean="0"/>
              <a:t>Fifth level</a:t>
            </a:r>
            <a:endParaRPr lang="en-US" dirty="0" smtClean="0"/>
          </a:p>
        </p:txBody>
      </p:sp>
      <p:sp>
        <p:nvSpPr>
          <p:cNvPr id="5" name="Content Placeholder 1"/>
          <p:cNvSpPr>
            <a:spLocks noGrp="1"/>
          </p:cNvSpPr>
          <p:nvPr>
            <p:ph sz="quarter" idx="10"/>
          </p:nvPr>
        </p:nvSpPr>
        <p:spPr>
          <a:xfrm>
            <a:off x="393701" y="1795463"/>
            <a:ext cx="8355012" cy="2070100"/>
          </a:xfrm>
        </p:spPr>
        <p:txBody>
          <a:bodyPr/>
          <a:lstStyle/>
          <a:p>
            <a:pPr lvl="0"/>
            <a:r>
              <a:rPr lang="en-US" dirty="0" err="1" smtClean="0"/>
              <a:t>Click to edit Master text styles</a:t>
            </a:r>
          </a:p>
          <a:p>
            <a:pPr lvl="1"/>
            <a:r>
              <a:rPr lang="en-US" dirty="0" err="1" smtClean="0"/>
              <a:t>Second level</a:t>
            </a:r>
          </a:p>
          <a:p>
            <a:pPr lvl="2"/>
            <a:r>
              <a:rPr lang="en-US" dirty="0" err="1" smtClean="0"/>
              <a:t>Third level</a:t>
            </a:r>
          </a:p>
          <a:p>
            <a:pPr lvl="3"/>
            <a:r>
              <a:rPr lang="en-US" dirty="0" err="1" smtClean="0"/>
              <a:t>Fourth level</a:t>
            </a:r>
          </a:p>
          <a:p>
            <a:pPr lvl="4"/>
            <a:r>
              <a:rPr lang="en-US" dirty="0" err="1" smtClean="0"/>
              <a:t>Fifth level</a:t>
            </a:r>
            <a:endParaRPr lang="en-US" dirty="0" smtClean="0"/>
          </a:p>
        </p:txBody>
      </p:sp>
      <p:sp>
        <p:nvSpPr>
          <p:cNvPr id="3" name="Title 2"/>
          <p:cNvSpPr>
            <a:spLocks noGrp="1"/>
          </p:cNvSpPr>
          <p:nvPr>
            <p:ph type="title"/>
          </p:nvPr>
        </p:nvSpPr>
        <p:spPr>
          <a:xfrm>
            <a:off x="393701" y="239713"/>
            <a:ext cx="7494588"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980375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er, Content over two content parts">
    <p:spTree>
      <p:nvGrpSpPr>
        <p:cNvPr id="1" name=""/>
        <p:cNvGrpSpPr/>
        <p:nvPr/>
      </p:nvGrpSpPr>
      <p:grpSpPr>
        <a:xfrm>
          <a:off x="0" y="0"/>
          <a:ext cx="0" cy="0"/>
          <a:chOff x="0" y="0"/>
          <a:chExt cx="0" cy="0"/>
        </a:xfrm>
      </p:grpSpPr>
      <p:sp>
        <p:nvSpPr>
          <p:cNvPr id="7" name="Content Placeholder 3"/>
          <p:cNvSpPr>
            <a:spLocks noGrp="1"/>
          </p:cNvSpPr>
          <p:nvPr>
            <p:ph sz="quarter" idx="11"/>
          </p:nvPr>
        </p:nvSpPr>
        <p:spPr>
          <a:xfrm>
            <a:off x="4645025" y="4010025"/>
            <a:ext cx="4103688" cy="2070100"/>
          </a:xfrm>
        </p:spPr>
        <p:txBody>
          <a:bodyPr/>
          <a:lstStyle/>
          <a:p>
            <a:pPr lvl="0"/>
            <a:r>
              <a:rPr lang="en-US" dirty="0" err="1" smtClean="0"/>
              <a:t>Click to edit Master text styles</a:t>
            </a:r>
          </a:p>
          <a:p>
            <a:pPr lvl="1"/>
            <a:r>
              <a:rPr lang="en-US" dirty="0" err="1" smtClean="0"/>
              <a:t>Second level</a:t>
            </a:r>
          </a:p>
          <a:p>
            <a:pPr lvl="2"/>
            <a:r>
              <a:rPr lang="en-US" dirty="0" err="1" smtClean="0"/>
              <a:t>Third level</a:t>
            </a:r>
          </a:p>
          <a:p>
            <a:pPr lvl="3"/>
            <a:r>
              <a:rPr lang="en-US" dirty="0" err="1" smtClean="0"/>
              <a:t>Fourth level</a:t>
            </a:r>
          </a:p>
          <a:p>
            <a:pPr lvl="4"/>
            <a:r>
              <a:rPr lang="en-US" dirty="0" err="1" smtClean="0"/>
              <a:t>Fifth level</a:t>
            </a:r>
            <a:endParaRPr lang="en-US" dirty="0" smtClean="0"/>
          </a:p>
        </p:txBody>
      </p:sp>
      <p:sp>
        <p:nvSpPr>
          <p:cNvPr id="8" name="Content Placeholder 2"/>
          <p:cNvSpPr>
            <a:spLocks noGrp="1"/>
          </p:cNvSpPr>
          <p:nvPr>
            <p:ph sz="quarter" idx="12"/>
          </p:nvPr>
        </p:nvSpPr>
        <p:spPr>
          <a:xfrm>
            <a:off x="393700" y="4010025"/>
            <a:ext cx="4105275" cy="2070100"/>
          </a:xfrm>
        </p:spPr>
        <p:txBody>
          <a:bodyPr/>
          <a:lstStyle/>
          <a:p>
            <a:pPr lvl="0"/>
            <a:r>
              <a:rPr lang="en-US" dirty="0" err="1" smtClean="0"/>
              <a:t>Click to edit Master text styles</a:t>
            </a:r>
          </a:p>
          <a:p>
            <a:pPr lvl="1"/>
            <a:r>
              <a:rPr lang="en-US" dirty="0" err="1" smtClean="0"/>
              <a:t>Second level</a:t>
            </a:r>
          </a:p>
          <a:p>
            <a:pPr lvl="2"/>
            <a:r>
              <a:rPr lang="en-US" dirty="0" err="1" smtClean="0"/>
              <a:t>Third level</a:t>
            </a:r>
          </a:p>
          <a:p>
            <a:pPr lvl="3"/>
            <a:r>
              <a:rPr lang="en-US" dirty="0" err="1" smtClean="0"/>
              <a:t>Fourth level</a:t>
            </a:r>
          </a:p>
          <a:p>
            <a:pPr lvl="4"/>
            <a:r>
              <a:rPr lang="en-US" dirty="0" err="1" smtClean="0"/>
              <a:t>Fifth level</a:t>
            </a:r>
            <a:endParaRPr lang="en-US" dirty="0" smtClean="0"/>
          </a:p>
        </p:txBody>
      </p:sp>
      <p:sp>
        <p:nvSpPr>
          <p:cNvPr id="3" name="Content Placeholder 1"/>
          <p:cNvSpPr>
            <a:spLocks noGrp="1"/>
          </p:cNvSpPr>
          <p:nvPr>
            <p:ph idx="1"/>
          </p:nvPr>
        </p:nvSpPr>
        <p:spPr>
          <a:xfrm>
            <a:off x="396875" y="1795463"/>
            <a:ext cx="8351838" cy="2070100"/>
          </a:xfrm>
        </p:spPr>
        <p:txBody>
          <a:bodyPr/>
          <a:lstStyle/>
          <a:p>
            <a:pPr lvl="0"/>
            <a:r>
              <a:rPr lang="en-US" dirty="0" err="1" smtClean="0"/>
              <a:t>Click to edit Master text styles</a:t>
            </a:r>
          </a:p>
          <a:p>
            <a:pPr lvl="1"/>
            <a:r>
              <a:rPr lang="en-US" dirty="0" err="1" smtClean="0"/>
              <a:t>Second level</a:t>
            </a:r>
          </a:p>
          <a:p>
            <a:pPr lvl="2"/>
            <a:r>
              <a:rPr lang="en-US" dirty="0" err="1" smtClean="0"/>
              <a:t>Third level</a:t>
            </a:r>
          </a:p>
          <a:p>
            <a:pPr lvl="3"/>
            <a:r>
              <a:rPr lang="en-US" dirty="0" err="1" smtClean="0"/>
              <a:t>Fourth level</a:t>
            </a:r>
          </a:p>
          <a:p>
            <a:pPr lvl="4"/>
            <a:r>
              <a:rPr lang="en-US" dirty="0" err="1" smtClean="0"/>
              <a:t>Fifth level</a:t>
            </a:r>
            <a:endParaRPr lang="en-US" dirty="0" smtClean="0"/>
          </a:p>
        </p:txBody>
      </p:sp>
      <p:sp>
        <p:nvSpPr>
          <p:cNvPr id="4" name="Title 1"/>
          <p:cNvSpPr>
            <a:spLocks noGrp="1"/>
          </p:cNvSpPr>
          <p:nvPr>
            <p:ph type="title"/>
          </p:nvPr>
        </p:nvSpPr>
        <p:spPr>
          <a:xfrm>
            <a:off x="393701" y="239713"/>
            <a:ext cx="7494588"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0999005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er, two content parts over content.">
    <p:spTree>
      <p:nvGrpSpPr>
        <p:cNvPr id="1" name=""/>
        <p:cNvGrpSpPr/>
        <p:nvPr/>
      </p:nvGrpSpPr>
      <p:grpSpPr>
        <a:xfrm>
          <a:off x="0" y="0"/>
          <a:ext cx="0" cy="0"/>
          <a:chOff x="0" y="0"/>
          <a:chExt cx="0" cy="0"/>
        </a:xfrm>
      </p:grpSpPr>
      <p:sp>
        <p:nvSpPr>
          <p:cNvPr id="8" name="Content Placeholder 3"/>
          <p:cNvSpPr>
            <a:spLocks noGrp="1"/>
          </p:cNvSpPr>
          <p:nvPr>
            <p:ph sz="quarter" idx="12"/>
          </p:nvPr>
        </p:nvSpPr>
        <p:spPr>
          <a:xfrm>
            <a:off x="393700" y="4010025"/>
            <a:ext cx="8355013" cy="2070100"/>
          </a:xfrm>
        </p:spPr>
        <p:txBody>
          <a:bodyPr/>
          <a:lstStyle/>
          <a:p>
            <a:pPr lvl="0"/>
            <a:r>
              <a:rPr lang="en-US" dirty="0" err="1" smtClean="0"/>
              <a:t>Click to edit Master text styles</a:t>
            </a:r>
          </a:p>
          <a:p>
            <a:pPr lvl="1"/>
            <a:r>
              <a:rPr lang="en-US" dirty="0" err="1" smtClean="0"/>
              <a:t>Second level</a:t>
            </a:r>
          </a:p>
          <a:p>
            <a:pPr lvl="2"/>
            <a:r>
              <a:rPr lang="en-US" dirty="0" err="1" smtClean="0"/>
              <a:t>Third level</a:t>
            </a:r>
          </a:p>
          <a:p>
            <a:pPr lvl="3"/>
            <a:r>
              <a:rPr lang="en-US" dirty="0" err="1" smtClean="0"/>
              <a:t>Fourth level</a:t>
            </a:r>
          </a:p>
          <a:p>
            <a:pPr lvl="4"/>
            <a:r>
              <a:rPr lang="en-US" dirty="0" err="1" smtClean="0"/>
              <a:t>Fifth level</a:t>
            </a:r>
            <a:endParaRPr lang="en-US" dirty="0" smtClean="0"/>
          </a:p>
        </p:txBody>
      </p:sp>
      <p:sp>
        <p:nvSpPr>
          <p:cNvPr id="5" name="Content Placeholder 2"/>
          <p:cNvSpPr>
            <a:spLocks noGrp="1"/>
          </p:cNvSpPr>
          <p:nvPr>
            <p:ph sz="quarter" idx="10"/>
          </p:nvPr>
        </p:nvSpPr>
        <p:spPr>
          <a:xfrm>
            <a:off x="4645025" y="1795463"/>
            <a:ext cx="4103688" cy="2070100"/>
          </a:xfrm>
        </p:spPr>
        <p:txBody>
          <a:bodyPr/>
          <a:lstStyle/>
          <a:p>
            <a:pPr lvl="0"/>
            <a:r>
              <a:rPr lang="en-US" dirty="0" err="1" smtClean="0"/>
              <a:t>Click to edit Master text styles</a:t>
            </a:r>
          </a:p>
          <a:p>
            <a:pPr lvl="1"/>
            <a:r>
              <a:rPr lang="en-US" dirty="0" err="1" smtClean="0"/>
              <a:t>Second level</a:t>
            </a:r>
          </a:p>
          <a:p>
            <a:pPr lvl="2"/>
            <a:r>
              <a:rPr lang="en-US" dirty="0" err="1" smtClean="0"/>
              <a:t>Third level</a:t>
            </a:r>
          </a:p>
          <a:p>
            <a:pPr lvl="3"/>
            <a:r>
              <a:rPr lang="en-US" dirty="0" err="1" smtClean="0"/>
              <a:t>Fourth level</a:t>
            </a:r>
          </a:p>
          <a:p>
            <a:pPr lvl="4"/>
            <a:r>
              <a:rPr lang="en-US" dirty="0" err="1" smtClean="0"/>
              <a:t>Fifth level</a:t>
            </a:r>
            <a:endParaRPr lang="en-US" dirty="0" smtClean="0"/>
          </a:p>
        </p:txBody>
      </p:sp>
      <p:sp>
        <p:nvSpPr>
          <p:cNvPr id="3" name="Content Placeholder 1"/>
          <p:cNvSpPr>
            <a:spLocks noGrp="1"/>
          </p:cNvSpPr>
          <p:nvPr>
            <p:ph idx="1"/>
          </p:nvPr>
        </p:nvSpPr>
        <p:spPr>
          <a:xfrm>
            <a:off x="396875" y="1795463"/>
            <a:ext cx="4102100" cy="2070100"/>
          </a:xfrm>
        </p:spPr>
        <p:txBody>
          <a:bodyPr/>
          <a:lstStyle/>
          <a:p>
            <a:pPr lvl="0"/>
            <a:r>
              <a:rPr lang="en-US" dirty="0" err="1" smtClean="0"/>
              <a:t>Click to edit Master text styles</a:t>
            </a:r>
          </a:p>
          <a:p>
            <a:pPr lvl="1"/>
            <a:r>
              <a:rPr lang="en-US" dirty="0" err="1" smtClean="0"/>
              <a:t>Second level</a:t>
            </a:r>
          </a:p>
          <a:p>
            <a:pPr lvl="2"/>
            <a:r>
              <a:rPr lang="en-US" dirty="0" err="1" smtClean="0"/>
              <a:t>Third level</a:t>
            </a:r>
          </a:p>
          <a:p>
            <a:pPr lvl="3"/>
            <a:r>
              <a:rPr lang="en-US" dirty="0" err="1" smtClean="0"/>
              <a:t>Fourth level</a:t>
            </a:r>
          </a:p>
          <a:p>
            <a:pPr lvl="4"/>
            <a:r>
              <a:rPr lang="en-US" dirty="0" err="1" smtClean="0"/>
              <a:t>Fifth level</a:t>
            </a:r>
            <a:endParaRPr lang="en-US" dirty="0" smtClean="0"/>
          </a:p>
        </p:txBody>
      </p:sp>
      <p:sp>
        <p:nvSpPr>
          <p:cNvPr id="4" name="Title 1"/>
          <p:cNvSpPr>
            <a:spLocks noGrp="1"/>
          </p:cNvSpPr>
          <p:nvPr>
            <p:ph type="title"/>
          </p:nvPr>
        </p:nvSpPr>
        <p:spPr>
          <a:xfrm>
            <a:off x="393701" y="239713"/>
            <a:ext cx="7494588"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376465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5" name="Content Placeholder 3"/>
          <p:cNvSpPr>
            <a:spLocks noGrp="1"/>
          </p:cNvSpPr>
          <p:nvPr>
            <p:ph sz="quarter" idx="3"/>
          </p:nvPr>
        </p:nvSpPr>
        <p:spPr>
          <a:xfrm>
            <a:off x="4645025" y="4013200"/>
            <a:ext cx="4100513" cy="20669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2"/>
          <p:cNvSpPr>
            <a:spLocks noGrp="1"/>
          </p:cNvSpPr>
          <p:nvPr>
            <p:ph sz="quarter" idx="2"/>
          </p:nvPr>
        </p:nvSpPr>
        <p:spPr>
          <a:xfrm>
            <a:off x="4645025" y="1795463"/>
            <a:ext cx="4100513" cy="2065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Content Placeholder 1"/>
          <p:cNvSpPr>
            <a:spLocks noGrp="1"/>
          </p:cNvSpPr>
          <p:nvPr>
            <p:ph sz="half" idx="1"/>
          </p:nvPr>
        </p:nvSpPr>
        <p:spPr>
          <a:xfrm>
            <a:off x="393700" y="1795463"/>
            <a:ext cx="4098925" cy="42846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a:xfrm>
            <a:off x="393701" y="239713"/>
            <a:ext cx="7494588" cy="1085371"/>
          </a:xfrm>
        </p:spPr>
        <p:txBody>
          <a:bodyPr/>
          <a:lstStyle/>
          <a:p>
            <a:r>
              <a:rPr lang="en-US" smtClean="0"/>
              <a:t>Click to edit Master title style</a:t>
            </a:r>
            <a:endParaRPr lang="en-US"/>
          </a:p>
        </p:txBody>
      </p:sp>
    </p:spTree>
    <p:extLst>
      <p:ext uri="{BB962C8B-B14F-4D97-AF65-F5344CB8AC3E}">
        <p14:creationId xmlns:p14="http://schemas.microsoft.com/office/powerpoint/2010/main" val="37158998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5" name="Content Placeholder 3"/>
          <p:cNvSpPr>
            <a:spLocks noGrp="1"/>
          </p:cNvSpPr>
          <p:nvPr>
            <p:ph sz="half" idx="3"/>
          </p:nvPr>
        </p:nvSpPr>
        <p:spPr>
          <a:xfrm>
            <a:off x="4648200" y="1795463"/>
            <a:ext cx="4100513" cy="42846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2"/>
          <p:cNvSpPr>
            <a:spLocks noGrp="1"/>
          </p:cNvSpPr>
          <p:nvPr>
            <p:ph sz="quarter" idx="2"/>
          </p:nvPr>
        </p:nvSpPr>
        <p:spPr>
          <a:xfrm>
            <a:off x="396875" y="4013200"/>
            <a:ext cx="4098925" cy="20669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Content Placeholder 1"/>
          <p:cNvSpPr>
            <a:spLocks noGrp="1"/>
          </p:cNvSpPr>
          <p:nvPr>
            <p:ph sz="quarter" idx="1"/>
          </p:nvPr>
        </p:nvSpPr>
        <p:spPr>
          <a:xfrm>
            <a:off x="396875" y="1795463"/>
            <a:ext cx="4098925" cy="2065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a:xfrm>
            <a:off x="393701" y="239713"/>
            <a:ext cx="7494588" cy="1085371"/>
          </a:xfrm>
        </p:spPr>
        <p:txBody>
          <a:bodyPr/>
          <a:lstStyle/>
          <a:p>
            <a:r>
              <a:rPr lang="en-US" smtClean="0"/>
              <a:t>Click to edit Master title style</a:t>
            </a:r>
            <a:endParaRPr lang="en-US"/>
          </a:p>
        </p:txBody>
      </p:sp>
    </p:spTree>
    <p:extLst>
      <p:ext uri="{BB962C8B-B14F-4D97-AF65-F5344CB8AC3E}">
        <p14:creationId xmlns:p14="http://schemas.microsoft.com/office/powerpoint/2010/main" val="6179948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p:nvPr>
        </p:nvSpPr>
        <p:spPr>
          <a:xfrm>
            <a:off x="4648200" y="4022725"/>
            <a:ext cx="4100513" cy="20669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3"/>
          <p:cNvSpPr>
            <a:spLocks noGrp="1"/>
          </p:cNvSpPr>
          <p:nvPr>
            <p:ph sz="quarter" idx="3"/>
          </p:nvPr>
        </p:nvSpPr>
        <p:spPr>
          <a:xfrm>
            <a:off x="396875" y="4022725"/>
            <a:ext cx="4098925" cy="20669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2"/>
          <p:cNvSpPr>
            <a:spLocks noGrp="1"/>
          </p:cNvSpPr>
          <p:nvPr>
            <p:ph sz="quarter" idx="2"/>
          </p:nvPr>
        </p:nvSpPr>
        <p:spPr>
          <a:xfrm>
            <a:off x="4648200" y="1804988"/>
            <a:ext cx="4100513" cy="2065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Content Placeholder 1"/>
          <p:cNvSpPr>
            <a:spLocks noGrp="1"/>
          </p:cNvSpPr>
          <p:nvPr>
            <p:ph sz="quarter" idx="1"/>
          </p:nvPr>
        </p:nvSpPr>
        <p:spPr>
          <a:xfrm>
            <a:off x="396875" y="1804988"/>
            <a:ext cx="4098925" cy="2065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sz="quarter"/>
          </p:nvPr>
        </p:nvSpPr>
        <p:spPr>
          <a:xfrm>
            <a:off x="393701" y="239713"/>
            <a:ext cx="7494588" cy="1085371"/>
          </a:xfrm>
        </p:spPr>
        <p:txBody>
          <a:bodyPr/>
          <a:lstStyle/>
          <a:p>
            <a:r>
              <a:rPr lang="en-US" smtClean="0"/>
              <a:t>Click to edit Master title style</a:t>
            </a:r>
            <a:endParaRPr lang="en-US"/>
          </a:p>
        </p:txBody>
      </p:sp>
    </p:spTree>
    <p:extLst>
      <p:ext uri="{BB962C8B-B14F-4D97-AF65-F5344CB8AC3E}">
        <p14:creationId xmlns:p14="http://schemas.microsoft.com/office/powerpoint/2010/main" val="17509326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93701" y="239713"/>
            <a:ext cx="7494588"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869710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730014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0" y="239713"/>
            <a:ext cx="7494588" cy="1085850"/>
          </a:xfrm>
        </p:spPr>
        <p:txBody>
          <a:bodyPr/>
          <a:lstStyle/>
          <a:p>
            <a:r>
              <a:rPr lang="en-US" smtClean="0"/>
              <a:t>Click to edit Master title style</a:t>
            </a:r>
            <a:endParaRPr lang="en-US"/>
          </a:p>
        </p:txBody>
      </p:sp>
      <p:sp>
        <p:nvSpPr>
          <p:cNvPr id="3" name="Content Placeholder 2"/>
          <p:cNvSpPr>
            <a:spLocks noGrp="1"/>
          </p:cNvSpPr>
          <p:nvPr>
            <p:ph idx="1"/>
          </p:nvPr>
        </p:nvSpPr>
        <p:spPr>
          <a:xfrm>
            <a:off x="396875" y="1800225"/>
            <a:ext cx="8351838" cy="38512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809977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262788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1 column">
    <p:spTree>
      <p:nvGrpSpPr>
        <p:cNvPr id="1" name=""/>
        <p:cNvGrpSpPr/>
        <p:nvPr/>
      </p:nvGrpSpPr>
      <p:grpSpPr>
        <a:xfrm>
          <a:off x="0" y="0"/>
          <a:ext cx="0" cy="0"/>
          <a:chOff x="0" y="0"/>
          <a:chExt cx="0" cy="0"/>
        </a:xfrm>
      </p:grpSpPr>
      <p:sp>
        <p:nvSpPr>
          <p:cNvPr id="3" name="Content Placeholder 1"/>
          <p:cNvSpPr>
            <a:spLocks noGrp="1"/>
          </p:cNvSpPr>
          <p:nvPr>
            <p:ph idx="1"/>
          </p:nvPr>
        </p:nvSpPr>
        <p:spPr>
          <a:xfrm>
            <a:off x="396875" y="1800000"/>
            <a:ext cx="8351839" cy="38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a:xfrm>
            <a:off x="393701" y="239713"/>
            <a:ext cx="7494588"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715923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p:nvPr>
        </p:nvSpPr>
        <p:spPr>
          <a:xfrm>
            <a:off x="4645025" y="1795464"/>
            <a:ext cx="4100513" cy="428466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Content Placeholder 1"/>
          <p:cNvSpPr>
            <a:spLocks noGrp="1"/>
          </p:cNvSpPr>
          <p:nvPr>
            <p:ph sz="half" idx="1"/>
          </p:nvPr>
        </p:nvSpPr>
        <p:spPr>
          <a:xfrm>
            <a:off x="393700" y="1795463"/>
            <a:ext cx="4098925" cy="42846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a:xfrm>
            <a:off x="393701" y="239713"/>
            <a:ext cx="7494588" cy="1085371"/>
          </a:xfrm>
        </p:spPr>
        <p:txBody>
          <a:bodyPr/>
          <a:lstStyle/>
          <a:p>
            <a:r>
              <a:rPr lang="en-US" smtClean="0"/>
              <a:t>Click to edit Master title style</a:t>
            </a:r>
            <a:endParaRPr lang="en-US"/>
          </a:p>
        </p:txBody>
      </p:sp>
    </p:spTree>
    <p:extLst>
      <p:ext uri="{BB962C8B-B14F-4D97-AF65-F5344CB8AC3E}">
        <p14:creationId xmlns:p14="http://schemas.microsoft.com/office/powerpoint/2010/main" val="41289603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3 columns">
    <p:spTree>
      <p:nvGrpSpPr>
        <p:cNvPr id="1" name=""/>
        <p:cNvGrpSpPr/>
        <p:nvPr/>
      </p:nvGrpSpPr>
      <p:grpSpPr>
        <a:xfrm>
          <a:off x="0" y="0"/>
          <a:ext cx="0" cy="0"/>
          <a:chOff x="0" y="0"/>
          <a:chExt cx="0" cy="0"/>
        </a:xfrm>
      </p:grpSpPr>
      <p:sp>
        <p:nvSpPr>
          <p:cNvPr id="8" name="Content Placeholder 3"/>
          <p:cNvSpPr>
            <a:spLocks noGrp="1"/>
          </p:cNvSpPr>
          <p:nvPr>
            <p:ph sz="quarter" idx="12"/>
          </p:nvPr>
        </p:nvSpPr>
        <p:spPr>
          <a:xfrm>
            <a:off x="6061075" y="1800225"/>
            <a:ext cx="2687638" cy="4724399"/>
          </a:xfrm>
        </p:spPr>
        <p:txBody>
          <a:bodyPr/>
          <a:lstStyle/>
          <a:p>
            <a:pPr lvl="0"/>
            <a:r>
              <a:rPr lang="en-US" dirty="0" err="1" smtClean="0"/>
              <a:t>Click to edit Master text styles</a:t>
            </a:r>
          </a:p>
          <a:p>
            <a:pPr lvl="1"/>
            <a:r>
              <a:rPr lang="en-US" dirty="0" err="1" smtClean="0"/>
              <a:t>Second level</a:t>
            </a:r>
          </a:p>
          <a:p>
            <a:pPr lvl="2"/>
            <a:r>
              <a:rPr lang="en-US" dirty="0" err="1" smtClean="0"/>
              <a:t>Third level</a:t>
            </a:r>
          </a:p>
          <a:p>
            <a:pPr lvl="3"/>
            <a:r>
              <a:rPr lang="en-US" dirty="0" err="1" smtClean="0"/>
              <a:t>Fourth level</a:t>
            </a:r>
          </a:p>
          <a:p>
            <a:pPr lvl="4"/>
            <a:r>
              <a:rPr lang="en-US" dirty="0" err="1" smtClean="0"/>
              <a:t>Fifth level</a:t>
            </a:r>
            <a:endParaRPr lang="en-US" dirty="0" smtClean="0"/>
          </a:p>
        </p:txBody>
      </p:sp>
      <p:sp>
        <p:nvSpPr>
          <p:cNvPr id="6" name="Content Placeholder 2"/>
          <p:cNvSpPr>
            <a:spLocks noGrp="1"/>
          </p:cNvSpPr>
          <p:nvPr>
            <p:ph sz="quarter" idx="11"/>
          </p:nvPr>
        </p:nvSpPr>
        <p:spPr>
          <a:xfrm>
            <a:off x="3228975" y="1800225"/>
            <a:ext cx="2687638" cy="4724399"/>
          </a:xfrm>
        </p:spPr>
        <p:txBody>
          <a:bodyPr/>
          <a:lstStyle/>
          <a:p>
            <a:pPr lvl="0"/>
            <a:r>
              <a:rPr lang="en-US" dirty="0" err="1" smtClean="0"/>
              <a:t>Click to edit Master text styles</a:t>
            </a:r>
          </a:p>
          <a:p>
            <a:pPr lvl="1"/>
            <a:r>
              <a:rPr lang="en-US" dirty="0" err="1" smtClean="0"/>
              <a:t>Second level</a:t>
            </a:r>
          </a:p>
          <a:p>
            <a:pPr lvl="2"/>
            <a:r>
              <a:rPr lang="en-US" dirty="0" err="1" smtClean="0"/>
              <a:t>Third level</a:t>
            </a:r>
          </a:p>
          <a:p>
            <a:pPr lvl="3"/>
            <a:r>
              <a:rPr lang="en-US" dirty="0" err="1" smtClean="0"/>
              <a:t>Fourth level</a:t>
            </a:r>
          </a:p>
          <a:p>
            <a:pPr lvl="4"/>
            <a:r>
              <a:rPr lang="en-US" dirty="0" err="1" smtClean="0"/>
              <a:t>Fifth level</a:t>
            </a:r>
            <a:endParaRPr lang="en-US" dirty="0" smtClean="0"/>
          </a:p>
        </p:txBody>
      </p:sp>
      <p:sp>
        <p:nvSpPr>
          <p:cNvPr id="4" name="Content Placeholder 1"/>
          <p:cNvSpPr>
            <a:spLocks noGrp="1"/>
          </p:cNvSpPr>
          <p:nvPr>
            <p:ph sz="quarter" idx="10"/>
          </p:nvPr>
        </p:nvSpPr>
        <p:spPr>
          <a:xfrm>
            <a:off x="393700" y="1800225"/>
            <a:ext cx="2687638" cy="4724399"/>
          </a:xfrm>
        </p:spPr>
        <p:txBody>
          <a:bodyPr/>
          <a:lstStyle/>
          <a:p>
            <a:pPr lvl="0"/>
            <a:r>
              <a:rPr lang="en-US" dirty="0" err="1" smtClean="0"/>
              <a:t>Click to edit Master text styles</a:t>
            </a:r>
          </a:p>
          <a:p>
            <a:pPr lvl="1"/>
            <a:r>
              <a:rPr lang="en-US" dirty="0" err="1" smtClean="0"/>
              <a:t>Second level</a:t>
            </a:r>
          </a:p>
          <a:p>
            <a:pPr lvl="2"/>
            <a:r>
              <a:rPr lang="en-US" dirty="0" err="1" smtClean="0"/>
              <a:t>Third level</a:t>
            </a:r>
          </a:p>
          <a:p>
            <a:pPr lvl="3"/>
            <a:r>
              <a:rPr lang="en-US" dirty="0" err="1" smtClean="0"/>
              <a:t>Fourth level</a:t>
            </a:r>
          </a:p>
          <a:p>
            <a:pPr lvl="4"/>
            <a:r>
              <a:rPr lang="en-US" dirty="0" err="1" smtClean="0"/>
              <a:t>Fifth level</a:t>
            </a:r>
            <a:endParaRPr lang="en-US" dirty="0" smtClean="0"/>
          </a:p>
        </p:txBody>
      </p:sp>
      <p:sp>
        <p:nvSpPr>
          <p:cNvPr id="3" name="Title 1"/>
          <p:cNvSpPr>
            <a:spLocks noGrp="1"/>
          </p:cNvSpPr>
          <p:nvPr>
            <p:ph type="title"/>
          </p:nvPr>
        </p:nvSpPr>
        <p:spPr>
          <a:xfrm>
            <a:off x="393701" y="239713"/>
            <a:ext cx="7494588" cy="1085371"/>
          </a:xfrm>
        </p:spPr>
        <p:txBody>
          <a:bodyPr/>
          <a:lstStyle/>
          <a:p>
            <a:r>
              <a:rPr lang="en-US" smtClean="0"/>
              <a:t>Click to edit Master title style</a:t>
            </a:r>
            <a:endParaRPr lang="en-US"/>
          </a:p>
        </p:txBody>
      </p:sp>
    </p:spTree>
    <p:extLst>
      <p:ext uri="{BB962C8B-B14F-4D97-AF65-F5344CB8AC3E}">
        <p14:creationId xmlns:p14="http://schemas.microsoft.com/office/powerpoint/2010/main" val="18627681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p:nvPr>
        </p:nvSpPr>
        <p:spPr>
          <a:xfrm>
            <a:off x="393700" y="1800225"/>
            <a:ext cx="4105275" cy="4724400"/>
          </a:xfrm>
        </p:spPr>
        <p:txBody>
          <a:bodyPr/>
          <a:lstStyle/>
          <a:p>
            <a:pPr lvl="0"/>
            <a:r>
              <a:rPr lang="en-US" dirty="0" err="1" smtClean="0"/>
              <a:t>Click to edit Master text styles</a:t>
            </a:r>
          </a:p>
          <a:p>
            <a:pPr lvl="1"/>
            <a:r>
              <a:rPr lang="en-US" dirty="0" err="1" smtClean="0"/>
              <a:t>Second level</a:t>
            </a:r>
          </a:p>
          <a:p>
            <a:pPr lvl="2"/>
            <a:r>
              <a:rPr lang="en-US" dirty="0" err="1" smtClean="0"/>
              <a:t>Third level</a:t>
            </a:r>
          </a:p>
          <a:p>
            <a:pPr lvl="3"/>
            <a:r>
              <a:rPr lang="en-US" dirty="0" err="1" smtClean="0"/>
              <a:t>Fourth level</a:t>
            </a:r>
          </a:p>
          <a:p>
            <a:pPr lvl="4"/>
            <a:r>
              <a:rPr lang="en-US" dirty="0" err="1" smtClean="0"/>
              <a:t>Fifth level</a:t>
            </a:r>
            <a:endParaRPr lang="en-US" dirty="0" smtClean="0"/>
          </a:p>
        </p:txBody>
      </p:sp>
      <p:sp>
        <p:nvSpPr>
          <p:cNvPr id="3" name="Title 1"/>
          <p:cNvSpPr>
            <a:spLocks noGrp="1"/>
          </p:cNvSpPr>
          <p:nvPr>
            <p:ph type="title"/>
          </p:nvPr>
        </p:nvSpPr>
        <p:spPr>
          <a:xfrm>
            <a:off x="393701" y="239713"/>
            <a:ext cx="7494587"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190598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4" name="Content Placeholder 1"/>
          <p:cNvSpPr>
            <a:spLocks noGrp="1"/>
          </p:cNvSpPr>
          <p:nvPr>
            <p:ph sz="quarter" idx="10"/>
          </p:nvPr>
        </p:nvSpPr>
        <p:spPr>
          <a:xfrm>
            <a:off x="393701" y="1800225"/>
            <a:ext cx="3854450" cy="4724400"/>
          </a:xfrm>
        </p:spPr>
        <p:txBody>
          <a:bodyPr/>
          <a:lstStyle/>
          <a:p>
            <a:pPr lvl="0"/>
            <a:r>
              <a:rPr lang="en-US" dirty="0" err="1" smtClean="0"/>
              <a:t>Click to edit Master text styles</a:t>
            </a:r>
          </a:p>
          <a:p>
            <a:pPr lvl="1"/>
            <a:r>
              <a:rPr lang="en-US" dirty="0" err="1" smtClean="0"/>
              <a:t>Second level</a:t>
            </a:r>
          </a:p>
          <a:p>
            <a:pPr lvl="2"/>
            <a:r>
              <a:rPr lang="en-US" dirty="0" err="1" smtClean="0"/>
              <a:t>Third level</a:t>
            </a:r>
          </a:p>
          <a:p>
            <a:pPr lvl="3"/>
            <a:r>
              <a:rPr lang="en-US" dirty="0" err="1" smtClean="0"/>
              <a:t>Fourth level</a:t>
            </a:r>
          </a:p>
          <a:p>
            <a:pPr lvl="4"/>
            <a:r>
              <a:rPr lang="en-US" dirty="0" err="1" smtClean="0"/>
              <a:t>Fifth level</a:t>
            </a:r>
            <a:endParaRPr lang="en-US" dirty="0" smtClean="0"/>
          </a:p>
        </p:txBody>
      </p:sp>
      <p:sp>
        <p:nvSpPr>
          <p:cNvPr id="3" name="Title 1"/>
          <p:cNvSpPr>
            <a:spLocks noGrp="1"/>
          </p:cNvSpPr>
          <p:nvPr>
            <p:ph type="title"/>
          </p:nvPr>
        </p:nvSpPr>
        <p:spPr>
          <a:xfrm>
            <a:off x="393701" y="239713"/>
            <a:ext cx="3854449" cy="1085371"/>
          </a:xfrm>
        </p:spPr>
        <p:txBody>
          <a:bodyPr/>
          <a:lstStyle/>
          <a:p>
            <a:r>
              <a:rPr lang="en-US" smtClean="0"/>
              <a:t>Click to edit Master title style</a:t>
            </a:r>
            <a:endParaRPr lang="en-US"/>
          </a:p>
        </p:txBody>
      </p:sp>
    </p:spTree>
    <p:extLst>
      <p:ext uri="{BB962C8B-B14F-4D97-AF65-F5344CB8AC3E}">
        <p14:creationId xmlns:p14="http://schemas.microsoft.com/office/powerpoint/2010/main" val="26338550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4" name="Content Placeholder 1"/>
          <p:cNvSpPr>
            <a:spLocks noGrp="1"/>
          </p:cNvSpPr>
          <p:nvPr>
            <p:ph sz="quarter" idx="10"/>
          </p:nvPr>
        </p:nvSpPr>
        <p:spPr>
          <a:xfrm>
            <a:off x="4643438" y="1800225"/>
            <a:ext cx="4105275" cy="4724400"/>
          </a:xfrm>
        </p:spPr>
        <p:txBody>
          <a:bodyPr/>
          <a:lstStyle/>
          <a:p>
            <a:pPr lvl="0"/>
            <a:r>
              <a:rPr lang="en-US" dirty="0" err="1" smtClean="0"/>
              <a:t>Click to edit Master text styles</a:t>
            </a:r>
          </a:p>
          <a:p>
            <a:pPr lvl="1"/>
            <a:r>
              <a:rPr lang="en-US" dirty="0" err="1" smtClean="0"/>
              <a:t>Second level</a:t>
            </a:r>
          </a:p>
          <a:p>
            <a:pPr lvl="2"/>
            <a:r>
              <a:rPr lang="en-US" dirty="0" err="1" smtClean="0"/>
              <a:t>Third level</a:t>
            </a:r>
          </a:p>
          <a:p>
            <a:pPr lvl="3"/>
            <a:r>
              <a:rPr lang="en-US" dirty="0" err="1" smtClean="0"/>
              <a:t>Fourth level</a:t>
            </a:r>
          </a:p>
          <a:p>
            <a:pPr lvl="4"/>
            <a:r>
              <a:rPr lang="en-US" dirty="0" err="1" smtClean="0"/>
              <a:t>Fifth level</a:t>
            </a:r>
            <a:endParaRPr lang="en-US" dirty="0" smtClean="0"/>
          </a:p>
        </p:txBody>
      </p:sp>
      <p:sp>
        <p:nvSpPr>
          <p:cNvPr id="3" name="Title 1"/>
          <p:cNvSpPr>
            <a:spLocks noGrp="1"/>
          </p:cNvSpPr>
          <p:nvPr>
            <p:ph type="title"/>
          </p:nvPr>
        </p:nvSpPr>
        <p:spPr>
          <a:xfrm>
            <a:off x="393701" y="239713"/>
            <a:ext cx="7494588"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790575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4" name="Content Placeholder 1"/>
          <p:cNvSpPr>
            <a:spLocks noGrp="1"/>
          </p:cNvSpPr>
          <p:nvPr>
            <p:ph sz="quarter" idx="10"/>
          </p:nvPr>
        </p:nvSpPr>
        <p:spPr>
          <a:xfrm>
            <a:off x="4643438" y="1800225"/>
            <a:ext cx="4105275" cy="4724400"/>
          </a:xfrm>
        </p:spPr>
        <p:txBody>
          <a:bodyPr/>
          <a:lstStyle/>
          <a:p>
            <a:pPr lvl="0"/>
            <a:r>
              <a:rPr lang="en-US" dirty="0" err="1" smtClean="0"/>
              <a:t>Click to edit Master text styles</a:t>
            </a:r>
          </a:p>
          <a:p>
            <a:pPr lvl="1"/>
            <a:r>
              <a:rPr lang="en-US" dirty="0" err="1" smtClean="0"/>
              <a:t>Second level</a:t>
            </a:r>
          </a:p>
          <a:p>
            <a:pPr lvl="2"/>
            <a:r>
              <a:rPr lang="en-US" dirty="0" err="1" smtClean="0"/>
              <a:t>Third level</a:t>
            </a:r>
          </a:p>
          <a:p>
            <a:pPr lvl="3"/>
            <a:r>
              <a:rPr lang="en-US" dirty="0" err="1" smtClean="0"/>
              <a:t>Fourth level</a:t>
            </a:r>
          </a:p>
          <a:p>
            <a:pPr lvl="4"/>
            <a:r>
              <a:rPr lang="en-US" dirty="0" err="1" smtClean="0"/>
              <a:t>Fifth level</a:t>
            </a:r>
            <a:endParaRPr lang="en-US" dirty="0" smtClean="0"/>
          </a:p>
        </p:txBody>
      </p:sp>
      <p:sp>
        <p:nvSpPr>
          <p:cNvPr id="3" name="Title 1"/>
          <p:cNvSpPr>
            <a:spLocks noGrp="1"/>
          </p:cNvSpPr>
          <p:nvPr>
            <p:ph type="title"/>
          </p:nvPr>
        </p:nvSpPr>
        <p:spPr>
          <a:xfrm>
            <a:off x="4645025" y="239713"/>
            <a:ext cx="3243263"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8586019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ow small title, left Image">
    <p:spTree>
      <p:nvGrpSpPr>
        <p:cNvPr id="1" name=""/>
        <p:cNvGrpSpPr/>
        <p:nvPr/>
      </p:nvGrpSpPr>
      <p:grpSpPr>
        <a:xfrm>
          <a:off x="0" y="0"/>
          <a:ext cx="0" cy="0"/>
          <a:chOff x="0" y="0"/>
          <a:chExt cx="0" cy="0"/>
        </a:xfrm>
      </p:grpSpPr>
      <p:sp>
        <p:nvSpPr>
          <p:cNvPr id="4" name="Content Placeholder 1"/>
          <p:cNvSpPr>
            <a:spLocks noGrp="1"/>
          </p:cNvSpPr>
          <p:nvPr>
            <p:ph sz="quarter" idx="10"/>
          </p:nvPr>
        </p:nvSpPr>
        <p:spPr>
          <a:xfrm>
            <a:off x="4643438" y="3545840"/>
            <a:ext cx="4105275" cy="2978785"/>
          </a:xfrm>
        </p:spPr>
        <p:txBody>
          <a:bodyPr/>
          <a:lstStyle/>
          <a:p>
            <a:pPr lvl="0"/>
            <a:r>
              <a:rPr lang="en-US" dirty="0" err="1" smtClean="0"/>
              <a:t>Click to edit Master text styles</a:t>
            </a:r>
          </a:p>
          <a:p>
            <a:pPr lvl="1"/>
            <a:r>
              <a:rPr lang="en-US" dirty="0" err="1" smtClean="0"/>
              <a:t>Second level</a:t>
            </a:r>
          </a:p>
          <a:p>
            <a:pPr lvl="2"/>
            <a:r>
              <a:rPr lang="en-US" dirty="0" err="1" smtClean="0"/>
              <a:t>Third level</a:t>
            </a:r>
          </a:p>
          <a:p>
            <a:pPr lvl="3"/>
            <a:r>
              <a:rPr lang="en-US" dirty="0" err="1" smtClean="0"/>
              <a:t>Fourth level</a:t>
            </a:r>
          </a:p>
          <a:p>
            <a:pPr lvl="4"/>
            <a:r>
              <a:rPr lang="en-US" dirty="0" err="1" smtClean="0"/>
              <a:t>Fifth level</a:t>
            </a:r>
            <a:endParaRPr lang="en-US" dirty="0" smtClean="0"/>
          </a:p>
        </p:txBody>
      </p:sp>
      <p:sp>
        <p:nvSpPr>
          <p:cNvPr id="3" name="Title 1"/>
          <p:cNvSpPr>
            <a:spLocks noGrp="1"/>
          </p:cNvSpPr>
          <p:nvPr>
            <p:ph type="title"/>
          </p:nvPr>
        </p:nvSpPr>
        <p:spPr>
          <a:xfrm>
            <a:off x="4643438" y="1797524"/>
            <a:ext cx="4105275"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754861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LeftInfo"/>
          <p:cNvSpPr txBox="1">
            <a:spLocks noChangeArrowheads="1"/>
          </p:cNvSpPr>
          <p:nvPr/>
        </p:nvSpPr>
        <p:spPr bwMode="auto">
          <a:xfrm>
            <a:off x="-1887538" y="438150"/>
            <a:ext cx="1765300" cy="627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r" eaLnBrk="1" hangingPunct="1">
              <a:defRPr/>
            </a:pPr>
            <a:r>
              <a:rPr lang="en-US" sz="1200" smtClean="0">
                <a:solidFill>
                  <a:srgbClr val="FFFFFF"/>
                </a:solidFill>
              </a:rPr>
              <a:t>Slide title </a:t>
            </a:r>
          </a:p>
          <a:p>
            <a:pPr algn="r" eaLnBrk="1" hangingPunct="1">
              <a:defRPr/>
            </a:pPr>
            <a:r>
              <a:rPr lang="en-US" sz="1200" smtClean="0">
                <a:solidFill>
                  <a:srgbClr val="FFFFFF"/>
                </a:solidFill>
              </a:rPr>
              <a:t>44 pt</a:t>
            </a:r>
          </a:p>
          <a:p>
            <a:pPr algn="r" eaLnBrk="1" hangingPunct="1">
              <a:defRPr/>
            </a:pPr>
            <a:endParaRPr lang="en-US" sz="1200" smtClean="0">
              <a:solidFill>
                <a:srgbClr val="FFFFFF"/>
              </a:solidFill>
            </a:endParaRPr>
          </a:p>
          <a:p>
            <a:pPr algn="r" eaLnBrk="1" hangingPunct="1">
              <a:defRPr/>
            </a:pPr>
            <a:endParaRPr lang="en-US" sz="1200" smtClean="0">
              <a:solidFill>
                <a:srgbClr val="FFFFFF"/>
              </a:solidFill>
            </a:endParaRPr>
          </a:p>
          <a:p>
            <a:pPr algn="r" eaLnBrk="1" hangingPunct="1">
              <a:defRPr/>
            </a:pPr>
            <a:endParaRPr lang="en-US" sz="1200" smtClean="0">
              <a:solidFill>
                <a:srgbClr val="FFFFFF"/>
              </a:solidFill>
            </a:endParaRPr>
          </a:p>
          <a:p>
            <a:pPr algn="r" eaLnBrk="1" hangingPunct="1">
              <a:defRPr/>
            </a:pPr>
            <a:endParaRPr lang="en-US" sz="1200" smtClean="0">
              <a:solidFill>
                <a:srgbClr val="FFFFFF"/>
              </a:solidFill>
            </a:endParaRPr>
          </a:p>
          <a:p>
            <a:pPr algn="r" eaLnBrk="1" hangingPunct="1">
              <a:defRPr/>
            </a:pPr>
            <a:endParaRPr lang="en-US" sz="1200" smtClean="0">
              <a:solidFill>
                <a:srgbClr val="FFFFFF"/>
              </a:solidFill>
            </a:endParaRPr>
          </a:p>
          <a:p>
            <a:pPr algn="r" eaLnBrk="1" hangingPunct="1">
              <a:defRPr/>
            </a:pPr>
            <a:endParaRPr lang="en-US" sz="1200" smtClean="0">
              <a:solidFill>
                <a:srgbClr val="FFFFFF"/>
              </a:solidFill>
            </a:endParaRPr>
          </a:p>
          <a:p>
            <a:pPr algn="r" eaLnBrk="1" hangingPunct="1">
              <a:defRPr/>
            </a:pPr>
            <a:r>
              <a:rPr lang="en-US" sz="1200" smtClean="0">
                <a:solidFill>
                  <a:srgbClr val="FFFFFF"/>
                </a:solidFill>
              </a:rPr>
              <a:t>Text and bullet level 1</a:t>
            </a:r>
          </a:p>
          <a:p>
            <a:pPr algn="r" eaLnBrk="1" hangingPunct="1">
              <a:defRPr/>
            </a:pPr>
            <a:r>
              <a:rPr lang="en-US" sz="1200" smtClean="0">
                <a:solidFill>
                  <a:srgbClr val="FFFFFF"/>
                </a:solidFill>
              </a:rPr>
              <a:t> minimum 24 pt</a:t>
            </a:r>
          </a:p>
          <a:p>
            <a:pPr algn="r" eaLnBrk="1" hangingPunct="1">
              <a:defRPr/>
            </a:pPr>
            <a:endParaRPr lang="en-US" sz="1200" smtClean="0">
              <a:solidFill>
                <a:srgbClr val="FFFFFF"/>
              </a:solidFill>
            </a:endParaRPr>
          </a:p>
          <a:p>
            <a:pPr algn="r" eaLnBrk="1" hangingPunct="1">
              <a:defRPr/>
            </a:pPr>
            <a:r>
              <a:rPr lang="en-US" sz="1200" smtClean="0">
                <a:solidFill>
                  <a:srgbClr val="FFFFFF"/>
                </a:solidFill>
              </a:rPr>
              <a:t>Bullets level 2-5</a:t>
            </a:r>
          </a:p>
          <a:p>
            <a:pPr algn="r" eaLnBrk="1" hangingPunct="1">
              <a:defRPr/>
            </a:pPr>
            <a:r>
              <a:rPr lang="en-US" sz="1200" smtClean="0">
                <a:solidFill>
                  <a:srgbClr val="FFFFFF"/>
                </a:solidFill>
              </a:rPr>
              <a:t>minimum 20 pt</a:t>
            </a:r>
          </a:p>
          <a:p>
            <a:pPr algn="r" eaLnBrk="1" hangingPunct="1">
              <a:defRPr/>
            </a:pPr>
            <a:endParaRPr lang="en-US" sz="1200" smtClean="0">
              <a:solidFill>
                <a:srgbClr val="FFFFFF"/>
              </a:solidFill>
            </a:endParaRPr>
          </a:p>
          <a:p>
            <a:pPr algn="r" eaLnBrk="1" hangingPunct="1">
              <a:spcBef>
                <a:spcPct val="50000"/>
              </a:spcBef>
              <a:defRPr/>
            </a:pPr>
            <a:endParaRPr lang="en-US" sz="800" smtClean="0">
              <a:solidFill>
                <a:schemeClr val="bg1"/>
              </a:solidFill>
            </a:endParaRPr>
          </a:p>
          <a:p>
            <a:pPr algn="r" eaLnBrk="1" hangingPunct="1">
              <a:spcBef>
                <a:spcPct val="50000"/>
              </a:spcBef>
              <a:defRPr/>
            </a:pPr>
            <a:endParaRPr lang="en-US" sz="800" smtClean="0">
              <a:solidFill>
                <a:schemeClr val="bg1"/>
              </a:solidFill>
            </a:endParaRPr>
          </a:p>
          <a:p>
            <a:pPr algn="r" eaLnBrk="1" hangingPunct="1">
              <a:spcBef>
                <a:spcPct val="50000"/>
              </a:spcBef>
              <a:defRPr/>
            </a:pPr>
            <a:endParaRPr lang="en-US" sz="800" smtClean="0">
              <a:solidFill>
                <a:schemeClr val="bg1"/>
              </a:solidFill>
            </a:endParaRPr>
          </a:p>
          <a:p>
            <a:pPr algn="l" eaLnBrk="1" hangingPunct="1">
              <a:spcBef>
                <a:spcPct val="50000"/>
              </a:spcBef>
              <a:defRPr/>
            </a:pPr>
            <a:r>
              <a:rPr lang="en-US" sz="500" smtClean="0">
                <a:solidFill>
                  <a:srgbClr val="9FB7D3"/>
                </a:solidFill>
              </a:rPr>
              <a:t>Characters for Embedded font:</a:t>
            </a:r>
            <a:br>
              <a:rPr lang="en-US" sz="500" smtClean="0">
                <a:solidFill>
                  <a:srgbClr val="9FB7D3"/>
                </a:solidFill>
              </a:rPr>
            </a:br>
            <a:r>
              <a:rPr lang="en-US" sz="500" smtClean="0">
                <a:solidFill>
                  <a:srgbClr val="9FB7D3"/>
                </a:solidFill>
                <a:latin typeface="Ericsson Capital TT" pitchFamily="2" charset="0"/>
              </a:rPr>
              <a:t>!"#$%&amp;'()*+,-./0123456789:;&lt;=&gt;?@ABCDEFGHIJKLMNOPQRSTUVWXYZ[\]^_`abcdefghijklmnopqrstuvwxyz{|}~¡¢£¤¥¦§¨©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ẀẁẃẄẅỲỳ–—‘’‚“”„†‡•…‰‹›⁄€™ĀĀĂĂĄĄĆĆĊĊČČĎĎĐĐĒĒĖĖĘĘĚĚĞĞĠĠĢĢĪĪĮĮİĶĶĹĹĻĻĽĽŃŃŅŅŇŇŌŌŐŐŔŔŖŖŘŘŚŚŞŞŢŢŤŤŪŪŮŮŰŰŲŲŴŴŶŶŹŹŻŻȘș−≤≥ﬁﬂ</a:t>
            </a:r>
            <a:endParaRPr lang="en-US" sz="500" i="1" smtClean="0">
              <a:solidFill>
                <a:srgbClr val="9FB7D3"/>
              </a:solidFill>
              <a:latin typeface="Ericsson Capital TT" pitchFamily="2" charset="0"/>
            </a:endParaRPr>
          </a:p>
          <a:p>
            <a:pPr algn="l" eaLnBrk="1" hangingPunct="1">
              <a:spcBef>
                <a:spcPct val="50000"/>
              </a:spcBef>
              <a:defRPr/>
            </a:pPr>
            <a:endParaRPr lang="en-US" sz="500" i="1" smtClean="0">
              <a:solidFill>
                <a:srgbClr val="9FB7D3"/>
              </a:solidFill>
              <a:latin typeface="Ericsson Capital TT" pitchFamily="2" charset="0"/>
            </a:endParaRPr>
          </a:p>
          <a:p>
            <a:pPr algn="l" eaLnBrk="1" hangingPunct="1">
              <a:spcBef>
                <a:spcPct val="50000"/>
              </a:spcBef>
              <a:defRPr/>
            </a:pPr>
            <a:r>
              <a:rPr lang="en-US" sz="500" smtClean="0">
                <a:solidFill>
                  <a:srgbClr val="9FB7D3"/>
                </a:solidFill>
                <a:latin typeface="Ericsson Capital TT" pitchFamily="2" charset="0"/>
              </a:rPr>
              <a:t>ΆΈΉΊΌΎΏΐΑΒΓΕΖΗΘΙΚΛΜΝΞΟΠΡΣΤΥΦΧΨΪΫΆΈΉΊΰαβγδεζηθικλνξορςΣΤΥΦΧΨΩΪΫΌΎΏ</a:t>
            </a:r>
            <a:endParaRPr lang="en-US" sz="500" i="1" smtClean="0">
              <a:solidFill>
                <a:srgbClr val="9FB7D3"/>
              </a:solidFill>
              <a:latin typeface="Ericsson Capital TT" pitchFamily="2" charset="0"/>
            </a:endParaRPr>
          </a:p>
          <a:p>
            <a:pPr algn="l" eaLnBrk="1" hangingPunct="1">
              <a:spcBef>
                <a:spcPct val="50000"/>
              </a:spcBef>
              <a:defRPr/>
            </a:pPr>
            <a:r>
              <a:rPr lang="en-US" sz="500" smtClean="0">
                <a:solidFill>
                  <a:srgbClr val="9FB7D3"/>
                </a:solidFill>
                <a:latin typeface="Ericsson Capital TT" pitchFamily="2" charset="0"/>
              </a:rPr>
              <a:t>ЁЂЃЄЅІЇЈЉЊЋЌЎЏАБВГДЕЖЗИЙКЛМНОПРСТУФХЦЧШЩЪЫЬЭЮЯАБВГДЕЖЗИЙКЛМНОПРСТУФХЦЧШЩЪЫЬЭЮЯЁЂЃЄЅІЇЈЉЊЋЌЎЏѢѢѲѲѴѴҐҐәǽẀẁẂẃẄẅỲỳ№</a:t>
            </a:r>
          </a:p>
          <a:p>
            <a:pPr algn="l" eaLnBrk="1" hangingPunct="1">
              <a:lnSpc>
                <a:spcPct val="80000"/>
              </a:lnSpc>
              <a:spcBef>
                <a:spcPct val="20000"/>
              </a:spcBef>
              <a:defRPr/>
            </a:pPr>
            <a:endParaRPr lang="en-US" sz="500" smtClean="0">
              <a:solidFill>
                <a:srgbClr val="9FB7D3"/>
              </a:solidFill>
              <a:latin typeface="Ericsson Capital TT" pitchFamily="2" charset="0"/>
            </a:endParaRPr>
          </a:p>
          <a:p>
            <a:pPr algn="r" eaLnBrk="1" hangingPunct="1">
              <a:defRPr/>
            </a:pPr>
            <a:endParaRPr lang="en-US" sz="500" smtClean="0">
              <a:solidFill>
                <a:schemeClr val="bg1"/>
              </a:solidFill>
              <a:latin typeface="Ericsson Capital TT" pitchFamily="2" charset="0"/>
            </a:endParaRPr>
          </a:p>
          <a:p>
            <a:pPr algn="r" eaLnBrk="1" hangingPunct="1">
              <a:defRPr/>
            </a:pPr>
            <a:endParaRPr lang="en-US" sz="800" smtClean="0">
              <a:solidFill>
                <a:schemeClr val="bg1"/>
              </a:solidFill>
              <a:latin typeface="Ericsson Capital TT" pitchFamily="2" charset="0"/>
            </a:endParaRPr>
          </a:p>
          <a:p>
            <a:pPr algn="r" eaLnBrk="1" hangingPunct="1">
              <a:defRPr/>
            </a:pPr>
            <a:endParaRPr lang="en-US" sz="800" smtClean="0">
              <a:solidFill>
                <a:schemeClr val="bg1"/>
              </a:solidFill>
              <a:latin typeface="Ericsson Capital TT" pitchFamily="2" charset="0"/>
            </a:endParaRPr>
          </a:p>
          <a:p>
            <a:pPr algn="r" eaLnBrk="1" hangingPunct="1">
              <a:defRPr/>
            </a:pPr>
            <a:endParaRPr lang="en-US" sz="800" smtClean="0">
              <a:solidFill>
                <a:schemeClr val="bg1"/>
              </a:solidFill>
              <a:latin typeface="Ericsson Capital TT" pitchFamily="2" charset="0"/>
            </a:endParaRPr>
          </a:p>
          <a:p>
            <a:pPr algn="r" eaLnBrk="1" hangingPunct="1">
              <a:defRPr/>
            </a:pPr>
            <a:endParaRPr lang="en-US" sz="800" smtClean="0">
              <a:solidFill>
                <a:schemeClr val="bg1"/>
              </a:solidFill>
              <a:latin typeface="Ericsson Capital TT" pitchFamily="2" charset="0"/>
            </a:endParaRPr>
          </a:p>
          <a:p>
            <a:pPr algn="r" eaLnBrk="1" hangingPunct="1">
              <a:defRPr/>
            </a:pPr>
            <a:endParaRPr lang="en-US" sz="800" smtClean="0">
              <a:solidFill>
                <a:schemeClr val="bg1"/>
              </a:solidFill>
              <a:latin typeface="Ericsson Capital TT" pitchFamily="2" charset="0"/>
            </a:endParaRPr>
          </a:p>
          <a:p>
            <a:pPr algn="r" eaLnBrk="1" hangingPunct="1">
              <a:defRPr/>
            </a:pPr>
            <a:endParaRPr lang="en-US" sz="1400" smtClean="0">
              <a:solidFill>
                <a:schemeClr val="bg1"/>
              </a:solidFill>
            </a:endParaRPr>
          </a:p>
          <a:p>
            <a:pPr algn="r" eaLnBrk="1" hangingPunct="1">
              <a:defRPr/>
            </a:pPr>
            <a:r>
              <a:rPr lang="en-US" sz="1200" smtClean="0">
                <a:solidFill>
                  <a:schemeClr val="bg1"/>
                </a:solidFill>
              </a:rPr>
              <a:t>Do not add objects or text in the footer area</a:t>
            </a:r>
          </a:p>
        </p:txBody>
      </p:sp>
      <p:pic>
        <p:nvPicPr>
          <p:cNvPr id="1027" name="Econ2011" descr="ECON_RGB"/>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315325" y="360363"/>
            <a:ext cx="444500" cy="588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3" name="txtfooterCopy"/>
          <p:cNvSpPr txBox="1">
            <a:spLocks noChangeArrowheads="1"/>
          </p:cNvSpPr>
          <p:nvPr/>
        </p:nvSpPr>
        <p:spPr bwMode="auto">
          <a:xfrm>
            <a:off x="395288" y="6524625"/>
            <a:ext cx="7399338" cy="215900"/>
          </a:xfrm>
          <a:prstGeom prst="rect">
            <a:avLst/>
          </a:prstGeom>
          <a:noFill/>
          <a:ln w="12700" algn="ctr">
            <a:noFill/>
            <a:miter lim="800000"/>
            <a:headEnd/>
            <a:tailEnd/>
          </a:ln>
          <a:effectLst/>
        </p:spPr>
        <p:txBody>
          <a:bodyPr lIns="72000" rIns="72000"/>
          <a:lstStyle>
            <a:lvl1pPr algn="l">
              <a:spcBef>
                <a:spcPct val="50000"/>
              </a:spcBef>
              <a:defRPr sz="2000">
                <a:solidFill>
                  <a:schemeClr val="tx1"/>
                </a:solidFill>
                <a:latin typeface="Arial" charset="0"/>
              </a:defRPr>
            </a:lvl1pPr>
            <a:lvl2pPr marL="742950" indent="-285750" algn="l">
              <a:spcBef>
                <a:spcPct val="50000"/>
              </a:spcBef>
              <a:defRPr sz="2000">
                <a:solidFill>
                  <a:schemeClr val="tx1"/>
                </a:solidFill>
                <a:latin typeface="Arial" charset="0"/>
              </a:defRPr>
            </a:lvl2pPr>
            <a:lvl3pPr marL="1143000" indent="-228600" algn="l">
              <a:spcBef>
                <a:spcPct val="50000"/>
              </a:spcBef>
              <a:defRPr sz="2000">
                <a:solidFill>
                  <a:schemeClr val="tx1"/>
                </a:solidFill>
                <a:latin typeface="Arial" charset="0"/>
              </a:defRPr>
            </a:lvl3pPr>
            <a:lvl4pPr marL="1600200" indent="-228600" algn="l">
              <a:spcBef>
                <a:spcPct val="50000"/>
              </a:spcBef>
              <a:defRPr sz="2000">
                <a:solidFill>
                  <a:schemeClr val="tx1"/>
                </a:solidFill>
                <a:latin typeface="Arial" charset="0"/>
              </a:defRPr>
            </a:lvl4pPr>
            <a:lvl5pPr marL="2057400" indent="-228600" algn="l">
              <a:spcBef>
                <a:spcPct val="50000"/>
              </a:spcBef>
              <a:defRPr sz="2000">
                <a:solidFill>
                  <a:schemeClr val="tx1"/>
                </a:solidFill>
                <a:latin typeface="Arial" charset="0"/>
              </a:defRPr>
            </a:lvl5pPr>
            <a:lvl6pPr marL="2514600" indent="-228600" fontAlgn="base">
              <a:spcBef>
                <a:spcPct val="50000"/>
              </a:spcBef>
              <a:spcAft>
                <a:spcPct val="0"/>
              </a:spcAft>
              <a:defRPr sz="2000">
                <a:solidFill>
                  <a:schemeClr val="tx1"/>
                </a:solidFill>
                <a:latin typeface="Arial" charset="0"/>
              </a:defRPr>
            </a:lvl6pPr>
            <a:lvl7pPr marL="2971800" indent="-228600" fontAlgn="base">
              <a:spcBef>
                <a:spcPct val="50000"/>
              </a:spcBef>
              <a:spcAft>
                <a:spcPct val="0"/>
              </a:spcAft>
              <a:defRPr sz="2000">
                <a:solidFill>
                  <a:schemeClr val="tx1"/>
                </a:solidFill>
                <a:latin typeface="Arial" charset="0"/>
              </a:defRPr>
            </a:lvl7pPr>
            <a:lvl8pPr marL="3429000" indent="-228600" fontAlgn="base">
              <a:spcBef>
                <a:spcPct val="50000"/>
              </a:spcBef>
              <a:spcAft>
                <a:spcPct val="0"/>
              </a:spcAft>
              <a:defRPr sz="2000">
                <a:solidFill>
                  <a:schemeClr val="tx1"/>
                </a:solidFill>
                <a:latin typeface="Arial" charset="0"/>
              </a:defRPr>
            </a:lvl8pPr>
            <a:lvl9pPr marL="3886200" indent="-228600" fontAlgn="base">
              <a:spcBef>
                <a:spcPct val="50000"/>
              </a:spcBef>
              <a:spcAft>
                <a:spcPct val="0"/>
              </a:spcAft>
              <a:defRPr sz="2000">
                <a:solidFill>
                  <a:schemeClr val="tx1"/>
                </a:solidFill>
                <a:latin typeface="Arial" charset="0"/>
              </a:defRPr>
            </a:lvl9pPr>
          </a:lstStyle>
          <a:p>
            <a:pPr algn="l">
              <a:defRPr/>
            </a:pPr>
            <a:r>
              <a:rPr lang="en-US" sz="800" b="0" i="0" u="none" smtClean="0">
                <a:solidFill>
                  <a:srgbClr val="87888A"/>
                </a:solidFill>
              </a:rPr>
              <a:t>2015 User Webinar: Ericsson Catalog Manager &amp; Ericsson Order Care  |  Commercial in confidence  |  2015-01-19  |  Page </a:t>
            </a:r>
            <a:fld id="{968050F4-0C41-4EB3-BA80-C79E85050E19}" type="slidenum">
              <a:rPr lang="en-US" sz="800" b="0" i="0" u="none" smtClean="0">
                <a:solidFill>
                  <a:srgbClr val="87888A"/>
                </a:solidFill>
              </a:rPr>
              <a:t>‹#›</a:t>
            </a:fld>
            <a:endParaRPr lang="en-US" sz="800" b="0" i="0" u="none" smtClean="0">
              <a:solidFill>
                <a:srgbClr val="87888A"/>
              </a:solidFill>
            </a:endParaRPr>
          </a:p>
        </p:txBody>
      </p:sp>
      <p:sp>
        <p:nvSpPr>
          <p:cNvPr id="1029" name="Content_SM"/>
          <p:cNvSpPr>
            <a:spLocks noGrp="1" noChangeArrowheads="1"/>
          </p:cNvSpPr>
          <p:nvPr>
            <p:ph type="body" idx="1"/>
          </p:nvPr>
        </p:nvSpPr>
        <p:spPr bwMode="auto">
          <a:xfrm>
            <a:off x="396875" y="1800225"/>
            <a:ext cx="8351838" cy="385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0" rIns="72000" bIns="0" numCol="1" anchor="t" anchorCtr="0" compatLnSpc="1">
            <a:prstTxWarp prst="textNoShape">
              <a:avLst/>
            </a:prstTxWarp>
          </a:bodyPr>
          <a:lstStyle/>
          <a:p>
            <a:pPr lvl="0"/>
            <a:r>
              <a:rPr lang="en-US" smtClean="0"/>
              <a:t>Click to add text</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0" name="Title_SM"/>
          <p:cNvSpPr>
            <a:spLocks noGrp="1" noChangeArrowheads="1"/>
          </p:cNvSpPr>
          <p:nvPr>
            <p:ph type="title"/>
          </p:nvPr>
        </p:nvSpPr>
        <p:spPr bwMode="auto">
          <a:xfrm>
            <a:off x="393700" y="239713"/>
            <a:ext cx="7494588"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0" rIns="72000" bIns="0" numCol="1" anchor="ctr" anchorCtr="0" compatLnSpc="1">
            <a:prstTxWarp prst="textNoShape">
              <a:avLst/>
            </a:prstTxWarp>
          </a:bodyPr>
          <a:lstStyle/>
          <a:p>
            <a:pPr lvl="0"/>
            <a:r>
              <a:rPr lang="en-US" smtClean="0"/>
              <a:t>Click to Add Header</a:t>
            </a:r>
          </a:p>
        </p:txBody>
      </p:sp>
    </p:spTree>
  </p:cSld>
  <p:clrMap bg1="lt1" tx1="dk1" bg2="lt2" tx2="dk2" accent1="accent1" accent2="accent2" accent3="accent3" accent4="accent4" accent5="accent5" accent6="accent6" hlink="hlink" folHlink="folHlink"/>
  <p:sldLayoutIdLst>
    <p:sldLayoutId id="2147484836" r:id="rId1"/>
    <p:sldLayoutId id="2147484800" r:id="rId2"/>
    <p:sldLayoutId id="2147484801" r:id="rId3"/>
    <p:sldLayoutId id="2147484802" r:id="rId4"/>
    <p:sldLayoutId id="2147484803" r:id="rId5"/>
    <p:sldLayoutId id="2147484804" r:id="rId6"/>
    <p:sldLayoutId id="2147484805" r:id="rId7"/>
    <p:sldLayoutId id="2147484806" r:id="rId8"/>
    <p:sldLayoutId id="2147484807" r:id="rId9"/>
    <p:sldLayoutId id="2147484808" r:id="rId10"/>
    <p:sldLayoutId id="2147484809" r:id="rId11"/>
    <p:sldLayoutId id="2147484810" r:id="rId12"/>
    <p:sldLayoutId id="2147484811" r:id="rId13"/>
    <p:sldLayoutId id="2147484812" r:id="rId14"/>
    <p:sldLayoutId id="2147484813" r:id="rId15"/>
    <p:sldLayoutId id="2147484814" r:id="rId16"/>
    <p:sldLayoutId id="2147484815" r:id="rId17"/>
    <p:sldLayoutId id="2147484816" r:id="rId18"/>
    <p:sldLayoutId id="2147484819" r:id="rId19"/>
  </p:sldLayoutIdLst>
  <p:timing>
    <p:tnLst>
      <p:par>
        <p:cTn id="1" dur="indefinite" restart="never" nodeType="tmRoot"/>
      </p:par>
    </p:tnLst>
  </p:timing>
  <p:hf sldNum="0" hdr="0" ftr="0" dt="0"/>
  <p:txStyles>
    <p:titleStyle>
      <a:lvl1pPr algn="l" rtl="0" eaLnBrk="0" fontAlgn="base" hangingPunct="0">
        <a:lnSpc>
          <a:spcPct val="75000"/>
        </a:lnSpc>
        <a:spcBef>
          <a:spcPct val="0"/>
        </a:spcBef>
        <a:spcAft>
          <a:spcPct val="0"/>
        </a:spcAft>
        <a:defRPr sz="4400">
          <a:solidFill>
            <a:schemeClr val="tx1"/>
          </a:solidFill>
          <a:latin typeface="Ericsson Capital TT"/>
          <a:ea typeface="+mj-ea"/>
          <a:cs typeface="+mj-cs"/>
        </a:defRPr>
      </a:lvl1pPr>
      <a:lvl2pPr algn="l" rtl="0" eaLnBrk="0" fontAlgn="base" hangingPunct="0">
        <a:lnSpc>
          <a:spcPct val="75000"/>
        </a:lnSpc>
        <a:spcBef>
          <a:spcPct val="0"/>
        </a:spcBef>
        <a:spcAft>
          <a:spcPct val="0"/>
        </a:spcAft>
        <a:defRPr sz="4400">
          <a:solidFill>
            <a:schemeClr val="tx1"/>
          </a:solidFill>
          <a:latin typeface="Ericsson Capital TT" pitchFamily="2" charset="0"/>
        </a:defRPr>
      </a:lvl2pPr>
      <a:lvl3pPr algn="l" rtl="0" eaLnBrk="0" fontAlgn="base" hangingPunct="0">
        <a:lnSpc>
          <a:spcPct val="75000"/>
        </a:lnSpc>
        <a:spcBef>
          <a:spcPct val="0"/>
        </a:spcBef>
        <a:spcAft>
          <a:spcPct val="0"/>
        </a:spcAft>
        <a:defRPr sz="4400">
          <a:solidFill>
            <a:schemeClr val="tx1"/>
          </a:solidFill>
          <a:latin typeface="Ericsson Capital TT" pitchFamily="2" charset="0"/>
        </a:defRPr>
      </a:lvl3pPr>
      <a:lvl4pPr algn="l" rtl="0" eaLnBrk="0" fontAlgn="base" hangingPunct="0">
        <a:lnSpc>
          <a:spcPct val="75000"/>
        </a:lnSpc>
        <a:spcBef>
          <a:spcPct val="0"/>
        </a:spcBef>
        <a:spcAft>
          <a:spcPct val="0"/>
        </a:spcAft>
        <a:defRPr sz="4400">
          <a:solidFill>
            <a:schemeClr val="tx1"/>
          </a:solidFill>
          <a:latin typeface="Ericsson Capital TT" pitchFamily="2" charset="0"/>
        </a:defRPr>
      </a:lvl4pPr>
      <a:lvl5pPr algn="l" rtl="0" eaLnBrk="0" fontAlgn="base" hangingPunct="0">
        <a:lnSpc>
          <a:spcPct val="75000"/>
        </a:lnSpc>
        <a:spcBef>
          <a:spcPct val="0"/>
        </a:spcBef>
        <a:spcAft>
          <a:spcPct val="0"/>
        </a:spcAft>
        <a:defRPr sz="44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p:titleStyle>
    <p:bodyStyle>
      <a:lvl1pPr marL="176213" indent="-176213" algn="l" rtl="0" eaLnBrk="0" fontAlgn="base" hangingPunct="0">
        <a:spcBef>
          <a:spcPct val="20000"/>
        </a:spcBef>
        <a:spcAft>
          <a:spcPct val="0"/>
        </a:spcAft>
        <a:buClr>
          <a:srgbClr val="00A9D4"/>
        </a:buClr>
        <a:buFont typeface="Arial" pitchFamily="34" charset="0"/>
        <a:buChar char="›"/>
        <a:defRPr sz="2400">
          <a:solidFill>
            <a:schemeClr val="tx1"/>
          </a:solidFill>
          <a:latin typeface="+mn-lt"/>
          <a:ea typeface="+mn-ea"/>
          <a:cs typeface="+mn-cs"/>
        </a:defRPr>
      </a:lvl1pPr>
      <a:lvl2pPr marL="533400" indent="-177800"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0" fontAlgn="base" hangingPunct="0">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9.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3.png"/><Relationship Id="rId2" Type="http://schemas.openxmlformats.org/officeDocument/2006/relationships/notesSlide" Target="../notesSlides/notesSlide15.xml"/><Relationship Id="rId1" Type="http://schemas.openxmlformats.org/officeDocument/2006/relationships/slideLayout" Target="../slideLayouts/slideLayout1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7.xml"/><Relationship Id="rId1" Type="http://schemas.openxmlformats.org/officeDocument/2006/relationships/slideLayout" Target="../slideLayouts/slideLayout16.xml"/><Relationship Id="rId5" Type="http://schemas.openxmlformats.org/officeDocument/2006/relationships/image" Target="../media/image20.png"/><Relationship Id="rId4" Type="http://schemas.openxmlformats.org/officeDocument/2006/relationships/image" Target="../media/image19.emf"/></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vmlDrawing" Target="../drawings/vmlDrawing3.vml"/><Relationship Id="rId6" Type="http://schemas.openxmlformats.org/officeDocument/2006/relationships/image" Target="../media/image22.emf"/><Relationship Id="rId5" Type="http://schemas.openxmlformats.org/officeDocument/2006/relationships/oleObject" Target="../embeddings/oleObject2.bin"/><Relationship Id="rId4" Type="http://schemas.openxmlformats.org/officeDocument/2006/relationships/image" Target="../media/image23.emf"/></Relationships>
</file>

<file path=ppt/slides/_rels/slide2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vmlDrawing" Target="../drawings/vmlDrawing4.vml"/><Relationship Id="rId5" Type="http://schemas.openxmlformats.org/officeDocument/2006/relationships/image" Target="../media/image27.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11.png"/><Relationship Id="rId5" Type="http://schemas.openxmlformats.org/officeDocument/2006/relationships/image" Target="../media/image10.jp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6.xml"/><Relationship Id="rId1" Type="http://schemas.openxmlformats.org/officeDocument/2006/relationships/vmlDrawing" Target="../drawings/vmlDrawing5.vml"/><Relationship Id="rId6" Type="http://schemas.openxmlformats.org/officeDocument/2006/relationships/image" Target="../media/image28.emf"/><Relationship Id="rId5" Type="http://schemas.openxmlformats.org/officeDocument/2006/relationships/oleObject" Target="../embeddings/oleObject4.bin"/><Relationship Id="rId4" Type="http://schemas.openxmlformats.org/officeDocument/2006/relationships/image" Target="../media/image2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6.xml"/><Relationship Id="rId1" Type="http://schemas.openxmlformats.org/officeDocument/2006/relationships/vmlDrawing" Target="../drawings/vmlDrawing6.vml"/><Relationship Id="rId5" Type="http://schemas.openxmlformats.org/officeDocument/2006/relationships/image" Target="../media/image31.png"/><Relationship Id="rId4" Type="http://schemas.openxmlformats.org/officeDocument/2006/relationships/oleObject" Target="../embeddings/Microsoft_Excel_97-2003_Worksheet2.xls"/></Relationships>
</file>

<file path=ppt/slides/_rels/slide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5.xml"/><Relationship Id="rId1" Type="http://schemas.openxmlformats.org/officeDocument/2006/relationships/slideLayout" Target="../slideLayouts/slideLayout2.xml"/><Relationship Id="rId5" Type="http://schemas.openxmlformats.org/officeDocument/2006/relationships/image" Target="../media/image34.png"/><Relationship Id="rId4" Type="http://schemas.openxmlformats.org/officeDocument/2006/relationships/image" Target="../media/image33.png"/></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3.png"/><Relationship Id="rId2" Type="http://schemas.openxmlformats.org/officeDocument/2006/relationships/notesSlide" Target="../notesSlides/notesSlide37.xml"/><Relationship Id="rId1" Type="http://schemas.openxmlformats.org/officeDocument/2006/relationships/slideLayout" Target="../slideLayouts/slideLayout1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3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38.xml"/><Relationship Id="rId1" Type="http://schemas.openxmlformats.org/officeDocument/2006/relationships/slideLayout" Target="../slideLayouts/slideLayout16.xml"/><Relationship Id="rId5" Type="http://schemas.openxmlformats.org/officeDocument/2006/relationships/image" Target="../media/image36.png"/><Relationship Id="rId4" Type="http://schemas.openxmlformats.org/officeDocument/2006/relationships/image" Target="../media/image19.emf"/></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0.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image" Target="../media/image37.png"/></Relationships>
</file>

<file path=ppt/slides/_rels/slide43.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3.png"/><Relationship Id="rId2" Type="http://schemas.openxmlformats.org/officeDocument/2006/relationships/notesSlide" Target="../notesSlides/notesSlide44.xml"/><Relationship Id="rId1" Type="http://schemas.openxmlformats.org/officeDocument/2006/relationships/slideLayout" Target="../slideLayouts/slideLayout1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3.png"/><Relationship Id="rId2" Type="http://schemas.openxmlformats.org/officeDocument/2006/relationships/notesSlide" Target="../notesSlides/notesSlide51.xml"/><Relationship Id="rId1" Type="http://schemas.openxmlformats.org/officeDocument/2006/relationships/slideLayout" Target="../slideLayouts/slideLayout1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hyperlink" Target="mailto:claudia.gilmour@ericsson.com" TargetMode="External"/><Relationship Id="rId2" Type="http://schemas.openxmlformats.org/officeDocument/2006/relationships/notesSlide" Target="../notesSlides/notesSlide55.xml"/><Relationship Id="rId1" Type="http://schemas.openxmlformats.org/officeDocument/2006/relationships/slideLayout" Target="../slideLayouts/slideLayout6.xml"/><Relationship Id="rId4" Type="http://schemas.openxmlformats.org/officeDocument/2006/relationships/image" Target="../media/image4.emf"/></Relationships>
</file>

<file path=ppt/slides/_rels/slide56.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56.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xml"/><Relationship Id="rId1" Type="http://schemas.openxmlformats.org/officeDocument/2006/relationships/vmlDrawing" Target="../drawings/vmlDrawing1.vml"/><Relationship Id="rId5" Type="http://schemas.openxmlformats.org/officeDocument/2006/relationships/image" Target="../media/image14.emf"/><Relationship Id="rId4" Type="http://schemas.openxmlformats.org/officeDocument/2006/relationships/oleObject" Target="../embeddings/Microsoft_Excel_97-2003_Worksheet1.xls"/></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5.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1"/>
          <p:cNvSpPr>
            <a:spLocks noChangeArrowheads="1"/>
          </p:cNvSpPr>
          <p:nvPr/>
        </p:nvSpPr>
        <p:spPr bwMode="auto">
          <a:xfrm>
            <a:off x="0" y="0"/>
            <a:ext cx="9144000" cy="6858000"/>
          </a:xfrm>
          <a:prstGeom prst="rect">
            <a:avLst/>
          </a:prstGeom>
          <a:blipFill dpi="0" rotWithShape="1">
            <a:blip r:embed="rId4"/>
            <a:srcRect/>
            <a:stretch>
              <a:fillRect/>
            </a:stretch>
          </a:blipFill>
          <a:ln>
            <a:noFill/>
          </a:ln>
          <a:extLst>
            <a:ext uri="{91240B29-F687-4F45-9708-019B960494DF}">
              <a14:hiddenLine xmlns:a14="http://schemas.microsoft.com/office/drawing/2010/main" w="12700" algn="ctr">
                <a:solidFill>
                  <a:schemeClr val="tx1"/>
                </a:solidFill>
                <a:round/>
                <a:headEnd/>
                <a:tailEnd/>
              </a14:hiddenLine>
            </a:ext>
          </a:extLst>
        </p:spPr>
        <p:txBody>
          <a:bodyPr wrap="none" lIns="72000" rIns="72000"/>
          <a:lstStyle/>
          <a:p>
            <a:pPr algn="l">
              <a:spcBef>
                <a:spcPct val="50000"/>
              </a:spcBef>
            </a:pPr>
            <a:endParaRPr lang="en-US" sz="2800"/>
          </a:p>
        </p:txBody>
      </p:sp>
      <p:sp>
        <p:nvSpPr>
          <p:cNvPr id="5123" name="Rectangle 2"/>
          <p:cNvSpPr>
            <a:spLocks noChangeArrowheads="1"/>
          </p:cNvSpPr>
          <p:nvPr/>
        </p:nvSpPr>
        <p:spPr bwMode="auto">
          <a:xfrm>
            <a:off x="2019300" y="2898775"/>
            <a:ext cx="6588125" cy="143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54000" bIns="0" anchor="ctr"/>
          <a:lstStyle/>
          <a:p>
            <a:pPr algn="l" eaLnBrk="0" hangingPunct="0">
              <a:lnSpc>
                <a:spcPct val="80000"/>
              </a:lnSpc>
              <a:buClr>
                <a:srgbClr val="00A9D4"/>
              </a:buClr>
            </a:pPr>
            <a:r>
              <a:rPr lang="sv-SE" sz="3200" dirty="0" smtClean="0">
                <a:solidFill>
                  <a:srgbClr val="FFFFFF"/>
                </a:solidFill>
                <a:latin typeface="Ericsson Capital TT" pitchFamily="2" charset="0"/>
              </a:rPr>
              <a:t>ERICSSON Catalog Manager</a:t>
            </a:r>
            <a:br>
              <a:rPr lang="sv-SE" sz="3200" dirty="0" smtClean="0">
                <a:solidFill>
                  <a:srgbClr val="FFFFFF"/>
                </a:solidFill>
                <a:latin typeface="Ericsson Capital TT" pitchFamily="2" charset="0"/>
              </a:rPr>
            </a:br>
            <a:r>
              <a:rPr lang="sv-SE" sz="3200" dirty="0" smtClean="0">
                <a:solidFill>
                  <a:srgbClr val="FFFFFF"/>
                </a:solidFill>
                <a:latin typeface="Ericsson Capital TT" pitchFamily="2" charset="0"/>
              </a:rPr>
              <a:t>Ericsson Order Care</a:t>
            </a:r>
            <a:endParaRPr lang="sv-SE" sz="3200" dirty="0">
              <a:solidFill>
                <a:srgbClr val="FFFFFF"/>
              </a:solidFill>
              <a:latin typeface="Ericsson Capital TT" pitchFamily="2" charset="0"/>
            </a:endParaRPr>
          </a:p>
          <a:p>
            <a:pPr algn="l" eaLnBrk="0" hangingPunct="0">
              <a:lnSpc>
                <a:spcPct val="80000"/>
              </a:lnSpc>
              <a:spcBef>
                <a:spcPts val="1200"/>
              </a:spcBef>
              <a:buClr>
                <a:srgbClr val="00A9D4"/>
              </a:buClr>
            </a:pPr>
            <a:r>
              <a:rPr lang="sv-SE" sz="3200" dirty="0" smtClean="0">
                <a:solidFill>
                  <a:srgbClr val="FFFFFF"/>
                </a:solidFill>
                <a:latin typeface="Ericsson Capital TT" pitchFamily="2" charset="0"/>
              </a:rPr>
              <a:t>2015 USER Webinar</a:t>
            </a:r>
            <a:endParaRPr lang="sv-SE" sz="3200" dirty="0">
              <a:solidFill>
                <a:srgbClr val="FFFFFF"/>
              </a:solidFill>
              <a:latin typeface="Ericsson Capital TT" pitchFamily="2" charset="0"/>
            </a:endParaRPr>
          </a:p>
        </p:txBody>
      </p:sp>
      <p:sp>
        <p:nvSpPr>
          <p:cNvPr id="5124" name="Freeform 3" descr="bpct-blend3"/>
          <p:cNvSpPr>
            <a:spLocks noChangeAspect="1" noEditPoints="1"/>
          </p:cNvSpPr>
          <p:nvPr/>
        </p:nvSpPr>
        <p:spPr bwMode="auto">
          <a:xfrm>
            <a:off x="396875" y="1366838"/>
            <a:ext cx="3067050" cy="4283075"/>
          </a:xfrm>
          <a:custGeom>
            <a:avLst/>
            <a:gdLst>
              <a:gd name="T0" fmla="*/ 2147483647 w 1023"/>
              <a:gd name="T1" fmla="*/ 2147483647 h 1428"/>
              <a:gd name="T2" fmla="*/ 2147483647 w 1023"/>
              <a:gd name="T3" fmla="*/ 2147483647 h 1428"/>
              <a:gd name="T4" fmla="*/ 2147483647 w 1023"/>
              <a:gd name="T5" fmla="*/ 2147483647 h 1428"/>
              <a:gd name="T6" fmla="*/ 2147483647 w 1023"/>
              <a:gd name="T7" fmla="*/ 2147483647 h 1428"/>
              <a:gd name="T8" fmla="*/ 2147483647 w 1023"/>
              <a:gd name="T9" fmla="*/ 2147483647 h 1428"/>
              <a:gd name="T10" fmla="*/ 2147483647 w 1023"/>
              <a:gd name="T11" fmla="*/ 0 h 1428"/>
              <a:gd name="T12" fmla="*/ 2147483647 w 1023"/>
              <a:gd name="T13" fmla="*/ 2147483647 h 1428"/>
              <a:gd name="T14" fmla="*/ 2147483647 w 1023"/>
              <a:gd name="T15" fmla="*/ 2147483647 h 1428"/>
              <a:gd name="T16" fmla="*/ 2147483647 w 1023"/>
              <a:gd name="T17" fmla="*/ 2147483647 h 1428"/>
              <a:gd name="T18" fmla="*/ 2147483647 w 1023"/>
              <a:gd name="T19" fmla="*/ 2147483647 h 1428"/>
              <a:gd name="T20" fmla="*/ 2147483647 w 1023"/>
              <a:gd name="T21" fmla="*/ 2147483647 h 1428"/>
              <a:gd name="T22" fmla="*/ 2147483647 w 1023"/>
              <a:gd name="T23" fmla="*/ 2147483647 h 1428"/>
              <a:gd name="T24" fmla="*/ 2147483647 w 1023"/>
              <a:gd name="T25" fmla="*/ 2147483647 h 1428"/>
              <a:gd name="T26" fmla="*/ 2147483647 w 1023"/>
              <a:gd name="T27" fmla="*/ 2147483647 h 1428"/>
              <a:gd name="T28" fmla="*/ 2147483647 w 1023"/>
              <a:gd name="T29" fmla="*/ 2147483647 h 1428"/>
              <a:gd name="T30" fmla="*/ 2147483647 w 1023"/>
              <a:gd name="T31" fmla="*/ 2147483647 h 1428"/>
              <a:gd name="T32" fmla="*/ 2147483647 w 1023"/>
              <a:gd name="T33" fmla="*/ 2147483647 h 1428"/>
              <a:gd name="T34" fmla="*/ 2147483647 w 1023"/>
              <a:gd name="T35" fmla="*/ 2147483647 h 1428"/>
              <a:gd name="T36" fmla="*/ 2147483647 w 1023"/>
              <a:gd name="T37" fmla="*/ 2147483647 h 1428"/>
              <a:gd name="T38" fmla="*/ 2147483647 w 1023"/>
              <a:gd name="T39" fmla="*/ 2147483647 h 1428"/>
              <a:gd name="T40" fmla="*/ 2147483647 w 1023"/>
              <a:gd name="T41" fmla="*/ 2147483647 h 1428"/>
              <a:gd name="T42" fmla="*/ 2147483647 w 1023"/>
              <a:gd name="T43" fmla="*/ 2147483647 h 1428"/>
              <a:gd name="T44" fmla="*/ 2147483647 w 1023"/>
              <a:gd name="T45" fmla="*/ 2147483647 h 1428"/>
              <a:gd name="T46" fmla="*/ 2147483647 w 1023"/>
              <a:gd name="T47" fmla="*/ 2147483647 h 1428"/>
              <a:gd name="T48" fmla="*/ 2147483647 w 1023"/>
              <a:gd name="T49" fmla="*/ 2147483647 h 1428"/>
              <a:gd name="T50" fmla="*/ 2147483647 w 1023"/>
              <a:gd name="T51" fmla="*/ 2147483647 h 1428"/>
              <a:gd name="T52" fmla="*/ 2147483647 w 1023"/>
              <a:gd name="T53" fmla="*/ 2147483647 h 1428"/>
              <a:gd name="T54" fmla="*/ 2147483647 w 1023"/>
              <a:gd name="T55" fmla="*/ 2147483647 h 1428"/>
              <a:gd name="T56" fmla="*/ 2147483647 w 1023"/>
              <a:gd name="T57" fmla="*/ 2147483647 h 1428"/>
              <a:gd name="T58" fmla="*/ 2147483647 w 1023"/>
              <a:gd name="T59" fmla="*/ 2147483647 h 1428"/>
              <a:gd name="T60" fmla="*/ 0 w 1023"/>
              <a:gd name="T61" fmla="*/ 2147483647 h 1428"/>
              <a:gd name="T62" fmla="*/ 2147483647 w 1023"/>
              <a:gd name="T63" fmla="*/ 2147483647 h 1428"/>
              <a:gd name="T64" fmla="*/ 2147483647 w 1023"/>
              <a:gd name="T65" fmla="*/ 2147483647 h 1428"/>
              <a:gd name="T66" fmla="*/ 2147483647 w 1023"/>
              <a:gd name="T67" fmla="*/ 2147483647 h 1428"/>
              <a:gd name="T68" fmla="*/ 2147483647 w 1023"/>
              <a:gd name="T69" fmla="*/ 2147483647 h 1428"/>
              <a:gd name="T70" fmla="*/ 2147483647 w 1023"/>
              <a:gd name="T71" fmla="*/ 2147483647 h 1428"/>
              <a:gd name="T72" fmla="*/ 2147483647 w 1023"/>
              <a:gd name="T73" fmla="*/ 2147483647 h 1428"/>
              <a:gd name="T74" fmla="*/ 2147483647 w 1023"/>
              <a:gd name="T75" fmla="*/ 2147483647 h 1428"/>
              <a:gd name="T76" fmla="*/ 2147483647 w 1023"/>
              <a:gd name="T77" fmla="*/ 2147483647 h 1428"/>
              <a:gd name="T78" fmla="*/ 2147483647 w 1023"/>
              <a:gd name="T79" fmla="*/ 2147483647 h 1428"/>
              <a:gd name="T80" fmla="*/ 2147483647 w 1023"/>
              <a:gd name="T81" fmla="*/ 2147483647 h 1428"/>
              <a:gd name="T82" fmla="*/ 2147483647 w 1023"/>
              <a:gd name="T83" fmla="*/ 2147483647 h 1428"/>
              <a:gd name="T84" fmla="*/ 2147483647 w 1023"/>
              <a:gd name="T85" fmla="*/ 2147483647 h 1428"/>
              <a:gd name="T86" fmla="*/ 2147483647 w 1023"/>
              <a:gd name="T87" fmla="*/ 2147483647 h 1428"/>
              <a:gd name="T88" fmla="*/ 2147483647 w 1023"/>
              <a:gd name="T89" fmla="*/ 2147483647 h 1428"/>
              <a:gd name="T90" fmla="*/ 2147483647 w 1023"/>
              <a:gd name="T91" fmla="*/ 2147483647 h 1428"/>
              <a:gd name="T92" fmla="*/ 2147483647 w 1023"/>
              <a:gd name="T93" fmla="*/ 2147483647 h 1428"/>
              <a:gd name="T94" fmla="*/ 2147483647 w 1023"/>
              <a:gd name="T95" fmla="*/ 2147483647 h 1428"/>
              <a:gd name="T96" fmla="*/ 2147483647 w 1023"/>
              <a:gd name="T97" fmla="*/ 2147483647 h 1428"/>
              <a:gd name="T98" fmla="*/ 2147483647 w 1023"/>
              <a:gd name="T99" fmla="*/ 2147483647 h 1428"/>
              <a:gd name="T100" fmla="*/ 2147483647 w 1023"/>
              <a:gd name="T101" fmla="*/ 2147483647 h 1428"/>
              <a:gd name="T102" fmla="*/ 2147483647 w 1023"/>
              <a:gd name="T103" fmla="*/ 2147483647 h 1428"/>
              <a:gd name="T104" fmla="*/ 2147483647 w 1023"/>
              <a:gd name="T105" fmla="*/ 2147483647 h 1428"/>
              <a:gd name="T106" fmla="*/ 2147483647 w 1023"/>
              <a:gd name="T107" fmla="*/ 2147483647 h 1428"/>
              <a:gd name="T108" fmla="*/ 2147483647 w 1023"/>
              <a:gd name="T109" fmla="*/ 2147483647 h 14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23" h="1428">
                <a:moveTo>
                  <a:pt x="714" y="1335"/>
                </a:moveTo>
                <a:cubicBezTo>
                  <a:pt x="689" y="1335"/>
                  <a:pt x="668" y="1356"/>
                  <a:pt x="668" y="1381"/>
                </a:cubicBezTo>
                <a:cubicBezTo>
                  <a:pt x="668" y="1407"/>
                  <a:pt x="689" y="1428"/>
                  <a:pt x="714" y="1428"/>
                </a:cubicBezTo>
                <a:cubicBezTo>
                  <a:pt x="740" y="1428"/>
                  <a:pt x="761" y="1407"/>
                  <a:pt x="761" y="1381"/>
                </a:cubicBezTo>
                <a:cubicBezTo>
                  <a:pt x="761" y="1356"/>
                  <a:pt x="740" y="1335"/>
                  <a:pt x="714" y="1335"/>
                </a:cubicBezTo>
                <a:close/>
                <a:moveTo>
                  <a:pt x="714" y="1286"/>
                </a:moveTo>
                <a:cubicBezTo>
                  <a:pt x="733" y="1286"/>
                  <a:pt x="748" y="1272"/>
                  <a:pt x="748" y="1253"/>
                </a:cubicBezTo>
                <a:cubicBezTo>
                  <a:pt x="748" y="1235"/>
                  <a:pt x="733" y="1220"/>
                  <a:pt x="714" y="1220"/>
                </a:cubicBezTo>
                <a:cubicBezTo>
                  <a:pt x="696" y="1220"/>
                  <a:pt x="681" y="1235"/>
                  <a:pt x="681" y="1253"/>
                </a:cubicBezTo>
                <a:cubicBezTo>
                  <a:pt x="681" y="1272"/>
                  <a:pt x="696" y="1286"/>
                  <a:pt x="714" y="1286"/>
                </a:cubicBezTo>
                <a:close/>
                <a:moveTo>
                  <a:pt x="714" y="1172"/>
                </a:moveTo>
                <a:cubicBezTo>
                  <a:pt x="728" y="1172"/>
                  <a:pt x="740" y="1160"/>
                  <a:pt x="740" y="1146"/>
                </a:cubicBezTo>
                <a:cubicBezTo>
                  <a:pt x="740" y="1132"/>
                  <a:pt x="728" y="1121"/>
                  <a:pt x="714" y="1121"/>
                </a:cubicBezTo>
                <a:cubicBezTo>
                  <a:pt x="700" y="1121"/>
                  <a:pt x="689" y="1132"/>
                  <a:pt x="689" y="1146"/>
                </a:cubicBezTo>
                <a:cubicBezTo>
                  <a:pt x="689" y="1160"/>
                  <a:pt x="700" y="1172"/>
                  <a:pt x="714" y="1172"/>
                </a:cubicBezTo>
                <a:close/>
                <a:moveTo>
                  <a:pt x="714" y="93"/>
                </a:moveTo>
                <a:cubicBezTo>
                  <a:pt x="740" y="93"/>
                  <a:pt x="761" y="72"/>
                  <a:pt x="761" y="47"/>
                </a:cubicBezTo>
                <a:cubicBezTo>
                  <a:pt x="761" y="21"/>
                  <a:pt x="740" y="0"/>
                  <a:pt x="714" y="0"/>
                </a:cubicBezTo>
                <a:cubicBezTo>
                  <a:pt x="689" y="0"/>
                  <a:pt x="668" y="21"/>
                  <a:pt x="668" y="47"/>
                </a:cubicBezTo>
                <a:cubicBezTo>
                  <a:pt x="668" y="72"/>
                  <a:pt x="689" y="93"/>
                  <a:pt x="714" y="93"/>
                </a:cubicBezTo>
                <a:close/>
                <a:moveTo>
                  <a:pt x="714" y="142"/>
                </a:moveTo>
                <a:cubicBezTo>
                  <a:pt x="696" y="142"/>
                  <a:pt x="681" y="156"/>
                  <a:pt x="681" y="175"/>
                </a:cubicBezTo>
                <a:cubicBezTo>
                  <a:pt x="681" y="193"/>
                  <a:pt x="696" y="208"/>
                  <a:pt x="714" y="208"/>
                </a:cubicBezTo>
                <a:cubicBezTo>
                  <a:pt x="733" y="208"/>
                  <a:pt x="748" y="193"/>
                  <a:pt x="748" y="175"/>
                </a:cubicBezTo>
                <a:cubicBezTo>
                  <a:pt x="748" y="156"/>
                  <a:pt x="733" y="142"/>
                  <a:pt x="714" y="142"/>
                </a:cubicBezTo>
                <a:close/>
                <a:moveTo>
                  <a:pt x="740" y="282"/>
                </a:moveTo>
                <a:cubicBezTo>
                  <a:pt x="740" y="268"/>
                  <a:pt x="728" y="256"/>
                  <a:pt x="714" y="256"/>
                </a:cubicBezTo>
                <a:cubicBezTo>
                  <a:pt x="700" y="256"/>
                  <a:pt x="689" y="268"/>
                  <a:pt x="689" y="282"/>
                </a:cubicBezTo>
                <a:cubicBezTo>
                  <a:pt x="689" y="296"/>
                  <a:pt x="700" y="307"/>
                  <a:pt x="714" y="307"/>
                </a:cubicBezTo>
                <a:cubicBezTo>
                  <a:pt x="728" y="307"/>
                  <a:pt x="740" y="296"/>
                  <a:pt x="740" y="282"/>
                </a:cubicBezTo>
                <a:close/>
                <a:moveTo>
                  <a:pt x="1013" y="1313"/>
                </a:moveTo>
                <a:cubicBezTo>
                  <a:pt x="1003" y="1289"/>
                  <a:pt x="976" y="1277"/>
                  <a:pt x="952" y="1287"/>
                </a:cubicBezTo>
                <a:cubicBezTo>
                  <a:pt x="928" y="1297"/>
                  <a:pt x="917" y="1325"/>
                  <a:pt x="927" y="1349"/>
                </a:cubicBezTo>
                <a:cubicBezTo>
                  <a:pt x="936" y="1372"/>
                  <a:pt x="964" y="1384"/>
                  <a:pt x="988" y="1374"/>
                </a:cubicBezTo>
                <a:cubicBezTo>
                  <a:pt x="1012" y="1364"/>
                  <a:pt x="1023" y="1337"/>
                  <a:pt x="1013" y="1313"/>
                </a:cubicBezTo>
                <a:close/>
                <a:moveTo>
                  <a:pt x="951" y="1199"/>
                </a:moveTo>
                <a:cubicBezTo>
                  <a:pt x="944" y="1182"/>
                  <a:pt x="925" y="1174"/>
                  <a:pt x="908" y="1181"/>
                </a:cubicBezTo>
                <a:cubicBezTo>
                  <a:pt x="891" y="1188"/>
                  <a:pt x="883" y="1208"/>
                  <a:pt x="890" y="1225"/>
                </a:cubicBezTo>
                <a:cubicBezTo>
                  <a:pt x="897" y="1242"/>
                  <a:pt x="916" y="1250"/>
                  <a:pt x="933" y="1243"/>
                </a:cubicBezTo>
                <a:cubicBezTo>
                  <a:pt x="950" y="1236"/>
                  <a:pt x="958" y="1216"/>
                  <a:pt x="951" y="1199"/>
                </a:cubicBezTo>
                <a:close/>
                <a:moveTo>
                  <a:pt x="903" y="1103"/>
                </a:moveTo>
                <a:cubicBezTo>
                  <a:pt x="898" y="1090"/>
                  <a:pt x="883" y="1084"/>
                  <a:pt x="870" y="1090"/>
                </a:cubicBezTo>
                <a:cubicBezTo>
                  <a:pt x="857" y="1095"/>
                  <a:pt x="851" y="1110"/>
                  <a:pt x="856" y="1123"/>
                </a:cubicBezTo>
                <a:cubicBezTo>
                  <a:pt x="862" y="1136"/>
                  <a:pt x="877" y="1142"/>
                  <a:pt x="890" y="1137"/>
                </a:cubicBezTo>
                <a:cubicBezTo>
                  <a:pt x="903" y="1131"/>
                  <a:pt x="909" y="1117"/>
                  <a:pt x="903" y="1103"/>
                </a:cubicBezTo>
                <a:close/>
                <a:moveTo>
                  <a:pt x="477" y="141"/>
                </a:moveTo>
                <a:cubicBezTo>
                  <a:pt x="501" y="131"/>
                  <a:pt x="512" y="103"/>
                  <a:pt x="502" y="79"/>
                </a:cubicBezTo>
                <a:cubicBezTo>
                  <a:pt x="492" y="56"/>
                  <a:pt x="465" y="44"/>
                  <a:pt x="441" y="54"/>
                </a:cubicBezTo>
                <a:cubicBezTo>
                  <a:pt x="417" y="64"/>
                  <a:pt x="406" y="91"/>
                  <a:pt x="416" y="115"/>
                </a:cubicBezTo>
                <a:cubicBezTo>
                  <a:pt x="426" y="139"/>
                  <a:pt x="453" y="150"/>
                  <a:pt x="477" y="141"/>
                </a:cubicBezTo>
                <a:close/>
                <a:moveTo>
                  <a:pt x="477" y="229"/>
                </a:moveTo>
                <a:cubicBezTo>
                  <a:pt x="484" y="246"/>
                  <a:pt x="504" y="254"/>
                  <a:pt x="521" y="247"/>
                </a:cubicBezTo>
                <a:cubicBezTo>
                  <a:pt x="538" y="240"/>
                  <a:pt x="546" y="220"/>
                  <a:pt x="539" y="203"/>
                </a:cubicBezTo>
                <a:cubicBezTo>
                  <a:pt x="532" y="186"/>
                  <a:pt x="512" y="178"/>
                  <a:pt x="495" y="185"/>
                </a:cubicBezTo>
                <a:cubicBezTo>
                  <a:pt x="478" y="192"/>
                  <a:pt x="470" y="212"/>
                  <a:pt x="477" y="229"/>
                </a:cubicBezTo>
                <a:close/>
                <a:moveTo>
                  <a:pt x="539" y="291"/>
                </a:moveTo>
                <a:cubicBezTo>
                  <a:pt x="526" y="296"/>
                  <a:pt x="520" y="311"/>
                  <a:pt x="525" y="324"/>
                </a:cubicBezTo>
                <a:cubicBezTo>
                  <a:pt x="531" y="337"/>
                  <a:pt x="546" y="344"/>
                  <a:pt x="559" y="338"/>
                </a:cubicBezTo>
                <a:cubicBezTo>
                  <a:pt x="572" y="333"/>
                  <a:pt x="578" y="318"/>
                  <a:pt x="573" y="305"/>
                </a:cubicBezTo>
                <a:cubicBezTo>
                  <a:pt x="567" y="292"/>
                  <a:pt x="552" y="286"/>
                  <a:pt x="539" y="291"/>
                </a:cubicBezTo>
                <a:close/>
                <a:moveTo>
                  <a:pt x="275" y="275"/>
                </a:moveTo>
                <a:cubicBezTo>
                  <a:pt x="294" y="257"/>
                  <a:pt x="294" y="227"/>
                  <a:pt x="275" y="209"/>
                </a:cubicBezTo>
                <a:cubicBezTo>
                  <a:pt x="257" y="191"/>
                  <a:pt x="228" y="191"/>
                  <a:pt x="209" y="209"/>
                </a:cubicBezTo>
                <a:cubicBezTo>
                  <a:pt x="191" y="227"/>
                  <a:pt x="191" y="257"/>
                  <a:pt x="209" y="275"/>
                </a:cubicBezTo>
                <a:cubicBezTo>
                  <a:pt x="228" y="293"/>
                  <a:pt x="257" y="293"/>
                  <a:pt x="275" y="275"/>
                </a:cubicBezTo>
                <a:close/>
                <a:moveTo>
                  <a:pt x="310" y="309"/>
                </a:moveTo>
                <a:cubicBezTo>
                  <a:pt x="297" y="322"/>
                  <a:pt x="297" y="343"/>
                  <a:pt x="310" y="356"/>
                </a:cubicBezTo>
                <a:cubicBezTo>
                  <a:pt x="323" y="369"/>
                  <a:pt x="344" y="369"/>
                  <a:pt x="357" y="356"/>
                </a:cubicBezTo>
                <a:cubicBezTo>
                  <a:pt x="370" y="343"/>
                  <a:pt x="370" y="322"/>
                  <a:pt x="357" y="309"/>
                </a:cubicBezTo>
                <a:cubicBezTo>
                  <a:pt x="344" y="296"/>
                  <a:pt x="323" y="296"/>
                  <a:pt x="310" y="309"/>
                </a:cubicBezTo>
                <a:close/>
                <a:moveTo>
                  <a:pt x="427" y="426"/>
                </a:moveTo>
                <a:cubicBezTo>
                  <a:pt x="437" y="416"/>
                  <a:pt x="437" y="400"/>
                  <a:pt x="427" y="390"/>
                </a:cubicBezTo>
                <a:cubicBezTo>
                  <a:pt x="417" y="380"/>
                  <a:pt x="401" y="380"/>
                  <a:pt x="391" y="390"/>
                </a:cubicBezTo>
                <a:cubicBezTo>
                  <a:pt x="381" y="400"/>
                  <a:pt x="381" y="416"/>
                  <a:pt x="391" y="426"/>
                </a:cubicBezTo>
                <a:cubicBezTo>
                  <a:pt x="401" y="436"/>
                  <a:pt x="417" y="436"/>
                  <a:pt x="427" y="426"/>
                </a:cubicBezTo>
                <a:close/>
                <a:moveTo>
                  <a:pt x="80" y="502"/>
                </a:moveTo>
                <a:cubicBezTo>
                  <a:pt x="104" y="512"/>
                  <a:pt x="131" y="500"/>
                  <a:pt x="141" y="476"/>
                </a:cubicBezTo>
                <a:cubicBezTo>
                  <a:pt x="151" y="453"/>
                  <a:pt x="140" y="425"/>
                  <a:pt x="116" y="415"/>
                </a:cubicBezTo>
                <a:cubicBezTo>
                  <a:pt x="92" y="405"/>
                  <a:pt x="64" y="417"/>
                  <a:pt x="54" y="441"/>
                </a:cubicBezTo>
                <a:cubicBezTo>
                  <a:pt x="45" y="465"/>
                  <a:pt x="56" y="492"/>
                  <a:pt x="80" y="502"/>
                </a:cubicBezTo>
                <a:close/>
                <a:moveTo>
                  <a:pt x="203" y="538"/>
                </a:moveTo>
                <a:cubicBezTo>
                  <a:pt x="220" y="545"/>
                  <a:pt x="240" y="537"/>
                  <a:pt x="247" y="520"/>
                </a:cubicBezTo>
                <a:cubicBezTo>
                  <a:pt x="254" y="503"/>
                  <a:pt x="246" y="484"/>
                  <a:pt x="229" y="477"/>
                </a:cubicBezTo>
                <a:cubicBezTo>
                  <a:pt x="212" y="470"/>
                  <a:pt x="193" y="478"/>
                  <a:pt x="185" y="495"/>
                </a:cubicBezTo>
                <a:cubicBezTo>
                  <a:pt x="178" y="512"/>
                  <a:pt x="187" y="531"/>
                  <a:pt x="203" y="538"/>
                </a:cubicBezTo>
                <a:close/>
                <a:moveTo>
                  <a:pt x="305" y="572"/>
                </a:moveTo>
                <a:cubicBezTo>
                  <a:pt x="318" y="578"/>
                  <a:pt x="333" y="571"/>
                  <a:pt x="339" y="558"/>
                </a:cubicBezTo>
                <a:cubicBezTo>
                  <a:pt x="344" y="545"/>
                  <a:pt x="338" y="530"/>
                  <a:pt x="325" y="525"/>
                </a:cubicBezTo>
                <a:cubicBezTo>
                  <a:pt x="312" y="520"/>
                  <a:pt x="297" y="526"/>
                  <a:pt x="291" y="539"/>
                </a:cubicBezTo>
                <a:cubicBezTo>
                  <a:pt x="286" y="552"/>
                  <a:pt x="292" y="567"/>
                  <a:pt x="305" y="572"/>
                </a:cubicBezTo>
                <a:close/>
                <a:moveTo>
                  <a:pt x="94" y="714"/>
                </a:moveTo>
                <a:cubicBezTo>
                  <a:pt x="94" y="688"/>
                  <a:pt x="73" y="667"/>
                  <a:pt x="47" y="667"/>
                </a:cubicBezTo>
                <a:cubicBezTo>
                  <a:pt x="21" y="667"/>
                  <a:pt x="0" y="688"/>
                  <a:pt x="0" y="714"/>
                </a:cubicBezTo>
                <a:cubicBezTo>
                  <a:pt x="0" y="740"/>
                  <a:pt x="21" y="761"/>
                  <a:pt x="47" y="761"/>
                </a:cubicBezTo>
                <a:cubicBezTo>
                  <a:pt x="73" y="761"/>
                  <a:pt x="94" y="740"/>
                  <a:pt x="94" y="714"/>
                </a:cubicBezTo>
                <a:close/>
                <a:moveTo>
                  <a:pt x="208" y="714"/>
                </a:moveTo>
                <a:cubicBezTo>
                  <a:pt x="208" y="696"/>
                  <a:pt x="194" y="681"/>
                  <a:pt x="175" y="681"/>
                </a:cubicBezTo>
                <a:cubicBezTo>
                  <a:pt x="157" y="681"/>
                  <a:pt x="142" y="696"/>
                  <a:pt x="142" y="714"/>
                </a:cubicBezTo>
                <a:cubicBezTo>
                  <a:pt x="142" y="732"/>
                  <a:pt x="157" y="747"/>
                  <a:pt x="175" y="747"/>
                </a:cubicBezTo>
                <a:cubicBezTo>
                  <a:pt x="194" y="747"/>
                  <a:pt x="208" y="732"/>
                  <a:pt x="208" y="714"/>
                </a:cubicBezTo>
                <a:close/>
                <a:moveTo>
                  <a:pt x="282" y="688"/>
                </a:moveTo>
                <a:cubicBezTo>
                  <a:pt x="268" y="688"/>
                  <a:pt x="257" y="700"/>
                  <a:pt x="257" y="714"/>
                </a:cubicBezTo>
                <a:cubicBezTo>
                  <a:pt x="257" y="728"/>
                  <a:pt x="268" y="740"/>
                  <a:pt x="282" y="740"/>
                </a:cubicBezTo>
                <a:cubicBezTo>
                  <a:pt x="296" y="740"/>
                  <a:pt x="308" y="728"/>
                  <a:pt x="308" y="714"/>
                </a:cubicBezTo>
                <a:cubicBezTo>
                  <a:pt x="308" y="700"/>
                  <a:pt x="296" y="688"/>
                  <a:pt x="282" y="688"/>
                </a:cubicBezTo>
                <a:close/>
                <a:moveTo>
                  <a:pt x="80" y="926"/>
                </a:moveTo>
                <a:cubicBezTo>
                  <a:pt x="56" y="936"/>
                  <a:pt x="45" y="963"/>
                  <a:pt x="54" y="987"/>
                </a:cubicBezTo>
                <a:cubicBezTo>
                  <a:pt x="64" y="1011"/>
                  <a:pt x="92" y="1023"/>
                  <a:pt x="116" y="1013"/>
                </a:cubicBezTo>
                <a:cubicBezTo>
                  <a:pt x="139" y="1003"/>
                  <a:pt x="151" y="975"/>
                  <a:pt x="141" y="951"/>
                </a:cubicBezTo>
                <a:cubicBezTo>
                  <a:pt x="131" y="928"/>
                  <a:pt x="104" y="916"/>
                  <a:pt x="80" y="926"/>
                </a:cubicBezTo>
                <a:close/>
                <a:moveTo>
                  <a:pt x="229" y="951"/>
                </a:moveTo>
                <a:cubicBezTo>
                  <a:pt x="246" y="944"/>
                  <a:pt x="254" y="925"/>
                  <a:pt x="247" y="908"/>
                </a:cubicBezTo>
                <a:cubicBezTo>
                  <a:pt x="240" y="891"/>
                  <a:pt x="220" y="883"/>
                  <a:pt x="203" y="890"/>
                </a:cubicBezTo>
                <a:cubicBezTo>
                  <a:pt x="186" y="897"/>
                  <a:pt x="178" y="916"/>
                  <a:pt x="185" y="933"/>
                </a:cubicBezTo>
                <a:cubicBezTo>
                  <a:pt x="192" y="950"/>
                  <a:pt x="212" y="958"/>
                  <a:pt x="229" y="951"/>
                </a:cubicBezTo>
                <a:close/>
                <a:moveTo>
                  <a:pt x="325" y="903"/>
                </a:moveTo>
                <a:cubicBezTo>
                  <a:pt x="338" y="898"/>
                  <a:pt x="344" y="883"/>
                  <a:pt x="339" y="870"/>
                </a:cubicBezTo>
                <a:cubicBezTo>
                  <a:pt x="333" y="857"/>
                  <a:pt x="318" y="850"/>
                  <a:pt x="305" y="856"/>
                </a:cubicBezTo>
                <a:cubicBezTo>
                  <a:pt x="292" y="861"/>
                  <a:pt x="286" y="876"/>
                  <a:pt x="291" y="889"/>
                </a:cubicBezTo>
                <a:cubicBezTo>
                  <a:pt x="297" y="902"/>
                  <a:pt x="312" y="908"/>
                  <a:pt x="325" y="903"/>
                </a:cubicBezTo>
                <a:close/>
                <a:moveTo>
                  <a:pt x="209" y="1153"/>
                </a:moveTo>
                <a:cubicBezTo>
                  <a:pt x="191" y="1171"/>
                  <a:pt x="191" y="1201"/>
                  <a:pt x="209" y="1219"/>
                </a:cubicBezTo>
                <a:cubicBezTo>
                  <a:pt x="228" y="1237"/>
                  <a:pt x="257" y="1237"/>
                  <a:pt x="275" y="1219"/>
                </a:cubicBezTo>
                <a:cubicBezTo>
                  <a:pt x="294" y="1201"/>
                  <a:pt x="294" y="1171"/>
                  <a:pt x="275" y="1153"/>
                </a:cubicBezTo>
                <a:cubicBezTo>
                  <a:pt x="257" y="1135"/>
                  <a:pt x="228" y="1135"/>
                  <a:pt x="209" y="1153"/>
                </a:cubicBezTo>
                <a:close/>
                <a:moveTo>
                  <a:pt x="310" y="1072"/>
                </a:moveTo>
                <a:cubicBezTo>
                  <a:pt x="297" y="1085"/>
                  <a:pt x="297" y="1106"/>
                  <a:pt x="310" y="1119"/>
                </a:cubicBezTo>
                <a:cubicBezTo>
                  <a:pt x="323" y="1132"/>
                  <a:pt x="344" y="1132"/>
                  <a:pt x="357" y="1119"/>
                </a:cubicBezTo>
                <a:cubicBezTo>
                  <a:pt x="370" y="1106"/>
                  <a:pt x="370" y="1085"/>
                  <a:pt x="357" y="1072"/>
                </a:cubicBezTo>
                <a:cubicBezTo>
                  <a:pt x="344" y="1059"/>
                  <a:pt x="323" y="1059"/>
                  <a:pt x="310" y="1072"/>
                </a:cubicBezTo>
                <a:close/>
                <a:moveTo>
                  <a:pt x="427" y="1002"/>
                </a:moveTo>
                <a:cubicBezTo>
                  <a:pt x="417" y="992"/>
                  <a:pt x="401" y="992"/>
                  <a:pt x="391" y="1002"/>
                </a:cubicBezTo>
                <a:cubicBezTo>
                  <a:pt x="381" y="1012"/>
                  <a:pt x="381" y="1028"/>
                  <a:pt x="391" y="1038"/>
                </a:cubicBezTo>
                <a:cubicBezTo>
                  <a:pt x="401" y="1048"/>
                  <a:pt x="417" y="1048"/>
                  <a:pt x="427" y="1038"/>
                </a:cubicBezTo>
                <a:cubicBezTo>
                  <a:pt x="437" y="1028"/>
                  <a:pt x="437" y="1012"/>
                  <a:pt x="427" y="1002"/>
                </a:cubicBezTo>
                <a:close/>
                <a:moveTo>
                  <a:pt x="952" y="141"/>
                </a:moveTo>
                <a:cubicBezTo>
                  <a:pt x="976" y="150"/>
                  <a:pt x="1003" y="139"/>
                  <a:pt x="1013" y="115"/>
                </a:cubicBezTo>
                <a:cubicBezTo>
                  <a:pt x="1023" y="91"/>
                  <a:pt x="1012" y="64"/>
                  <a:pt x="988" y="54"/>
                </a:cubicBezTo>
                <a:cubicBezTo>
                  <a:pt x="964" y="44"/>
                  <a:pt x="936" y="56"/>
                  <a:pt x="927" y="79"/>
                </a:cubicBezTo>
                <a:cubicBezTo>
                  <a:pt x="917" y="103"/>
                  <a:pt x="928" y="131"/>
                  <a:pt x="952" y="141"/>
                </a:cubicBezTo>
                <a:close/>
                <a:moveTo>
                  <a:pt x="908" y="247"/>
                </a:moveTo>
                <a:cubicBezTo>
                  <a:pt x="925" y="254"/>
                  <a:pt x="944" y="246"/>
                  <a:pt x="951" y="229"/>
                </a:cubicBezTo>
                <a:cubicBezTo>
                  <a:pt x="958" y="212"/>
                  <a:pt x="950" y="192"/>
                  <a:pt x="933" y="185"/>
                </a:cubicBezTo>
                <a:cubicBezTo>
                  <a:pt x="916" y="178"/>
                  <a:pt x="897" y="186"/>
                  <a:pt x="890" y="203"/>
                </a:cubicBezTo>
                <a:cubicBezTo>
                  <a:pt x="883" y="220"/>
                  <a:pt x="891" y="240"/>
                  <a:pt x="908" y="247"/>
                </a:cubicBezTo>
                <a:close/>
                <a:moveTo>
                  <a:pt x="870" y="338"/>
                </a:moveTo>
                <a:cubicBezTo>
                  <a:pt x="883" y="344"/>
                  <a:pt x="898" y="337"/>
                  <a:pt x="903" y="324"/>
                </a:cubicBezTo>
                <a:cubicBezTo>
                  <a:pt x="909" y="311"/>
                  <a:pt x="903" y="296"/>
                  <a:pt x="890" y="291"/>
                </a:cubicBezTo>
                <a:cubicBezTo>
                  <a:pt x="876" y="286"/>
                  <a:pt x="862" y="292"/>
                  <a:pt x="856" y="305"/>
                </a:cubicBezTo>
                <a:cubicBezTo>
                  <a:pt x="851" y="318"/>
                  <a:pt x="857" y="333"/>
                  <a:pt x="870" y="338"/>
                </a:cubicBezTo>
                <a:close/>
                <a:moveTo>
                  <a:pt x="477" y="1287"/>
                </a:moveTo>
                <a:cubicBezTo>
                  <a:pt x="453" y="1278"/>
                  <a:pt x="426" y="1289"/>
                  <a:pt x="416" y="1313"/>
                </a:cubicBezTo>
                <a:cubicBezTo>
                  <a:pt x="406" y="1337"/>
                  <a:pt x="417" y="1364"/>
                  <a:pt x="441" y="1374"/>
                </a:cubicBezTo>
                <a:cubicBezTo>
                  <a:pt x="465" y="1384"/>
                  <a:pt x="492" y="1372"/>
                  <a:pt x="502" y="1349"/>
                </a:cubicBezTo>
                <a:cubicBezTo>
                  <a:pt x="512" y="1325"/>
                  <a:pt x="501" y="1297"/>
                  <a:pt x="477" y="1287"/>
                </a:cubicBezTo>
                <a:close/>
                <a:moveTo>
                  <a:pt x="521" y="1181"/>
                </a:moveTo>
                <a:cubicBezTo>
                  <a:pt x="504" y="1174"/>
                  <a:pt x="484" y="1182"/>
                  <a:pt x="477" y="1199"/>
                </a:cubicBezTo>
                <a:cubicBezTo>
                  <a:pt x="470" y="1216"/>
                  <a:pt x="478" y="1236"/>
                  <a:pt x="495" y="1243"/>
                </a:cubicBezTo>
                <a:cubicBezTo>
                  <a:pt x="512" y="1250"/>
                  <a:pt x="532" y="1242"/>
                  <a:pt x="539" y="1225"/>
                </a:cubicBezTo>
                <a:cubicBezTo>
                  <a:pt x="546" y="1208"/>
                  <a:pt x="538" y="1188"/>
                  <a:pt x="521" y="1181"/>
                </a:cubicBezTo>
                <a:close/>
                <a:moveTo>
                  <a:pt x="559" y="1090"/>
                </a:moveTo>
                <a:cubicBezTo>
                  <a:pt x="546" y="1084"/>
                  <a:pt x="531" y="1090"/>
                  <a:pt x="525" y="1104"/>
                </a:cubicBezTo>
                <a:cubicBezTo>
                  <a:pt x="520" y="1117"/>
                  <a:pt x="526" y="1132"/>
                  <a:pt x="539" y="1137"/>
                </a:cubicBezTo>
                <a:cubicBezTo>
                  <a:pt x="552" y="1142"/>
                  <a:pt x="567" y="1136"/>
                  <a:pt x="573" y="1123"/>
                </a:cubicBezTo>
                <a:cubicBezTo>
                  <a:pt x="578" y="1110"/>
                  <a:pt x="572" y="1095"/>
                  <a:pt x="559" y="109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7" name="Picture 5" descr="White Logotype"/>
          <p:cNvPicPr>
            <a:picLocks noChangeAspect="1" noChangeArrowheads="1"/>
          </p:cNvPicPr>
          <p:nvPr/>
        </p:nvPicPr>
        <p:blipFill>
          <a:blip r:embed="rId5"/>
          <a:srcRect/>
          <a:stretch>
            <a:fillRect/>
          </a:stretch>
        </p:blipFill>
        <p:spPr bwMode="auto">
          <a:xfrm>
            <a:off x="7721600" y="431800"/>
            <a:ext cx="1047750" cy="919163"/>
          </a:xfrm>
          <a:prstGeom prst="rect">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Tree>
    <p:custDataLst>
      <p:tags r:id="rId1"/>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a:t>Cloud Readiness</a:t>
            </a:r>
          </a:p>
          <a:p>
            <a:pPr lvl="1"/>
            <a:r>
              <a:rPr lang="en-US" dirty="0">
                <a:ea typeface="Geneva"/>
                <a:cs typeface="Geneva"/>
              </a:rPr>
              <a:t>Virtualization Ready </a:t>
            </a:r>
          </a:p>
          <a:p>
            <a:pPr lvl="1"/>
            <a:r>
              <a:rPr lang="en-US" dirty="0">
                <a:ea typeface="Geneva"/>
                <a:cs typeface="Geneva"/>
              </a:rPr>
              <a:t>Cloud Ready </a:t>
            </a:r>
          </a:p>
          <a:p>
            <a:pPr lvl="1"/>
            <a:r>
              <a:rPr lang="en-US" dirty="0">
                <a:ea typeface="Geneva"/>
                <a:cs typeface="Geneva"/>
              </a:rPr>
              <a:t>Cloud Technology</a:t>
            </a:r>
          </a:p>
          <a:p>
            <a:pPr lvl="1"/>
            <a:r>
              <a:rPr lang="en-US" dirty="0">
                <a:ea typeface="Geneva"/>
                <a:cs typeface="Geneva"/>
              </a:rPr>
              <a:t>Multi-Tenant</a:t>
            </a:r>
          </a:p>
          <a:p>
            <a:pPr lvl="1"/>
            <a:endParaRPr lang="en-US" dirty="0">
              <a:ea typeface="Geneva"/>
              <a:cs typeface="Geneva"/>
            </a:endParaRPr>
          </a:p>
          <a:p>
            <a:r>
              <a:rPr lang="en-US" dirty="0"/>
              <a:t>Commercial Models </a:t>
            </a:r>
          </a:p>
          <a:p>
            <a:pPr lvl="1"/>
            <a:r>
              <a:rPr lang="en-US" dirty="0"/>
              <a:t>Shrink wrapped solutions</a:t>
            </a:r>
          </a:p>
          <a:p>
            <a:pPr lvl="1"/>
            <a:r>
              <a:rPr lang="en-US" dirty="0"/>
              <a:t>Onboarding</a:t>
            </a:r>
          </a:p>
          <a:p>
            <a:pPr lvl="1"/>
            <a:r>
              <a:rPr lang="en-US" dirty="0"/>
              <a:t>Pay-as-you-go </a:t>
            </a:r>
            <a:r>
              <a:rPr lang="en-US" dirty="0" smtClean="0"/>
              <a:t>models</a:t>
            </a:r>
            <a:endParaRPr lang="en-US" dirty="0"/>
          </a:p>
        </p:txBody>
      </p:sp>
      <p:sp>
        <p:nvSpPr>
          <p:cNvPr id="10244" name="Title 2"/>
          <p:cNvSpPr>
            <a:spLocks noGrp="1"/>
          </p:cNvSpPr>
          <p:nvPr>
            <p:ph type="title"/>
          </p:nvPr>
        </p:nvSpPr>
        <p:spPr/>
        <p:txBody>
          <a:bodyPr/>
          <a:lstStyle/>
          <a:p>
            <a:r>
              <a:rPr lang="en-US" dirty="0" smtClean="0">
                <a:latin typeface="Ericsson Capital TT" pitchFamily="2" charset="0"/>
              </a:rPr>
              <a:t>Software-as-a-Service</a:t>
            </a:r>
          </a:p>
        </p:txBody>
      </p:sp>
      <p:grpSp>
        <p:nvGrpSpPr>
          <p:cNvPr id="2" name="Group 1"/>
          <p:cNvGrpSpPr/>
          <p:nvPr/>
        </p:nvGrpSpPr>
        <p:grpSpPr>
          <a:xfrm>
            <a:off x="4734844" y="2027390"/>
            <a:ext cx="3291840" cy="3291840"/>
            <a:chOff x="2897982" y="1795463"/>
            <a:chExt cx="3189685" cy="4252912"/>
          </a:xfrm>
        </p:grpSpPr>
        <p:grpSp>
          <p:nvGrpSpPr>
            <p:cNvPr id="10245" name="Group 3"/>
            <p:cNvGrpSpPr>
              <a:grpSpLocks noChangeAspect="1"/>
            </p:cNvGrpSpPr>
            <p:nvPr/>
          </p:nvGrpSpPr>
          <p:grpSpPr bwMode="auto">
            <a:xfrm>
              <a:off x="2897982" y="1795463"/>
              <a:ext cx="3189685" cy="4252912"/>
              <a:chOff x="1496" y="884"/>
              <a:chExt cx="2679" cy="2679"/>
            </a:xfrm>
          </p:grpSpPr>
          <p:sp>
            <p:nvSpPr>
              <p:cNvPr id="10248" name="Freeform 4"/>
              <p:cNvSpPr>
                <a:spLocks noChangeAspect="1"/>
              </p:cNvSpPr>
              <p:nvPr/>
            </p:nvSpPr>
            <p:spPr bwMode="auto">
              <a:xfrm>
                <a:off x="2533" y="886"/>
                <a:ext cx="1642" cy="2677"/>
              </a:xfrm>
              <a:custGeom>
                <a:avLst/>
                <a:gdLst>
                  <a:gd name="T0" fmla="*/ 26799 w 695"/>
                  <a:gd name="T1" fmla="*/ 0 h 1133"/>
                  <a:gd name="T2" fmla="*/ 34959 w 695"/>
                  <a:gd name="T3" fmla="*/ 8915 h 1133"/>
                  <a:gd name="T4" fmla="*/ 49544 w 695"/>
                  <a:gd name="T5" fmla="*/ 48028 h 1133"/>
                  <a:gd name="T6" fmla="*/ 23990 w 695"/>
                  <a:gd name="T7" fmla="*/ 100235 h 1133"/>
                  <a:gd name="T8" fmla="*/ 0 w 695"/>
                  <a:gd name="T9" fmla="*/ 148750 h 1133"/>
                  <a:gd name="T10" fmla="*/ 12649 w 695"/>
                  <a:gd name="T11" fmla="*/ 183714 h 1133"/>
                  <a:gd name="T12" fmla="*/ 25017 w 695"/>
                  <a:gd name="T13" fmla="*/ 197115 h 1133"/>
                  <a:gd name="T14" fmla="*/ 120851 w 695"/>
                  <a:gd name="T15" fmla="*/ 98456 h 1133"/>
                  <a:gd name="T16" fmla="*/ 26799 w 695"/>
                  <a:gd name="T17" fmla="*/ 0 h 11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5"/>
                  <a:gd name="T28" fmla="*/ 0 h 1133"/>
                  <a:gd name="T29" fmla="*/ 695 w 695"/>
                  <a:gd name="T30" fmla="*/ 1133 h 11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5" h="1133">
                    <a:moveTo>
                      <a:pt x="154" y="0"/>
                    </a:moveTo>
                    <a:cubicBezTo>
                      <a:pt x="168" y="13"/>
                      <a:pt x="184" y="30"/>
                      <a:pt x="201" y="51"/>
                    </a:cubicBezTo>
                    <a:cubicBezTo>
                      <a:pt x="243" y="104"/>
                      <a:pt x="285" y="181"/>
                      <a:pt x="285" y="276"/>
                    </a:cubicBezTo>
                    <a:cubicBezTo>
                      <a:pt x="286" y="365"/>
                      <a:pt x="247" y="467"/>
                      <a:pt x="138" y="576"/>
                    </a:cubicBezTo>
                    <a:cubicBezTo>
                      <a:pt x="34" y="680"/>
                      <a:pt x="0" y="775"/>
                      <a:pt x="0" y="855"/>
                    </a:cubicBezTo>
                    <a:cubicBezTo>
                      <a:pt x="0" y="937"/>
                      <a:pt x="35" y="1006"/>
                      <a:pt x="73" y="1056"/>
                    </a:cubicBezTo>
                    <a:cubicBezTo>
                      <a:pt x="99" y="1092"/>
                      <a:pt x="127" y="1118"/>
                      <a:pt x="144" y="1133"/>
                    </a:cubicBezTo>
                    <a:cubicBezTo>
                      <a:pt x="450" y="1124"/>
                      <a:pt x="695" y="874"/>
                      <a:pt x="695" y="566"/>
                    </a:cubicBezTo>
                    <a:cubicBezTo>
                      <a:pt x="695" y="261"/>
                      <a:pt x="455" y="13"/>
                      <a:pt x="154" y="0"/>
                    </a:cubicBezTo>
                    <a:close/>
                  </a:path>
                </a:pathLst>
              </a:custGeom>
              <a:solidFill>
                <a:srgbClr val="5FBAD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0249" name="Freeform 5"/>
              <p:cNvSpPr>
                <a:spLocks noChangeAspect="1"/>
              </p:cNvSpPr>
              <p:nvPr/>
            </p:nvSpPr>
            <p:spPr bwMode="auto">
              <a:xfrm>
                <a:off x="1496" y="884"/>
                <a:ext cx="1645" cy="2679"/>
              </a:xfrm>
              <a:custGeom>
                <a:avLst/>
                <a:gdLst>
                  <a:gd name="T0" fmla="*/ 86653 w 696"/>
                  <a:gd name="T1" fmla="*/ 188451 h 1134"/>
                  <a:gd name="T2" fmla="*/ 71614 w 696"/>
                  <a:gd name="T3" fmla="*/ 148791 h 1134"/>
                  <a:gd name="T4" fmla="*/ 97055 w 696"/>
                  <a:gd name="T5" fmla="*/ 96843 h 1134"/>
                  <a:gd name="T6" fmla="*/ 121321 w 696"/>
                  <a:gd name="T7" fmla="*/ 48125 h 1134"/>
                  <a:gd name="T8" fmla="*/ 108936 w 696"/>
                  <a:gd name="T9" fmla="*/ 13764 h 1134"/>
                  <a:gd name="T10" fmla="*/ 95892 w 696"/>
                  <a:gd name="T11" fmla="*/ 0 h 1134"/>
                  <a:gd name="T12" fmla="*/ 0 w 696"/>
                  <a:gd name="T13" fmla="*/ 98613 h 1134"/>
                  <a:gd name="T14" fmla="*/ 94495 w 696"/>
                  <a:gd name="T15" fmla="*/ 197140 h 1134"/>
                  <a:gd name="T16" fmla="*/ 86653 w 696"/>
                  <a:gd name="T17" fmla="*/ 188451 h 1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6"/>
                  <a:gd name="T28" fmla="*/ 0 h 1134"/>
                  <a:gd name="T29" fmla="*/ 696 w 696"/>
                  <a:gd name="T30" fmla="*/ 1134 h 1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6" h="1134">
                    <a:moveTo>
                      <a:pt x="497" y="1084"/>
                    </a:moveTo>
                    <a:cubicBezTo>
                      <a:pt x="454" y="1030"/>
                      <a:pt x="411" y="952"/>
                      <a:pt x="411" y="856"/>
                    </a:cubicBezTo>
                    <a:cubicBezTo>
                      <a:pt x="411" y="767"/>
                      <a:pt x="449" y="665"/>
                      <a:pt x="557" y="557"/>
                    </a:cubicBezTo>
                    <a:cubicBezTo>
                      <a:pt x="662" y="452"/>
                      <a:pt x="696" y="357"/>
                      <a:pt x="696" y="277"/>
                    </a:cubicBezTo>
                    <a:cubicBezTo>
                      <a:pt x="696" y="196"/>
                      <a:pt x="662" y="129"/>
                      <a:pt x="625" y="79"/>
                    </a:cubicBezTo>
                    <a:cubicBezTo>
                      <a:pt x="596" y="41"/>
                      <a:pt x="566" y="13"/>
                      <a:pt x="550" y="0"/>
                    </a:cubicBezTo>
                    <a:cubicBezTo>
                      <a:pt x="245" y="9"/>
                      <a:pt x="0" y="259"/>
                      <a:pt x="0" y="567"/>
                    </a:cubicBezTo>
                    <a:cubicBezTo>
                      <a:pt x="0" y="872"/>
                      <a:pt x="240" y="1120"/>
                      <a:pt x="542" y="1134"/>
                    </a:cubicBezTo>
                    <a:cubicBezTo>
                      <a:pt x="528" y="1120"/>
                      <a:pt x="513" y="1104"/>
                      <a:pt x="497" y="1084"/>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grpSp>
        <p:sp>
          <p:nvSpPr>
            <p:cNvPr id="10246" name="TextBox 13"/>
            <p:cNvSpPr txBox="1">
              <a:spLocks noChangeArrowheads="1"/>
            </p:cNvSpPr>
            <p:nvPr/>
          </p:nvSpPr>
          <p:spPr bwMode="auto">
            <a:xfrm>
              <a:off x="3183731" y="2990850"/>
              <a:ext cx="1385888" cy="57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r>
                <a:rPr lang="en-US" sz="2400">
                  <a:solidFill>
                    <a:schemeClr val="bg1"/>
                  </a:solidFill>
                </a:rPr>
                <a:t>Platform</a:t>
              </a:r>
            </a:p>
          </p:txBody>
        </p:sp>
        <p:sp>
          <p:nvSpPr>
            <p:cNvPr id="10247" name="TextBox 16"/>
            <p:cNvSpPr txBox="1">
              <a:spLocks noChangeArrowheads="1"/>
            </p:cNvSpPr>
            <p:nvPr/>
          </p:nvSpPr>
          <p:spPr bwMode="auto">
            <a:xfrm>
              <a:off x="4492228" y="4094164"/>
              <a:ext cx="1385888" cy="596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r>
                <a:rPr lang="en-US" sz="2400" dirty="0">
                  <a:solidFill>
                    <a:schemeClr val="bg1"/>
                  </a:solidFill>
                </a:rPr>
                <a:t>Product</a:t>
              </a:r>
            </a:p>
          </p:txBody>
        </p:sp>
      </p:grpSp>
    </p:spTree>
    <p:extLst>
      <p:ext uri="{BB962C8B-B14F-4D97-AF65-F5344CB8AC3E}">
        <p14:creationId xmlns:p14="http://schemas.microsoft.com/office/powerpoint/2010/main" val="409953905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2"/>
          <p:cNvSpPr>
            <a:spLocks noGrp="1"/>
          </p:cNvSpPr>
          <p:nvPr>
            <p:ph type="title"/>
          </p:nvPr>
        </p:nvSpPr>
        <p:spPr/>
        <p:txBody>
          <a:bodyPr/>
          <a:lstStyle/>
          <a:p>
            <a:r>
              <a:rPr lang="en-US" dirty="0" smtClean="0">
                <a:latin typeface="Ericsson Capital TT" pitchFamily="2" charset="0"/>
              </a:rPr>
              <a:t>Lead-to-Service Suite</a:t>
            </a:r>
          </a:p>
        </p:txBody>
      </p:sp>
      <p:pic>
        <p:nvPicPr>
          <p:cNvPr id="389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24" y="1962555"/>
            <a:ext cx="8784952" cy="4123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462542" y="1304865"/>
            <a:ext cx="6784422" cy="400110"/>
          </a:xfrm>
          <a:prstGeom prst="rect">
            <a:avLst/>
          </a:prstGeom>
          <a:noFill/>
        </p:spPr>
        <p:txBody>
          <a:bodyPr wrap="none" rtlCol="0">
            <a:spAutoFit/>
          </a:bodyPr>
          <a:lstStyle/>
          <a:p>
            <a:pPr algn="l"/>
            <a:r>
              <a:rPr lang="en-US" dirty="0" smtClean="0"/>
              <a:t>More commonality, more pre-integrations, more use cases</a:t>
            </a:r>
            <a:endParaRPr lang="en-US" dirty="0"/>
          </a:p>
        </p:txBody>
      </p:sp>
    </p:spTree>
    <p:extLst>
      <p:ext uri="{BB962C8B-B14F-4D97-AF65-F5344CB8AC3E}">
        <p14:creationId xmlns:p14="http://schemas.microsoft.com/office/powerpoint/2010/main" val="406179719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2"/>
          <p:cNvSpPr>
            <a:spLocks noGrp="1"/>
          </p:cNvSpPr>
          <p:nvPr>
            <p:ph type="title"/>
          </p:nvPr>
        </p:nvSpPr>
        <p:spPr>
          <a:xfrm>
            <a:off x="394097" y="239713"/>
            <a:ext cx="8405813" cy="1085850"/>
          </a:xfrm>
        </p:spPr>
        <p:txBody>
          <a:bodyPr/>
          <a:lstStyle/>
          <a:p>
            <a:r>
              <a:rPr lang="en-US" sz="4000" dirty="0" smtClean="0">
                <a:latin typeface="Ericsson Capital TT" pitchFamily="2" charset="0"/>
                <a:cs typeface="Geneva"/>
              </a:rPr>
              <a:t>Common Characteristics</a:t>
            </a:r>
          </a:p>
        </p:txBody>
      </p:sp>
      <p:sp>
        <p:nvSpPr>
          <p:cNvPr id="18436" name="Rectangle 7"/>
          <p:cNvSpPr>
            <a:spLocks noChangeArrowheads="1"/>
          </p:cNvSpPr>
          <p:nvPr/>
        </p:nvSpPr>
        <p:spPr bwMode="auto">
          <a:xfrm>
            <a:off x="389334" y="1050926"/>
            <a:ext cx="818554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l"/>
            <a:r>
              <a:rPr lang="en-US" sz="2400" dirty="0">
                <a:solidFill>
                  <a:srgbClr val="58585A"/>
                </a:solidFill>
                <a:cs typeface="Arial" pitchFamily="34" charset="0"/>
              </a:rPr>
              <a:t>Consolidate and align OSS/BSS fundamentals to foster innovation and growth</a:t>
            </a:r>
          </a:p>
        </p:txBody>
      </p:sp>
      <p:grpSp>
        <p:nvGrpSpPr>
          <p:cNvPr id="35" name="Group 8"/>
          <p:cNvGrpSpPr>
            <a:grpSpLocks/>
          </p:cNvGrpSpPr>
          <p:nvPr/>
        </p:nvGrpSpPr>
        <p:grpSpPr bwMode="auto">
          <a:xfrm>
            <a:off x="264886" y="1922463"/>
            <a:ext cx="8676456" cy="4505325"/>
            <a:chOff x="601113" y="1593850"/>
            <a:chExt cx="9175498" cy="4764088"/>
          </a:xfrm>
        </p:grpSpPr>
        <p:grpSp>
          <p:nvGrpSpPr>
            <p:cNvPr id="36" name="Group 5"/>
            <p:cNvGrpSpPr>
              <a:grpSpLocks/>
            </p:cNvGrpSpPr>
            <p:nvPr/>
          </p:nvGrpSpPr>
          <p:grpSpPr bwMode="auto">
            <a:xfrm>
              <a:off x="601113" y="5278548"/>
              <a:ext cx="9175498" cy="1079390"/>
              <a:chOff x="601113" y="5278548"/>
              <a:chExt cx="9175498" cy="1079390"/>
            </a:xfrm>
          </p:grpSpPr>
          <p:sp>
            <p:nvSpPr>
              <p:cNvPr id="65" name="Rounded Rectangle 64"/>
              <p:cNvSpPr/>
              <p:nvPr/>
            </p:nvSpPr>
            <p:spPr bwMode="auto">
              <a:xfrm>
                <a:off x="3594429" y="5295335"/>
                <a:ext cx="6182182" cy="1045816"/>
              </a:xfrm>
              <a:prstGeom prst="roundRect">
                <a:avLst>
                  <a:gd name="adj" fmla="val 10368"/>
                </a:avLst>
              </a:prstGeom>
              <a:solidFill>
                <a:srgbClr val="F5A241"/>
              </a:solidFill>
              <a:ln w="9525" cap="flat" cmpd="sng" algn="ctr">
                <a:noFill/>
                <a:prstDash val="solid"/>
                <a:round/>
                <a:headEnd type="none" w="med" len="med"/>
                <a:tailEnd type="none" w="med" len="med"/>
              </a:ln>
              <a:effectLst/>
            </p:spPr>
            <p:txBody>
              <a:bodyPr lIns="91407" tIns="45705" rIns="91407" bIns="45705" anchor="ctr"/>
              <a:lstStyle/>
              <a:p>
                <a:pPr algn="ctr" defTabSz="914939">
                  <a:spcBef>
                    <a:spcPct val="50000"/>
                  </a:spcBef>
                  <a:defRPr/>
                </a:pPr>
                <a:endParaRPr lang="en-US" sz="2400" kern="0" cap="all" dirty="0">
                  <a:solidFill>
                    <a:srgbClr val="00285F"/>
                  </a:solidFill>
                  <a:latin typeface="Arial"/>
                  <a:cs typeface="Times New Roman" pitchFamily="18" charset="0"/>
                </a:endParaRPr>
              </a:p>
            </p:txBody>
          </p:sp>
          <p:sp>
            <p:nvSpPr>
              <p:cNvPr id="66" name="Rectangle 65"/>
              <p:cNvSpPr/>
              <p:nvPr/>
            </p:nvSpPr>
            <p:spPr bwMode="auto">
              <a:xfrm>
                <a:off x="4030918" y="5295335"/>
                <a:ext cx="4590100" cy="1045816"/>
              </a:xfrm>
              <a:prstGeom prst="rect">
                <a:avLst/>
              </a:prstGeom>
              <a:solidFill>
                <a:srgbClr val="F5A241"/>
              </a:solidFill>
              <a:ln w="9525" cap="flat" cmpd="sng" algn="ctr">
                <a:noFill/>
                <a:prstDash val="solid"/>
                <a:round/>
                <a:headEnd type="none" w="med" len="med"/>
                <a:tailEnd type="none" w="med" len="med"/>
              </a:ln>
              <a:effectLst/>
            </p:spPr>
            <p:txBody>
              <a:bodyPr lIns="91407" tIns="45705" rIns="91407" bIns="45705" anchor="ctr"/>
              <a:lstStyle/>
              <a:p>
                <a:pPr algn="ctr" defTabSz="914939">
                  <a:spcBef>
                    <a:spcPct val="50000"/>
                  </a:spcBef>
                  <a:defRPr/>
                </a:pPr>
                <a:endParaRPr lang="en-US" sz="2400" kern="0" cap="all" dirty="0">
                  <a:solidFill>
                    <a:srgbClr val="00285F"/>
                  </a:solidFill>
                  <a:latin typeface="Arial"/>
                  <a:cs typeface="Times New Roman" pitchFamily="18" charset="0"/>
                </a:endParaRPr>
              </a:p>
            </p:txBody>
          </p:sp>
          <p:sp>
            <p:nvSpPr>
              <p:cNvPr id="67" name="Oval 16"/>
              <p:cNvSpPr>
                <a:spLocks noChangeArrowheads="1"/>
              </p:cNvSpPr>
              <p:nvPr/>
            </p:nvSpPr>
            <p:spPr bwMode="auto">
              <a:xfrm>
                <a:off x="4005735" y="5278548"/>
                <a:ext cx="5621308" cy="1079390"/>
              </a:xfrm>
              <a:prstGeom prst="roundRect">
                <a:avLst>
                  <a:gd name="adj" fmla="val 8241"/>
                </a:avLst>
              </a:prstGeom>
              <a:noFill/>
              <a:ln w="25400" cap="flat" cmpd="sng" algn="ctr">
                <a:noFill/>
                <a:prstDash val="solid"/>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chemeClr val="accent2"/>
                    </a:solidFill>
                    <a:prstDash val="solid"/>
                    <a:headEnd/>
                    <a:tailEnd/>
                  </a14:hiddenLine>
                </a:ext>
              </a:extLst>
            </p:spPr>
            <p:style>
              <a:lnRef idx="2">
                <a:schemeClr val="accent2"/>
              </a:lnRef>
              <a:fillRef idx="1">
                <a:schemeClr val="lt1"/>
              </a:fillRef>
              <a:effectRef idx="0">
                <a:schemeClr val="accent2"/>
              </a:effectRef>
              <a:fontRef idx="minor">
                <a:schemeClr val="dk1"/>
              </a:fontRef>
            </p:style>
            <p:txBody>
              <a:bodyPr lIns="71974" tIns="45705" rIns="71974" bIns="45705" anchor="ctr"/>
              <a:lstStyle/>
              <a:p>
                <a:pPr marL="285750" indent="-285750" algn="l">
                  <a:spcAft>
                    <a:spcPts val="300"/>
                  </a:spcAft>
                  <a:buClr>
                    <a:srgbClr val="FFFFFF"/>
                  </a:buClr>
                  <a:buFont typeface="Arial" panose="020B0604020202020204" pitchFamily="34" charset="0"/>
                  <a:buChar char="›"/>
                  <a:defRPr/>
                </a:pPr>
                <a:r>
                  <a:rPr lang="en-US" sz="1800" dirty="0">
                    <a:solidFill>
                      <a:srgbClr val="FFFFFF"/>
                    </a:solidFill>
                    <a:ea typeface="MS PGothic" pitchFamily="34" charset="-128"/>
                  </a:rPr>
                  <a:t>Provide a simplified licensing model that synchronizes commercial offerings, release management and licensing structures.</a:t>
                </a:r>
              </a:p>
            </p:txBody>
          </p:sp>
          <p:sp>
            <p:nvSpPr>
              <p:cNvPr id="68" name="Freeform 19"/>
              <p:cNvSpPr>
                <a:spLocks noChangeAspect="1"/>
              </p:cNvSpPr>
              <p:nvPr/>
            </p:nvSpPr>
            <p:spPr bwMode="auto">
              <a:xfrm>
                <a:off x="601113" y="5297014"/>
                <a:ext cx="3204845" cy="1042458"/>
              </a:xfrm>
              <a:custGeom>
                <a:avLst/>
                <a:gdLst>
                  <a:gd name="T0" fmla="*/ 2147483647 w 652"/>
                  <a:gd name="T1" fmla="*/ 2147483647 h 212"/>
                  <a:gd name="T2" fmla="*/ 2147483647 w 652"/>
                  <a:gd name="T3" fmla="*/ 2147483647 h 212"/>
                  <a:gd name="T4" fmla="*/ 2147483647 w 652"/>
                  <a:gd name="T5" fmla="*/ 2147483647 h 212"/>
                  <a:gd name="T6" fmla="*/ 2147483647 w 652"/>
                  <a:gd name="T7" fmla="*/ 2147483647 h 212"/>
                  <a:gd name="T8" fmla="*/ 2147483647 w 652"/>
                  <a:gd name="T9" fmla="*/ 2147483647 h 212"/>
                  <a:gd name="T10" fmla="*/ 2147483647 w 652"/>
                  <a:gd name="T11" fmla="*/ 2147483647 h 212"/>
                  <a:gd name="T12" fmla="*/ 0 w 652"/>
                  <a:gd name="T13" fmla="*/ 2147483647 h 212"/>
                  <a:gd name="T14" fmla="*/ 0 w 652"/>
                  <a:gd name="T15" fmla="*/ 2147483647 h 212"/>
                  <a:gd name="T16" fmla="*/ 2147483647 w 652"/>
                  <a:gd name="T17" fmla="*/ 0 h 212"/>
                  <a:gd name="T18" fmla="*/ 2147483647 w 652"/>
                  <a:gd name="T19" fmla="*/ 0 h 212"/>
                  <a:gd name="T20" fmla="*/ 2147483647 w 652"/>
                  <a:gd name="T21" fmla="*/ 2147483647 h 2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2"/>
                  <a:gd name="T34" fmla="*/ 0 h 212"/>
                  <a:gd name="T35" fmla="*/ 652 w 652"/>
                  <a:gd name="T36" fmla="*/ 212 h 2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2" h="212">
                    <a:moveTo>
                      <a:pt x="556" y="11"/>
                    </a:moveTo>
                    <a:cubicBezTo>
                      <a:pt x="641" y="95"/>
                      <a:pt x="641" y="95"/>
                      <a:pt x="641" y="95"/>
                    </a:cubicBezTo>
                    <a:cubicBezTo>
                      <a:pt x="641" y="95"/>
                      <a:pt x="652" y="105"/>
                      <a:pt x="641" y="117"/>
                    </a:cubicBezTo>
                    <a:cubicBezTo>
                      <a:pt x="629" y="129"/>
                      <a:pt x="556" y="202"/>
                      <a:pt x="556" y="202"/>
                    </a:cubicBezTo>
                    <a:cubicBezTo>
                      <a:pt x="556" y="202"/>
                      <a:pt x="545" y="212"/>
                      <a:pt x="529" y="212"/>
                    </a:cubicBezTo>
                    <a:cubicBezTo>
                      <a:pt x="526" y="212"/>
                      <a:pt x="21" y="212"/>
                      <a:pt x="21" y="212"/>
                    </a:cubicBezTo>
                    <a:cubicBezTo>
                      <a:pt x="9" y="212"/>
                      <a:pt x="0" y="202"/>
                      <a:pt x="0" y="191"/>
                    </a:cubicBezTo>
                    <a:cubicBezTo>
                      <a:pt x="0" y="22"/>
                      <a:pt x="0" y="22"/>
                      <a:pt x="0" y="22"/>
                    </a:cubicBezTo>
                    <a:cubicBezTo>
                      <a:pt x="0" y="10"/>
                      <a:pt x="9" y="0"/>
                      <a:pt x="21" y="0"/>
                    </a:cubicBezTo>
                    <a:cubicBezTo>
                      <a:pt x="21" y="0"/>
                      <a:pt x="525" y="0"/>
                      <a:pt x="529" y="0"/>
                    </a:cubicBezTo>
                    <a:cubicBezTo>
                      <a:pt x="546" y="0"/>
                      <a:pt x="556" y="11"/>
                      <a:pt x="556" y="11"/>
                    </a:cubicBezTo>
                    <a:close/>
                  </a:path>
                </a:pathLst>
              </a:custGeom>
              <a:solidFill>
                <a:srgbClr val="FCD2A2"/>
              </a:solidFill>
              <a:ln w="9525" cap="flat" cmpd="sng" algn="ctr">
                <a:noFill/>
                <a:prstDash val="solid"/>
                <a:round/>
                <a:headEnd type="none" w="med" len="med"/>
                <a:tailEnd type="none" w="med" len="med"/>
              </a:ln>
              <a:effectLst/>
            </p:spPr>
            <p:txBody>
              <a:bodyPr lIns="91407" tIns="45705" rIns="91407" bIns="45705" anchor="ctr"/>
              <a:lstStyle/>
              <a:p>
                <a:pPr algn="ctr" defTabSz="914939">
                  <a:spcBef>
                    <a:spcPct val="50000"/>
                  </a:spcBef>
                  <a:defRPr/>
                </a:pPr>
                <a:endParaRPr lang="en-US" sz="1800" kern="0" cap="all" dirty="0">
                  <a:solidFill>
                    <a:srgbClr val="D5E4AF"/>
                  </a:solidFill>
                  <a:latin typeface="Arial"/>
                  <a:cs typeface="Times New Roman" pitchFamily="18" charset="0"/>
                </a:endParaRPr>
              </a:p>
            </p:txBody>
          </p:sp>
          <p:sp>
            <p:nvSpPr>
              <p:cNvPr id="69" name="TextBox 25"/>
              <p:cNvSpPr txBox="1">
                <a:spLocks noChangeArrowheads="1"/>
              </p:cNvSpPr>
              <p:nvPr/>
            </p:nvSpPr>
            <p:spPr bwMode="auto">
              <a:xfrm>
                <a:off x="1362958" y="5618149"/>
                <a:ext cx="2232025" cy="400079"/>
              </a:xfrm>
              <a:prstGeom prst="rect">
                <a:avLst/>
              </a:prstGeom>
              <a:noFill/>
              <a:ln>
                <a:noFill/>
              </a:ln>
              <a:extLst>
                <a:ext uri="{909E8E84-426E-40DD-AFC4-6F175D3DCCD1}">
                  <a14:hiddenFill xmlns:a14="http://schemas.microsoft.com/office/drawing/2010/main">
                    <a:solidFill>
                      <a:srgbClr val="F08A00"/>
                    </a:solidFill>
                  </a14:hiddenFill>
                </a:ext>
                <a:ext uri="{91240B29-F687-4F45-9708-019B960494DF}">
                  <a14:hiddenLine xmlns:a14="http://schemas.microsoft.com/office/drawing/2010/main" w="9525">
                    <a:solidFill>
                      <a:srgbClr val="000000"/>
                    </a:solidFill>
                    <a:miter lim="800000"/>
                    <a:headEnd/>
                    <a:tailEnd/>
                  </a14:hiddenLine>
                </a:ext>
              </a:extLst>
            </p:spPr>
            <p:txBody>
              <a:bodyPr lIns="91407" tIns="45705" rIns="91407" bIns="45705">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lang="en-US" b="1">
                    <a:solidFill>
                      <a:srgbClr val="F08A00"/>
                    </a:solidFill>
                    <a:cs typeface="Arial" pitchFamily="34" charset="0"/>
                  </a:rPr>
                  <a:t>Commercials</a:t>
                </a:r>
              </a:p>
            </p:txBody>
          </p:sp>
          <p:sp>
            <p:nvSpPr>
              <p:cNvPr id="70" name="Freeform 3"/>
              <p:cNvSpPr>
                <a:spLocks noEditPoints="1"/>
              </p:cNvSpPr>
              <p:nvPr/>
            </p:nvSpPr>
            <p:spPr bwMode="auto">
              <a:xfrm>
                <a:off x="748399" y="5452428"/>
                <a:ext cx="767667" cy="731520"/>
              </a:xfrm>
              <a:custGeom>
                <a:avLst/>
                <a:gdLst>
                  <a:gd name="T0" fmla="*/ 2147483647 w 460"/>
                  <a:gd name="T1" fmla="*/ 2147483647 h 419"/>
                  <a:gd name="T2" fmla="*/ 2147483647 w 460"/>
                  <a:gd name="T3" fmla="*/ 2147483647 h 419"/>
                  <a:gd name="T4" fmla="*/ 2147483647 w 460"/>
                  <a:gd name="T5" fmla="*/ 2147483647 h 419"/>
                  <a:gd name="T6" fmla="*/ 2147483647 w 460"/>
                  <a:gd name="T7" fmla="*/ 2147483647 h 419"/>
                  <a:gd name="T8" fmla="*/ 2147483647 w 460"/>
                  <a:gd name="T9" fmla="*/ 2147483647 h 419"/>
                  <a:gd name="T10" fmla="*/ 2147483647 w 460"/>
                  <a:gd name="T11" fmla="*/ 2147483647 h 419"/>
                  <a:gd name="T12" fmla="*/ 2147483647 w 460"/>
                  <a:gd name="T13" fmla="*/ 2147483647 h 419"/>
                  <a:gd name="T14" fmla="*/ 2147483647 w 460"/>
                  <a:gd name="T15" fmla="*/ 2147483647 h 419"/>
                  <a:gd name="T16" fmla="*/ 2147483647 w 460"/>
                  <a:gd name="T17" fmla="*/ 2147483647 h 419"/>
                  <a:gd name="T18" fmla="*/ 2147483647 w 460"/>
                  <a:gd name="T19" fmla="*/ 2147483647 h 419"/>
                  <a:gd name="T20" fmla="*/ 2147483647 w 460"/>
                  <a:gd name="T21" fmla="*/ 2147483647 h 419"/>
                  <a:gd name="T22" fmla="*/ 2147483647 w 460"/>
                  <a:gd name="T23" fmla="*/ 2147483647 h 419"/>
                  <a:gd name="T24" fmla="*/ 2147483647 w 460"/>
                  <a:gd name="T25" fmla="*/ 2147483647 h 419"/>
                  <a:gd name="T26" fmla="*/ 2147483647 w 460"/>
                  <a:gd name="T27" fmla="*/ 2147483647 h 419"/>
                  <a:gd name="T28" fmla="*/ 2147483647 w 460"/>
                  <a:gd name="T29" fmla="*/ 2147483647 h 419"/>
                  <a:gd name="T30" fmla="*/ 2147483647 w 460"/>
                  <a:gd name="T31" fmla="*/ 2147483647 h 419"/>
                  <a:gd name="T32" fmla="*/ 2147483647 w 460"/>
                  <a:gd name="T33" fmla="*/ 2147483647 h 419"/>
                  <a:gd name="T34" fmla="*/ 2147483647 w 460"/>
                  <a:gd name="T35" fmla="*/ 2147483647 h 419"/>
                  <a:gd name="T36" fmla="*/ 2147483647 w 460"/>
                  <a:gd name="T37" fmla="*/ 2147483647 h 419"/>
                  <a:gd name="T38" fmla="*/ 2147483647 w 460"/>
                  <a:gd name="T39" fmla="*/ 2147483647 h 419"/>
                  <a:gd name="T40" fmla="*/ 2147483647 w 460"/>
                  <a:gd name="T41" fmla="*/ 2147483647 h 419"/>
                  <a:gd name="T42" fmla="*/ 2147483647 w 460"/>
                  <a:gd name="T43" fmla="*/ 2147483647 h 419"/>
                  <a:gd name="T44" fmla="*/ 2147483647 w 460"/>
                  <a:gd name="T45" fmla="*/ 2147483647 h 419"/>
                  <a:gd name="T46" fmla="*/ 2147483647 w 460"/>
                  <a:gd name="T47" fmla="*/ 2147483647 h 419"/>
                  <a:gd name="T48" fmla="*/ 2147483647 w 460"/>
                  <a:gd name="T49" fmla="*/ 2147483647 h 419"/>
                  <a:gd name="T50" fmla="*/ 2147483647 w 460"/>
                  <a:gd name="T51" fmla="*/ 2147483647 h 419"/>
                  <a:gd name="T52" fmla="*/ 2147483647 w 460"/>
                  <a:gd name="T53" fmla="*/ 2147483647 h 419"/>
                  <a:gd name="T54" fmla="*/ 2147483647 w 460"/>
                  <a:gd name="T55" fmla="*/ 2147483647 h 419"/>
                  <a:gd name="T56" fmla="*/ 2147483647 w 460"/>
                  <a:gd name="T57" fmla="*/ 2147483647 h 419"/>
                  <a:gd name="T58" fmla="*/ 2147483647 w 460"/>
                  <a:gd name="T59" fmla="*/ 2147483647 h 419"/>
                  <a:gd name="T60" fmla="*/ 2147483647 w 460"/>
                  <a:gd name="T61" fmla="*/ 2147483647 h 419"/>
                  <a:gd name="T62" fmla="*/ 2147483647 w 460"/>
                  <a:gd name="T63" fmla="*/ 2147483647 h 419"/>
                  <a:gd name="T64" fmla="*/ 2147483647 w 460"/>
                  <a:gd name="T65" fmla="*/ 2147483647 h 419"/>
                  <a:gd name="T66" fmla="*/ 2147483647 w 460"/>
                  <a:gd name="T67" fmla="*/ 2147483647 h 419"/>
                  <a:gd name="T68" fmla="*/ 2147483647 w 460"/>
                  <a:gd name="T69" fmla="*/ 2147483647 h 419"/>
                  <a:gd name="T70" fmla="*/ 2147483647 w 460"/>
                  <a:gd name="T71" fmla="*/ 2147483647 h 419"/>
                  <a:gd name="T72" fmla="*/ 2147483647 w 460"/>
                  <a:gd name="T73" fmla="*/ 2147483647 h 419"/>
                  <a:gd name="T74" fmla="*/ 2147483647 w 460"/>
                  <a:gd name="T75" fmla="*/ 2147483647 h 419"/>
                  <a:gd name="T76" fmla="*/ 2147483647 w 460"/>
                  <a:gd name="T77" fmla="*/ 2147483647 h 419"/>
                  <a:gd name="T78" fmla="*/ 2147483647 w 460"/>
                  <a:gd name="T79" fmla="*/ 2147483647 h 419"/>
                  <a:gd name="T80" fmla="*/ 2147483647 w 460"/>
                  <a:gd name="T81" fmla="*/ 2147483647 h 419"/>
                  <a:gd name="T82" fmla="*/ 2147483647 w 460"/>
                  <a:gd name="T83" fmla="*/ 2147483647 h 419"/>
                  <a:gd name="T84" fmla="*/ 2147483647 w 460"/>
                  <a:gd name="T85" fmla="*/ 2147483647 h 419"/>
                  <a:gd name="T86" fmla="*/ 2147483647 w 460"/>
                  <a:gd name="T87" fmla="*/ 2147483647 h 419"/>
                  <a:gd name="T88" fmla="*/ 2147483647 w 460"/>
                  <a:gd name="T89" fmla="*/ 2147483647 h 419"/>
                  <a:gd name="T90" fmla="*/ 2147483647 w 460"/>
                  <a:gd name="T91" fmla="*/ 2147483647 h 419"/>
                  <a:gd name="T92" fmla="*/ 2147483647 w 460"/>
                  <a:gd name="T93" fmla="*/ 2147483647 h 419"/>
                  <a:gd name="T94" fmla="*/ 2147483647 w 460"/>
                  <a:gd name="T95" fmla="*/ 2147483647 h 419"/>
                  <a:gd name="T96" fmla="*/ 2147483647 w 460"/>
                  <a:gd name="T97" fmla="*/ 2147483647 h 419"/>
                  <a:gd name="T98" fmla="*/ 2147483647 w 460"/>
                  <a:gd name="T99" fmla="*/ 2147483647 h 419"/>
                  <a:gd name="T100" fmla="*/ 2147483647 w 460"/>
                  <a:gd name="T101" fmla="*/ 2147483647 h 41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60" h="419">
                    <a:moveTo>
                      <a:pt x="347" y="30"/>
                    </a:moveTo>
                    <a:cubicBezTo>
                      <a:pt x="355" y="30"/>
                      <a:pt x="362" y="23"/>
                      <a:pt x="362" y="15"/>
                    </a:cubicBezTo>
                    <a:cubicBezTo>
                      <a:pt x="362" y="7"/>
                      <a:pt x="355" y="0"/>
                      <a:pt x="347" y="0"/>
                    </a:cubicBezTo>
                    <a:cubicBezTo>
                      <a:pt x="339" y="0"/>
                      <a:pt x="332" y="7"/>
                      <a:pt x="332" y="15"/>
                    </a:cubicBezTo>
                    <a:cubicBezTo>
                      <a:pt x="332" y="23"/>
                      <a:pt x="339" y="30"/>
                      <a:pt x="347" y="30"/>
                    </a:cubicBezTo>
                    <a:close/>
                    <a:moveTo>
                      <a:pt x="15" y="103"/>
                    </a:moveTo>
                    <a:cubicBezTo>
                      <a:pt x="7" y="103"/>
                      <a:pt x="0" y="110"/>
                      <a:pt x="0" y="118"/>
                    </a:cubicBezTo>
                    <a:cubicBezTo>
                      <a:pt x="0" y="126"/>
                      <a:pt x="7" y="133"/>
                      <a:pt x="15" y="133"/>
                    </a:cubicBezTo>
                    <a:cubicBezTo>
                      <a:pt x="23" y="133"/>
                      <a:pt x="30" y="126"/>
                      <a:pt x="30" y="118"/>
                    </a:cubicBezTo>
                    <a:cubicBezTo>
                      <a:pt x="30" y="110"/>
                      <a:pt x="23" y="103"/>
                      <a:pt x="15" y="103"/>
                    </a:cubicBezTo>
                    <a:close/>
                    <a:moveTo>
                      <a:pt x="366" y="102"/>
                    </a:moveTo>
                    <a:cubicBezTo>
                      <a:pt x="363" y="104"/>
                      <a:pt x="363" y="109"/>
                      <a:pt x="365" y="113"/>
                    </a:cubicBezTo>
                    <a:cubicBezTo>
                      <a:pt x="374" y="123"/>
                      <a:pt x="382" y="135"/>
                      <a:pt x="388" y="147"/>
                    </a:cubicBezTo>
                    <a:cubicBezTo>
                      <a:pt x="371" y="153"/>
                      <a:pt x="371" y="153"/>
                      <a:pt x="371" y="153"/>
                    </a:cubicBezTo>
                    <a:cubicBezTo>
                      <a:pt x="369" y="153"/>
                      <a:pt x="368" y="156"/>
                      <a:pt x="368" y="158"/>
                    </a:cubicBezTo>
                    <a:cubicBezTo>
                      <a:pt x="375" y="199"/>
                      <a:pt x="375" y="199"/>
                      <a:pt x="375" y="199"/>
                    </a:cubicBezTo>
                    <a:cubicBezTo>
                      <a:pt x="370" y="201"/>
                      <a:pt x="367" y="206"/>
                      <a:pt x="367" y="212"/>
                    </a:cubicBezTo>
                    <a:cubicBezTo>
                      <a:pt x="367" y="212"/>
                      <a:pt x="367" y="213"/>
                      <a:pt x="367" y="213"/>
                    </a:cubicBezTo>
                    <a:cubicBezTo>
                      <a:pt x="325" y="226"/>
                      <a:pt x="325" y="226"/>
                      <a:pt x="325" y="226"/>
                    </a:cubicBezTo>
                    <a:cubicBezTo>
                      <a:pt x="323" y="227"/>
                      <a:pt x="322" y="228"/>
                      <a:pt x="321" y="230"/>
                    </a:cubicBezTo>
                    <a:cubicBezTo>
                      <a:pt x="321" y="231"/>
                      <a:pt x="321" y="233"/>
                      <a:pt x="322" y="234"/>
                    </a:cubicBezTo>
                    <a:cubicBezTo>
                      <a:pt x="334" y="252"/>
                      <a:pt x="334" y="252"/>
                      <a:pt x="334" y="252"/>
                    </a:cubicBezTo>
                    <a:cubicBezTo>
                      <a:pt x="331" y="255"/>
                      <a:pt x="329" y="258"/>
                      <a:pt x="329" y="263"/>
                    </a:cubicBezTo>
                    <a:cubicBezTo>
                      <a:pt x="329" y="265"/>
                      <a:pt x="330" y="268"/>
                      <a:pt x="331" y="270"/>
                    </a:cubicBezTo>
                    <a:cubicBezTo>
                      <a:pt x="309" y="291"/>
                      <a:pt x="309" y="291"/>
                      <a:pt x="309" y="291"/>
                    </a:cubicBezTo>
                    <a:cubicBezTo>
                      <a:pt x="308" y="292"/>
                      <a:pt x="307" y="293"/>
                      <a:pt x="307" y="295"/>
                    </a:cubicBezTo>
                    <a:cubicBezTo>
                      <a:pt x="307" y="296"/>
                      <a:pt x="308" y="298"/>
                      <a:pt x="309" y="299"/>
                    </a:cubicBezTo>
                    <a:cubicBezTo>
                      <a:pt x="338" y="319"/>
                      <a:pt x="338" y="319"/>
                      <a:pt x="338" y="319"/>
                    </a:cubicBezTo>
                    <a:cubicBezTo>
                      <a:pt x="338" y="320"/>
                      <a:pt x="338" y="321"/>
                      <a:pt x="338" y="322"/>
                    </a:cubicBezTo>
                    <a:cubicBezTo>
                      <a:pt x="338" y="330"/>
                      <a:pt x="343" y="336"/>
                      <a:pt x="350" y="337"/>
                    </a:cubicBezTo>
                    <a:cubicBezTo>
                      <a:pt x="353" y="353"/>
                      <a:pt x="353" y="353"/>
                      <a:pt x="353" y="353"/>
                    </a:cubicBezTo>
                    <a:cubicBezTo>
                      <a:pt x="322" y="384"/>
                      <a:pt x="280" y="402"/>
                      <a:pt x="233" y="403"/>
                    </a:cubicBezTo>
                    <a:cubicBezTo>
                      <a:pt x="260" y="365"/>
                      <a:pt x="260" y="365"/>
                      <a:pt x="260" y="365"/>
                    </a:cubicBezTo>
                    <a:cubicBezTo>
                      <a:pt x="260" y="365"/>
                      <a:pt x="261" y="365"/>
                      <a:pt x="261" y="365"/>
                    </a:cubicBezTo>
                    <a:cubicBezTo>
                      <a:pt x="270" y="365"/>
                      <a:pt x="276" y="359"/>
                      <a:pt x="276" y="351"/>
                    </a:cubicBezTo>
                    <a:cubicBezTo>
                      <a:pt x="276" y="342"/>
                      <a:pt x="270" y="336"/>
                      <a:pt x="261" y="336"/>
                    </a:cubicBezTo>
                    <a:cubicBezTo>
                      <a:pt x="257" y="336"/>
                      <a:pt x="253" y="338"/>
                      <a:pt x="250" y="341"/>
                    </a:cubicBezTo>
                    <a:cubicBezTo>
                      <a:pt x="173" y="319"/>
                      <a:pt x="173" y="319"/>
                      <a:pt x="173" y="319"/>
                    </a:cubicBezTo>
                    <a:cubicBezTo>
                      <a:pt x="122" y="297"/>
                      <a:pt x="122" y="297"/>
                      <a:pt x="122" y="297"/>
                    </a:cubicBezTo>
                    <a:cubicBezTo>
                      <a:pt x="140" y="282"/>
                      <a:pt x="140" y="282"/>
                      <a:pt x="140" y="282"/>
                    </a:cubicBezTo>
                    <a:cubicBezTo>
                      <a:pt x="142" y="283"/>
                      <a:pt x="144" y="284"/>
                      <a:pt x="147" y="284"/>
                    </a:cubicBezTo>
                    <a:cubicBezTo>
                      <a:pt x="151" y="284"/>
                      <a:pt x="154" y="283"/>
                      <a:pt x="156" y="281"/>
                    </a:cubicBezTo>
                    <a:cubicBezTo>
                      <a:pt x="181" y="296"/>
                      <a:pt x="181" y="296"/>
                      <a:pt x="181" y="296"/>
                    </a:cubicBezTo>
                    <a:cubicBezTo>
                      <a:pt x="181" y="296"/>
                      <a:pt x="182" y="297"/>
                      <a:pt x="183" y="297"/>
                    </a:cubicBezTo>
                    <a:cubicBezTo>
                      <a:pt x="183" y="297"/>
                      <a:pt x="184" y="297"/>
                      <a:pt x="184" y="297"/>
                    </a:cubicBezTo>
                    <a:cubicBezTo>
                      <a:pt x="202" y="294"/>
                      <a:pt x="202" y="294"/>
                      <a:pt x="202" y="294"/>
                    </a:cubicBezTo>
                    <a:cubicBezTo>
                      <a:pt x="205" y="299"/>
                      <a:pt x="210" y="302"/>
                      <a:pt x="216" y="302"/>
                    </a:cubicBezTo>
                    <a:cubicBezTo>
                      <a:pt x="224" y="302"/>
                      <a:pt x="230" y="296"/>
                      <a:pt x="230" y="288"/>
                    </a:cubicBezTo>
                    <a:cubicBezTo>
                      <a:pt x="230" y="279"/>
                      <a:pt x="224" y="273"/>
                      <a:pt x="216" y="273"/>
                    </a:cubicBezTo>
                    <a:cubicBezTo>
                      <a:pt x="209" y="273"/>
                      <a:pt x="203" y="278"/>
                      <a:pt x="201" y="284"/>
                    </a:cubicBezTo>
                    <a:cubicBezTo>
                      <a:pt x="184" y="287"/>
                      <a:pt x="184" y="287"/>
                      <a:pt x="184" y="287"/>
                    </a:cubicBezTo>
                    <a:cubicBezTo>
                      <a:pt x="162" y="272"/>
                      <a:pt x="162" y="272"/>
                      <a:pt x="162" y="272"/>
                    </a:cubicBezTo>
                    <a:cubicBezTo>
                      <a:pt x="162" y="271"/>
                      <a:pt x="162" y="270"/>
                      <a:pt x="162" y="269"/>
                    </a:cubicBezTo>
                    <a:cubicBezTo>
                      <a:pt x="162" y="268"/>
                      <a:pt x="162" y="266"/>
                      <a:pt x="161" y="265"/>
                    </a:cubicBezTo>
                    <a:cubicBezTo>
                      <a:pt x="179" y="250"/>
                      <a:pt x="179" y="250"/>
                      <a:pt x="179" y="250"/>
                    </a:cubicBezTo>
                    <a:cubicBezTo>
                      <a:pt x="181" y="249"/>
                      <a:pt x="181" y="247"/>
                      <a:pt x="181" y="245"/>
                    </a:cubicBezTo>
                    <a:cubicBezTo>
                      <a:pt x="174" y="223"/>
                      <a:pt x="174" y="223"/>
                      <a:pt x="174" y="223"/>
                    </a:cubicBezTo>
                    <a:cubicBezTo>
                      <a:pt x="177" y="221"/>
                      <a:pt x="179" y="217"/>
                      <a:pt x="179" y="212"/>
                    </a:cubicBezTo>
                    <a:cubicBezTo>
                      <a:pt x="179" y="212"/>
                      <a:pt x="179" y="211"/>
                      <a:pt x="179" y="211"/>
                    </a:cubicBezTo>
                    <a:cubicBezTo>
                      <a:pt x="190" y="206"/>
                      <a:pt x="190" y="206"/>
                      <a:pt x="190" y="206"/>
                    </a:cubicBezTo>
                    <a:cubicBezTo>
                      <a:pt x="193" y="209"/>
                      <a:pt x="197" y="211"/>
                      <a:pt x="201" y="211"/>
                    </a:cubicBezTo>
                    <a:cubicBezTo>
                      <a:pt x="209" y="211"/>
                      <a:pt x="216" y="204"/>
                      <a:pt x="216" y="196"/>
                    </a:cubicBezTo>
                    <a:cubicBezTo>
                      <a:pt x="216" y="188"/>
                      <a:pt x="209" y="181"/>
                      <a:pt x="201" y="181"/>
                    </a:cubicBezTo>
                    <a:cubicBezTo>
                      <a:pt x="199" y="181"/>
                      <a:pt x="198" y="181"/>
                      <a:pt x="197" y="182"/>
                    </a:cubicBezTo>
                    <a:cubicBezTo>
                      <a:pt x="146" y="125"/>
                      <a:pt x="146" y="125"/>
                      <a:pt x="146" y="125"/>
                    </a:cubicBezTo>
                    <a:cubicBezTo>
                      <a:pt x="147" y="123"/>
                      <a:pt x="147" y="121"/>
                      <a:pt x="147" y="119"/>
                    </a:cubicBezTo>
                    <a:cubicBezTo>
                      <a:pt x="147" y="111"/>
                      <a:pt x="140" y="104"/>
                      <a:pt x="132" y="104"/>
                    </a:cubicBezTo>
                    <a:cubicBezTo>
                      <a:pt x="128" y="104"/>
                      <a:pt x="124" y="106"/>
                      <a:pt x="121" y="109"/>
                    </a:cubicBezTo>
                    <a:cubicBezTo>
                      <a:pt x="104" y="104"/>
                      <a:pt x="104" y="104"/>
                      <a:pt x="104" y="104"/>
                    </a:cubicBezTo>
                    <a:cubicBezTo>
                      <a:pt x="126" y="81"/>
                      <a:pt x="154" y="64"/>
                      <a:pt x="186" y="55"/>
                    </a:cubicBezTo>
                    <a:cubicBezTo>
                      <a:pt x="198" y="85"/>
                      <a:pt x="198" y="85"/>
                      <a:pt x="198" y="85"/>
                    </a:cubicBezTo>
                    <a:cubicBezTo>
                      <a:pt x="196" y="88"/>
                      <a:pt x="195" y="91"/>
                      <a:pt x="195" y="94"/>
                    </a:cubicBezTo>
                    <a:cubicBezTo>
                      <a:pt x="195" y="102"/>
                      <a:pt x="201" y="109"/>
                      <a:pt x="209" y="109"/>
                    </a:cubicBezTo>
                    <a:cubicBezTo>
                      <a:pt x="210" y="109"/>
                      <a:pt x="211" y="109"/>
                      <a:pt x="212" y="109"/>
                    </a:cubicBezTo>
                    <a:cubicBezTo>
                      <a:pt x="238" y="141"/>
                      <a:pt x="238" y="141"/>
                      <a:pt x="238" y="141"/>
                    </a:cubicBezTo>
                    <a:cubicBezTo>
                      <a:pt x="237" y="143"/>
                      <a:pt x="237" y="145"/>
                      <a:pt x="237" y="147"/>
                    </a:cubicBezTo>
                    <a:cubicBezTo>
                      <a:pt x="237" y="155"/>
                      <a:pt x="243" y="162"/>
                      <a:pt x="252" y="162"/>
                    </a:cubicBezTo>
                    <a:cubicBezTo>
                      <a:pt x="260" y="162"/>
                      <a:pt x="266" y="155"/>
                      <a:pt x="266" y="147"/>
                    </a:cubicBezTo>
                    <a:cubicBezTo>
                      <a:pt x="266" y="145"/>
                      <a:pt x="266" y="143"/>
                      <a:pt x="265" y="141"/>
                    </a:cubicBezTo>
                    <a:cubicBezTo>
                      <a:pt x="292" y="109"/>
                      <a:pt x="292" y="109"/>
                      <a:pt x="292" y="109"/>
                    </a:cubicBezTo>
                    <a:cubicBezTo>
                      <a:pt x="293" y="110"/>
                      <a:pt x="295" y="110"/>
                      <a:pt x="297" y="110"/>
                    </a:cubicBezTo>
                    <a:cubicBezTo>
                      <a:pt x="305" y="110"/>
                      <a:pt x="312" y="103"/>
                      <a:pt x="312" y="95"/>
                    </a:cubicBezTo>
                    <a:cubicBezTo>
                      <a:pt x="312" y="89"/>
                      <a:pt x="308" y="84"/>
                      <a:pt x="303" y="82"/>
                    </a:cubicBezTo>
                    <a:cubicBezTo>
                      <a:pt x="305" y="66"/>
                      <a:pt x="305" y="66"/>
                      <a:pt x="305" y="66"/>
                    </a:cubicBezTo>
                    <a:cubicBezTo>
                      <a:pt x="319" y="73"/>
                      <a:pt x="332" y="81"/>
                      <a:pt x="344" y="91"/>
                    </a:cubicBezTo>
                    <a:cubicBezTo>
                      <a:pt x="347" y="94"/>
                      <a:pt x="352" y="94"/>
                      <a:pt x="355" y="90"/>
                    </a:cubicBezTo>
                    <a:cubicBezTo>
                      <a:pt x="358" y="87"/>
                      <a:pt x="358" y="82"/>
                      <a:pt x="354" y="79"/>
                    </a:cubicBezTo>
                    <a:cubicBezTo>
                      <a:pt x="319" y="49"/>
                      <a:pt x="276" y="34"/>
                      <a:pt x="230" y="34"/>
                    </a:cubicBezTo>
                    <a:cubicBezTo>
                      <a:pt x="124" y="34"/>
                      <a:pt x="38" y="120"/>
                      <a:pt x="38" y="227"/>
                    </a:cubicBezTo>
                    <a:cubicBezTo>
                      <a:pt x="38" y="333"/>
                      <a:pt x="124" y="419"/>
                      <a:pt x="230" y="419"/>
                    </a:cubicBezTo>
                    <a:cubicBezTo>
                      <a:pt x="337" y="419"/>
                      <a:pt x="423" y="333"/>
                      <a:pt x="423" y="227"/>
                    </a:cubicBezTo>
                    <a:cubicBezTo>
                      <a:pt x="423" y="180"/>
                      <a:pt x="407" y="138"/>
                      <a:pt x="378" y="103"/>
                    </a:cubicBezTo>
                    <a:cubicBezTo>
                      <a:pt x="375" y="99"/>
                      <a:pt x="370" y="99"/>
                      <a:pt x="366" y="102"/>
                    </a:cubicBezTo>
                    <a:close/>
                    <a:moveTo>
                      <a:pt x="258" y="134"/>
                    </a:moveTo>
                    <a:cubicBezTo>
                      <a:pt x="256" y="133"/>
                      <a:pt x="254" y="132"/>
                      <a:pt x="252" y="132"/>
                    </a:cubicBezTo>
                    <a:cubicBezTo>
                      <a:pt x="249" y="132"/>
                      <a:pt x="247" y="133"/>
                      <a:pt x="245" y="134"/>
                    </a:cubicBezTo>
                    <a:cubicBezTo>
                      <a:pt x="221" y="104"/>
                      <a:pt x="221" y="104"/>
                      <a:pt x="221" y="104"/>
                    </a:cubicBezTo>
                    <a:cubicBezTo>
                      <a:pt x="222" y="103"/>
                      <a:pt x="223" y="101"/>
                      <a:pt x="223" y="100"/>
                    </a:cubicBezTo>
                    <a:cubicBezTo>
                      <a:pt x="283" y="100"/>
                      <a:pt x="283" y="100"/>
                      <a:pt x="283" y="100"/>
                    </a:cubicBezTo>
                    <a:cubicBezTo>
                      <a:pt x="283" y="101"/>
                      <a:pt x="284" y="102"/>
                      <a:pt x="284" y="103"/>
                    </a:cubicBezTo>
                    <a:lnTo>
                      <a:pt x="258" y="134"/>
                    </a:lnTo>
                    <a:close/>
                    <a:moveTo>
                      <a:pt x="295" y="62"/>
                    </a:moveTo>
                    <a:cubicBezTo>
                      <a:pt x="293" y="81"/>
                      <a:pt x="293" y="81"/>
                      <a:pt x="293" y="81"/>
                    </a:cubicBezTo>
                    <a:cubicBezTo>
                      <a:pt x="288" y="82"/>
                      <a:pt x="285" y="86"/>
                      <a:pt x="283" y="90"/>
                    </a:cubicBezTo>
                    <a:cubicBezTo>
                      <a:pt x="223" y="90"/>
                      <a:pt x="223" y="90"/>
                      <a:pt x="223" y="90"/>
                    </a:cubicBezTo>
                    <a:cubicBezTo>
                      <a:pt x="223" y="89"/>
                      <a:pt x="223" y="88"/>
                      <a:pt x="223" y="88"/>
                    </a:cubicBezTo>
                    <a:cubicBezTo>
                      <a:pt x="266" y="53"/>
                      <a:pt x="266" y="53"/>
                      <a:pt x="266" y="53"/>
                    </a:cubicBezTo>
                    <a:cubicBezTo>
                      <a:pt x="276" y="55"/>
                      <a:pt x="286" y="58"/>
                      <a:pt x="295" y="62"/>
                    </a:cubicBezTo>
                    <a:close/>
                    <a:moveTo>
                      <a:pt x="230" y="50"/>
                    </a:moveTo>
                    <a:cubicBezTo>
                      <a:pt x="238" y="50"/>
                      <a:pt x="245" y="50"/>
                      <a:pt x="253" y="51"/>
                    </a:cubicBezTo>
                    <a:cubicBezTo>
                      <a:pt x="215" y="81"/>
                      <a:pt x="215" y="81"/>
                      <a:pt x="215" y="81"/>
                    </a:cubicBezTo>
                    <a:cubicBezTo>
                      <a:pt x="214" y="80"/>
                      <a:pt x="212" y="79"/>
                      <a:pt x="209" y="79"/>
                    </a:cubicBezTo>
                    <a:cubicBezTo>
                      <a:pt x="208" y="79"/>
                      <a:pt x="207" y="80"/>
                      <a:pt x="206" y="80"/>
                    </a:cubicBezTo>
                    <a:cubicBezTo>
                      <a:pt x="196" y="53"/>
                      <a:pt x="196" y="53"/>
                      <a:pt x="196" y="53"/>
                    </a:cubicBezTo>
                    <a:cubicBezTo>
                      <a:pt x="207" y="51"/>
                      <a:pt x="219" y="50"/>
                      <a:pt x="230" y="50"/>
                    </a:cubicBezTo>
                    <a:close/>
                    <a:moveTo>
                      <a:pt x="133" y="274"/>
                    </a:moveTo>
                    <a:cubicBezTo>
                      <a:pt x="115" y="290"/>
                      <a:pt x="115" y="290"/>
                      <a:pt x="115" y="290"/>
                    </a:cubicBezTo>
                    <a:cubicBezTo>
                      <a:pt x="97" y="254"/>
                      <a:pt x="97" y="254"/>
                      <a:pt x="97" y="254"/>
                    </a:cubicBezTo>
                    <a:cubicBezTo>
                      <a:pt x="99" y="251"/>
                      <a:pt x="101" y="248"/>
                      <a:pt x="101" y="244"/>
                    </a:cubicBezTo>
                    <a:cubicBezTo>
                      <a:pt x="101" y="243"/>
                      <a:pt x="101" y="243"/>
                      <a:pt x="101" y="242"/>
                    </a:cubicBezTo>
                    <a:cubicBezTo>
                      <a:pt x="115" y="237"/>
                      <a:pt x="115" y="237"/>
                      <a:pt x="115" y="237"/>
                    </a:cubicBezTo>
                    <a:cubicBezTo>
                      <a:pt x="118" y="239"/>
                      <a:pt x="122" y="241"/>
                      <a:pt x="126" y="241"/>
                    </a:cubicBezTo>
                    <a:cubicBezTo>
                      <a:pt x="127" y="241"/>
                      <a:pt x="127" y="241"/>
                      <a:pt x="128" y="241"/>
                    </a:cubicBezTo>
                    <a:cubicBezTo>
                      <a:pt x="136" y="259"/>
                      <a:pt x="136" y="259"/>
                      <a:pt x="136" y="259"/>
                    </a:cubicBezTo>
                    <a:cubicBezTo>
                      <a:pt x="134" y="261"/>
                      <a:pt x="132" y="265"/>
                      <a:pt x="132" y="269"/>
                    </a:cubicBezTo>
                    <a:cubicBezTo>
                      <a:pt x="132" y="271"/>
                      <a:pt x="133" y="273"/>
                      <a:pt x="133" y="274"/>
                    </a:cubicBezTo>
                    <a:close/>
                    <a:moveTo>
                      <a:pt x="155" y="257"/>
                    </a:moveTo>
                    <a:cubicBezTo>
                      <a:pt x="153" y="255"/>
                      <a:pt x="150" y="254"/>
                      <a:pt x="147" y="254"/>
                    </a:cubicBezTo>
                    <a:cubicBezTo>
                      <a:pt x="147" y="254"/>
                      <a:pt x="146" y="254"/>
                      <a:pt x="145" y="254"/>
                    </a:cubicBezTo>
                    <a:cubicBezTo>
                      <a:pt x="137" y="237"/>
                      <a:pt x="137" y="237"/>
                      <a:pt x="137" y="237"/>
                    </a:cubicBezTo>
                    <a:cubicBezTo>
                      <a:pt x="139" y="234"/>
                      <a:pt x="141" y="230"/>
                      <a:pt x="141" y="227"/>
                    </a:cubicBezTo>
                    <a:cubicBezTo>
                      <a:pt x="141" y="226"/>
                      <a:pt x="141" y="226"/>
                      <a:pt x="141" y="226"/>
                    </a:cubicBezTo>
                    <a:cubicBezTo>
                      <a:pt x="153" y="221"/>
                      <a:pt x="153" y="221"/>
                      <a:pt x="153" y="221"/>
                    </a:cubicBezTo>
                    <a:cubicBezTo>
                      <a:pt x="156" y="224"/>
                      <a:pt x="160" y="226"/>
                      <a:pt x="164" y="227"/>
                    </a:cubicBezTo>
                    <a:cubicBezTo>
                      <a:pt x="170" y="244"/>
                      <a:pt x="170" y="244"/>
                      <a:pt x="170" y="244"/>
                    </a:cubicBezTo>
                    <a:lnTo>
                      <a:pt x="155" y="257"/>
                    </a:lnTo>
                    <a:close/>
                    <a:moveTo>
                      <a:pt x="175" y="201"/>
                    </a:moveTo>
                    <a:cubicBezTo>
                      <a:pt x="173" y="199"/>
                      <a:pt x="169" y="197"/>
                      <a:pt x="165" y="197"/>
                    </a:cubicBezTo>
                    <a:cubicBezTo>
                      <a:pt x="157" y="197"/>
                      <a:pt x="150" y="204"/>
                      <a:pt x="150" y="212"/>
                    </a:cubicBezTo>
                    <a:cubicBezTo>
                      <a:pt x="137" y="217"/>
                      <a:pt x="137" y="217"/>
                      <a:pt x="137" y="217"/>
                    </a:cubicBezTo>
                    <a:cubicBezTo>
                      <a:pt x="134" y="214"/>
                      <a:pt x="130" y="212"/>
                      <a:pt x="126" y="212"/>
                    </a:cubicBezTo>
                    <a:cubicBezTo>
                      <a:pt x="125" y="212"/>
                      <a:pt x="125" y="212"/>
                      <a:pt x="124" y="212"/>
                    </a:cubicBezTo>
                    <a:cubicBezTo>
                      <a:pt x="109" y="180"/>
                      <a:pt x="109" y="180"/>
                      <a:pt x="109" y="180"/>
                    </a:cubicBezTo>
                    <a:cubicBezTo>
                      <a:pt x="110" y="179"/>
                      <a:pt x="111" y="178"/>
                      <a:pt x="112" y="177"/>
                    </a:cubicBezTo>
                    <a:cubicBezTo>
                      <a:pt x="186" y="197"/>
                      <a:pt x="186" y="197"/>
                      <a:pt x="186" y="197"/>
                    </a:cubicBezTo>
                    <a:cubicBezTo>
                      <a:pt x="186" y="197"/>
                      <a:pt x="186" y="197"/>
                      <a:pt x="186" y="197"/>
                    </a:cubicBezTo>
                    <a:lnTo>
                      <a:pt x="175" y="201"/>
                    </a:lnTo>
                    <a:close/>
                    <a:moveTo>
                      <a:pt x="130" y="134"/>
                    </a:moveTo>
                    <a:cubicBezTo>
                      <a:pt x="131" y="134"/>
                      <a:pt x="131" y="134"/>
                      <a:pt x="132" y="134"/>
                    </a:cubicBezTo>
                    <a:cubicBezTo>
                      <a:pt x="135" y="134"/>
                      <a:pt x="137" y="133"/>
                      <a:pt x="139" y="132"/>
                    </a:cubicBezTo>
                    <a:cubicBezTo>
                      <a:pt x="188" y="187"/>
                      <a:pt x="188" y="187"/>
                      <a:pt x="188" y="187"/>
                    </a:cubicBezTo>
                    <a:cubicBezTo>
                      <a:pt x="114" y="168"/>
                      <a:pt x="114" y="168"/>
                      <a:pt x="114" y="168"/>
                    </a:cubicBezTo>
                    <a:cubicBezTo>
                      <a:pt x="114" y="164"/>
                      <a:pt x="113" y="161"/>
                      <a:pt x="111" y="159"/>
                    </a:cubicBezTo>
                    <a:lnTo>
                      <a:pt x="130" y="134"/>
                    </a:lnTo>
                    <a:close/>
                    <a:moveTo>
                      <a:pt x="96" y="112"/>
                    </a:moveTo>
                    <a:cubicBezTo>
                      <a:pt x="118" y="119"/>
                      <a:pt x="118" y="119"/>
                      <a:pt x="118" y="119"/>
                    </a:cubicBezTo>
                    <a:cubicBezTo>
                      <a:pt x="118" y="119"/>
                      <a:pt x="117" y="119"/>
                      <a:pt x="117" y="119"/>
                    </a:cubicBezTo>
                    <a:cubicBezTo>
                      <a:pt x="117" y="123"/>
                      <a:pt x="119" y="126"/>
                      <a:pt x="121" y="129"/>
                    </a:cubicBezTo>
                    <a:cubicBezTo>
                      <a:pt x="102" y="154"/>
                      <a:pt x="102" y="154"/>
                      <a:pt x="102" y="154"/>
                    </a:cubicBezTo>
                    <a:cubicBezTo>
                      <a:pt x="101" y="154"/>
                      <a:pt x="100" y="154"/>
                      <a:pt x="100" y="154"/>
                    </a:cubicBezTo>
                    <a:cubicBezTo>
                      <a:pt x="95" y="154"/>
                      <a:pt x="90" y="157"/>
                      <a:pt x="88" y="160"/>
                    </a:cubicBezTo>
                    <a:cubicBezTo>
                      <a:pt x="69" y="155"/>
                      <a:pt x="69" y="155"/>
                      <a:pt x="69" y="155"/>
                    </a:cubicBezTo>
                    <a:cubicBezTo>
                      <a:pt x="76" y="139"/>
                      <a:pt x="85" y="125"/>
                      <a:pt x="96" y="112"/>
                    </a:cubicBezTo>
                    <a:close/>
                    <a:moveTo>
                      <a:pt x="65" y="165"/>
                    </a:moveTo>
                    <a:cubicBezTo>
                      <a:pt x="85" y="170"/>
                      <a:pt x="85" y="170"/>
                      <a:pt x="85" y="170"/>
                    </a:cubicBezTo>
                    <a:cubicBezTo>
                      <a:pt x="85" y="178"/>
                      <a:pt x="92" y="184"/>
                      <a:pt x="99" y="184"/>
                    </a:cubicBezTo>
                    <a:cubicBezTo>
                      <a:pt x="115" y="216"/>
                      <a:pt x="115" y="216"/>
                      <a:pt x="115" y="216"/>
                    </a:cubicBezTo>
                    <a:cubicBezTo>
                      <a:pt x="113" y="219"/>
                      <a:pt x="111" y="223"/>
                      <a:pt x="111" y="227"/>
                    </a:cubicBezTo>
                    <a:cubicBezTo>
                      <a:pt x="111" y="227"/>
                      <a:pt x="111" y="227"/>
                      <a:pt x="111" y="227"/>
                    </a:cubicBezTo>
                    <a:cubicBezTo>
                      <a:pt x="96" y="233"/>
                      <a:pt x="96" y="233"/>
                      <a:pt x="96" y="233"/>
                    </a:cubicBezTo>
                    <a:cubicBezTo>
                      <a:pt x="94" y="231"/>
                      <a:pt x="90" y="229"/>
                      <a:pt x="86" y="229"/>
                    </a:cubicBezTo>
                    <a:cubicBezTo>
                      <a:pt x="86" y="229"/>
                      <a:pt x="85" y="229"/>
                      <a:pt x="85" y="229"/>
                    </a:cubicBezTo>
                    <a:cubicBezTo>
                      <a:pt x="60" y="178"/>
                      <a:pt x="60" y="178"/>
                      <a:pt x="60" y="178"/>
                    </a:cubicBezTo>
                    <a:cubicBezTo>
                      <a:pt x="62" y="174"/>
                      <a:pt x="63" y="169"/>
                      <a:pt x="65" y="165"/>
                    </a:cubicBezTo>
                    <a:close/>
                    <a:moveTo>
                      <a:pt x="54" y="227"/>
                    </a:moveTo>
                    <a:cubicBezTo>
                      <a:pt x="54" y="215"/>
                      <a:pt x="55" y="204"/>
                      <a:pt x="57" y="193"/>
                    </a:cubicBezTo>
                    <a:cubicBezTo>
                      <a:pt x="76" y="233"/>
                      <a:pt x="76" y="233"/>
                      <a:pt x="76" y="233"/>
                    </a:cubicBezTo>
                    <a:cubicBezTo>
                      <a:pt x="73" y="236"/>
                      <a:pt x="71" y="240"/>
                      <a:pt x="71" y="244"/>
                    </a:cubicBezTo>
                    <a:cubicBezTo>
                      <a:pt x="71" y="252"/>
                      <a:pt x="78" y="259"/>
                      <a:pt x="86" y="259"/>
                    </a:cubicBezTo>
                    <a:cubicBezTo>
                      <a:pt x="87" y="259"/>
                      <a:pt x="88" y="258"/>
                      <a:pt x="88" y="258"/>
                    </a:cubicBezTo>
                    <a:cubicBezTo>
                      <a:pt x="109" y="300"/>
                      <a:pt x="109" y="300"/>
                      <a:pt x="109" y="300"/>
                    </a:cubicBezTo>
                    <a:cubicBezTo>
                      <a:pt x="109" y="302"/>
                      <a:pt x="110" y="302"/>
                      <a:pt x="111" y="303"/>
                    </a:cubicBezTo>
                    <a:cubicBezTo>
                      <a:pt x="167" y="328"/>
                      <a:pt x="167" y="328"/>
                      <a:pt x="167" y="328"/>
                    </a:cubicBezTo>
                    <a:cubicBezTo>
                      <a:pt x="180" y="361"/>
                      <a:pt x="180" y="361"/>
                      <a:pt x="180" y="361"/>
                    </a:cubicBezTo>
                    <a:cubicBezTo>
                      <a:pt x="176" y="364"/>
                      <a:pt x="174" y="368"/>
                      <a:pt x="174" y="372"/>
                    </a:cubicBezTo>
                    <a:cubicBezTo>
                      <a:pt x="174" y="380"/>
                      <a:pt x="179" y="385"/>
                      <a:pt x="185" y="387"/>
                    </a:cubicBezTo>
                    <a:cubicBezTo>
                      <a:pt x="186" y="398"/>
                      <a:pt x="186" y="398"/>
                      <a:pt x="186" y="398"/>
                    </a:cubicBezTo>
                    <a:cubicBezTo>
                      <a:pt x="110" y="378"/>
                      <a:pt x="54" y="309"/>
                      <a:pt x="54" y="227"/>
                    </a:cubicBezTo>
                    <a:close/>
                    <a:moveTo>
                      <a:pt x="179" y="331"/>
                    </a:moveTo>
                    <a:cubicBezTo>
                      <a:pt x="247" y="351"/>
                      <a:pt x="247" y="351"/>
                      <a:pt x="247" y="351"/>
                    </a:cubicBezTo>
                    <a:cubicBezTo>
                      <a:pt x="247" y="351"/>
                      <a:pt x="247" y="351"/>
                      <a:pt x="247" y="351"/>
                    </a:cubicBezTo>
                    <a:cubicBezTo>
                      <a:pt x="201" y="364"/>
                      <a:pt x="201" y="364"/>
                      <a:pt x="201" y="364"/>
                    </a:cubicBezTo>
                    <a:cubicBezTo>
                      <a:pt x="198" y="360"/>
                      <a:pt x="194" y="358"/>
                      <a:pt x="189" y="358"/>
                    </a:cubicBezTo>
                    <a:lnTo>
                      <a:pt x="179" y="331"/>
                    </a:lnTo>
                    <a:close/>
                    <a:moveTo>
                      <a:pt x="221" y="403"/>
                    </a:moveTo>
                    <a:cubicBezTo>
                      <a:pt x="213" y="403"/>
                      <a:pt x="205" y="402"/>
                      <a:pt x="197" y="400"/>
                    </a:cubicBezTo>
                    <a:cubicBezTo>
                      <a:pt x="195" y="386"/>
                      <a:pt x="195" y="386"/>
                      <a:pt x="195" y="386"/>
                    </a:cubicBezTo>
                    <a:cubicBezTo>
                      <a:pt x="200" y="383"/>
                      <a:pt x="203" y="379"/>
                      <a:pt x="203" y="374"/>
                    </a:cubicBezTo>
                    <a:cubicBezTo>
                      <a:pt x="250" y="361"/>
                      <a:pt x="250" y="361"/>
                      <a:pt x="250" y="361"/>
                    </a:cubicBezTo>
                    <a:cubicBezTo>
                      <a:pt x="251" y="361"/>
                      <a:pt x="251" y="361"/>
                      <a:pt x="251" y="361"/>
                    </a:cubicBezTo>
                    <a:lnTo>
                      <a:pt x="221" y="403"/>
                    </a:lnTo>
                    <a:close/>
                    <a:moveTo>
                      <a:pt x="352" y="308"/>
                    </a:moveTo>
                    <a:cubicBezTo>
                      <a:pt x="349" y="308"/>
                      <a:pt x="346" y="309"/>
                      <a:pt x="343" y="311"/>
                    </a:cubicBezTo>
                    <a:cubicBezTo>
                      <a:pt x="320" y="294"/>
                      <a:pt x="320" y="294"/>
                      <a:pt x="320" y="294"/>
                    </a:cubicBezTo>
                    <a:cubicBezTo>
                      <a:pt x="339" y="276"/>
                      <a:pt x="339" y="276"/>
                      <a:pt x="339" y="276"/>
                    </a:cubicBezTo>
                    <a:cubicBezTo>
                      <a:pt x="341" y="277"/>
                      <a:pt x="342" y="277"/>
                      <a:pt x="344" y="277"/>
                    </a:cubicBezTo>
                    <a:cubicBezTo>
                      <a:pt x="348" y="277"/>
                      <a:pt x="351" y="276"/>
                      <a:pt x="353" y="274"/>
                    </a:cubicBezTo>
                    <a:cubicBezTo>
                      <a:pt x="365" y="283"/>
                      <a:pt x="365" y="283"/>
                      <a:pt x="365" y="283"/>
                    </a:cubicBezTo>
                    <a:cubicBezTo>
                      <a:pt x="365" y="285"/>
                      <a:pt x="364" y="286"/>
                      <a:pt x="364" y="288"/>
                    </a:cubicBezTo>
                    <a:cubicBezTo>
                      <a:pt x="364" y="291"/>
                      <a:pt x="365" y="293"/>
                      <a:pt x="367" y="296"/>
                    </a:cubicBezTo>
                    <a:cubicBezTo>
                      <a:pt x="357" y="308"/>
                      <a:pt x="357" y="308"/>
                      <a:pt x="357" y="308"/>
                    </a:cubicBezTo>
                    <a:cubicBezTo>
                      <a:pt x="356" y="308"/>
                      <a:pt x="354" y="308"/>
                      <a:pt x="352" y="308"/>
                    </a:cubicBezTo>
                    <a:close/>
                    <a:moveTo>
                      <a:pt x="362" y="345"/>
                    </a:moveTo>
                    <a:cubicBezTo>
                      <a:pt x="360" y="335"/>
                      <a:pt x="360" y="335"/>
                      <a:pt x="360" y="335"/>
                    </a:cubicBezTo>
                    <a:cubicBezTo>
                      <a:pt x="364" y="333"/>
                      <a:pt x="367" y="328"/>
                      <a:pt x="367" y="322"/>
                    </a:cubicBezTo>
                    <a:cubicBezTo>
                      <a:pt x="367" y="320"/>
                      <a:pt x="366" y="317"/>
                      <a:pt x="365" y="315"/>
                    </a:cubicBezTo>
                    <a:cubicBezTo>
                      <a:pt x="375" y="302"/>
                      <a:pt x="375" y="302"/>
                      <a:pt x="375" y="302"/>
                    </a:cubicBezTo>
                    <a:cubicBezTo>
                      <a:pt x="376" y="302"/>
                      <a:pt x="378" y="302"/>
                      <a:pt x="379" y="302"/>
                    </a:cubicBezTo>
                    <a:cubicBezTo>
                      <a:pt x="382" y="302"/>
                      <a:pt x="385" y="302"/>
                      <a:pt x="387" y="300"/>
                    </a:cubicBezTo>
                    <a:cubicBezTo>
                      <a:pt x="390" y="302"/>
                      <a:pt x="390" y="302"/>
                      <a:pt x="390" y="302"/>
                    </a:cubicBezTo>
                    <a:cubicBezTo>
                      <a:pt x="383" y="318"/>
                      <a:pt x="373" y="332"/>
                      <a:pt x="362" y="345"/>
                    </a:cubicBezTo>
                    <a:close/>
                    <a:moveTo>
                      <a:pt x="394" y="293"/>
                    </a:moveTo>
                    <a:cubicBezTo>
                      <a:pt x="393" y="292"/>
                      <a:pt x="393" y="292"/>
                      <a:pt x="393" y="292"/>
                    </a:cubicBezTo>
                    <a:cubicBezTo>
                      <a:pt x="394" y="291"/>
                      <a:pt x="394" y="289"/>
                      <a:pt x="394" y="288"/>
                    </a:cubicBezTo>
                    <a:cubicBezTo>
                      <a:pt x="394" y="284"/>
                      <a:pt x="393" y="281"/>
                      <a:pt x="391" y="279"/>
                    </a:cubicBezTo>
                    <a:cubicBezTo>
                      <a:pt x="403" y="262"/>
                      <a:pt x="403" y="262"/>
                      <a:pt x="403" y="262"/>
                    </a:cubicBezTo>
                    <a:cubicBezTo>
                      <a:pt x="401" y="273"/>
                      <a:pt x="398" y="283"/>
                      <a:pt x="394" y="293"/>
                    </a:cubicBezTo>
                    <a:close/>
                    <a:moveTo>
                      <a:pt x="406" y="241"/>
                    </a:moveTo>
                    <a:cubicBezTo>
                      <a:pt x="383" y="273"/>
                      <a:pt x="383" y="273"/>
                      <a:pt x="383" y="273"/>
                    </a:cubicBezTo>
                    <a:cubicBezTo>
                      <a:pt x="382" y="273"/>
                      <a:pt x="381" y="273"/>
                      <a:pt x="379" y="273"/>
                    </a:cubicBezTo>
                    <a:cubicBezTo>
                      <a:pt x="376" y="273"/>
                      <a:pt x="374" y="274"/>
                      <a:pt x="371" y="275"/>
                    </a:cubicBezTo>
                    <a:cubicBezTo>
                      <a:pt x="359" y="266"/>
                      <a:pt x="359" y="266"/>
                      <a:pt x="359" y="266"/>
                    </a:cubicBezTo>
                    <a:cubicBezTo>
                      <a:pt x="359" y="265"/>
                      <a:pt x="359" y="264"/>
                      <a:pt x="359" y="263"/>
                    </a:cubicBezTo>
                    <a:cubicBezTo>
                      <a:pt x="359" y="254"/>
                      <a:pt x="352" y="248"/>
                      <a:pt x="344" y="248"/>
                    </a:cubicBezTo>
                    <a:cubicBezTo>
                      <a:pt x="344" y="248"/>
                      <a:pt x="343" y="248"/>
                      <a:pt x="343" y="248"/>
                    </a:cubicBezTo>
                    <a:cubicBezTo>
                      <a:pt x="334" y="234"/>
                      <a:pt x="334" y="234"/>
                      <a:pt x="334" y="234"/>
                    </a:cubicBezTo>
                    <a:cubicBezTo>
                      <a:pt x="371" y="222"/>
                      <a:pt x="371" y="222"/>
                      <a:pt x="371" y="222"/>
                    </a:cubicBezTo>
                    <a:cubicBezTo>
                      <a:pt x="374" y="225"/>
                      <a:pt x="378" y="227"/>
                      <a:pt x="382" y="227"/>
                    </a:cubicBezTo>
                    <a:cubicBezTo>
                      <a:pt x="385" y="227"/>
                      <a:pt x="389" y="225"/>
                      <a:pt x="391" y="223"/>
                    </a:cubicBezTo>
                    <a:cubicBezTo>
                      <a:pt x="407" y="230"/>
                      <a:pt x="407" y="230"/>
                      <a:pt x="407" y="230"/>
                    </a:cubicBezTo>
                    <a:cubicBezTo>
                      <a:pt x="407" y="234"/>
                      <a:pt x="407" y="238"/>
                      <a:pt x="406" y="241"/>
                    </a:cubicBezTo>
                    <a:close/>
                    <a:moveTo>
                      <a:pt x="407" y="219"/>
                    </a:moveTo>
                    <a:cubicBezTo>
                      <a:pt x="396" y="214"/>
                      <a:pt x="396" y="214"/>
                      <a:pt x="396" y="214"/>
                    </a:cubicBezTo>
                    <a:cubicBezTo>
                      <a:pt x="396" y="214"/>
                      <a:pt x="397" y="213"/>
                      <a:pt x="397" y="212"/>
                    </a:cubicBezTo>
                    <a:cubicBezTo>
                      <a:pt x="397" y="205"/>
                      <a:pt x="391" y="199"/>
                      <a:pt x="385" y="197"/>
                    </a:cubicBezTo>
                    <a:cubicBezTo>
                      <a:pt x="379" y="161"/>
                      <a:pt x="379" y="161"/>
                      <a:pt x="379" y="161"/>
                    </a:cubicBezTo>
                    <a:cubicBezTo>
                      <a:pt x="392" y="156"/>
                      <a:pt x="392" y="156"/>
                      <a:pt x="392" y="156"/>
                    </a:cubicBezTo>
                    <a:cubicBezTo>
                      <a:pt x="401" y="175"/>
                      <a:pt x="406" y="197"/>
                      <a:pt x="407" y="219"/>
                    </a:cubicBezTo>
                    <a:close/>
                    <a:moveTo>
                      <a:pt x="445" y="331"/>
                    </a:moveTo>
                    <a:cubicBezTo>
                      <a:pt x="437" y="331"/>
                      <a:pt x="430" y="338"/>
                      <a:pt x="430" y="346"/>
                    </a:cubicBezTo>
                    <a:cubicBezTo>
                      <a:pt x="430" y="354"/>
                      <a:pt x="437" y="361"/>
                      <a:pt x="445" y="361"/>
                    </a:cubicBezTo>
                    <a:cubicBezTo>
                      <a:pt x="453" y="361"/>
                      <a:pt x="460" y="354"/>
                      <a:pt x="460" y="346"/>
                    </a:cubicBezTo>
                    <a:cubicBezTo>
                      <a:pt x="460" y="338"/>
                      <a:pt x="453" y="331"/>
                      <a:pt x="445" y="331"/>
                    </a:cubicBezTo>
                    <a:close/>
                    <a:moveTo>
                      <a:pt x="332" y="169"/>
                    </a:moveTo>
                    <a:cubicBezTo>
                      <a:pt x="324" y="169"/>
                      <a:pt x="317" y="176"/>
                      <a:pt x="317" y="184"/>
                    </a:cubicBezTo>
                    <a:cubicBezTo>
                      <a:pt x="317" y="192"/>
                      <a:pt x="324" y="199"/>
                      <a:pt x="332" y="199"/>
                    </a:cubicBezTo>
                    <a:cubicBezTo>
                      <a:pt x="340" y="199"/>
                      <a:pt x="347" y="192"/>
                      <a:pt x="347" y="184"/>
                    </a:cubicBezTo>
                    <a:cubicBezTo>
                      <a:pt x="347" y="176"/>
                      <a:pt x="340" y="169"/>
                      <a:pt x="332" y="169"/>
                    </a:cubicBezTo>
                    <a:close/>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38" name="Group 1"/>
            <p:cNvGrpSpPr>
              <a:grpSpLocks/>
            </p:cNvGrpSpPr>
            <p:nvPr/>
          </p:nvGrpSpPr>
          <p:grpSpPr bwMode="auto">
            <a:xfrm>
              <a:off x="601113" y="1593850"/>
              <a:ext cx="9171087" cy="1079389"/>
              <a:chOff x="601113" y="1593850"/>
              <a:chExt cx="9171087" cy="1079389"/>
            </a:xfrm>
          </p:grpSpPr>
          <p:sp>
            <p:nvSpPr>
              <p:cNvPr id="59" name="Rounded Rectangle 58"/>
              <p:cNvSpPr/>
              <p:nvPr/>
            </p:nvSpPr>
            <p:spPr bwMode="auto">
              <a:xfrm>
                <a:off x="3601143" y="1610637"/>
                <a:ext cx="6171057" cy="1045815"/>
              </a:xfrm>
              <a:prstGeom prst="roundRect">
                <a:avLst>
                  <a:gd name="adj" fmla="val 10368"/>
                </a:avLst>
              </a:prstGeom>
              <a:solidFill>
                <a:srgbClr val="A5C753"/>
              </a:solidFill>
              <a:ln w="9525" cap="flat" cmpd="sng" algn="ctr">
                <a:noFill/>
                <a:prstDash val="solid"/>
                <a:round/>
                <a:headEnd type="none" w="med" len="med"/>
                <a:tailEnd type="none" w="med" len="med"/>
              </a:ln>
              <a:effectLst/>
            </p:spPr>
            <p:txBody>
              <a:bodyPr lIns="91407" tIns="45705" rIns="91407" bIns="45705" anchor="ctr"/>
              <a:lstStyle/>
              <a:p>
                <a:pPr algn="ctr" defTabSz="914939">
                  <a:spcBef>
                    <a:spcPct val="50000"/>
                  </a:spcBef>
                  <a:defRPr/>
                </a:pPr>
                <a:endParaRPr lang="en-US" sz="2400" kern="0" cap="all" dirty="0">
                  <a:solidFill>
                    <a:srgbClr val="00285F"/>
                  </a:solidFill>
                  <a:latin typeface="Arial"/>
                  <a:cs typeface="Times New Roman" pitchFamily="18" charset="0"/>
                </a:endParaRPr>
              </a:p>
            </p:txBody>
          </p:sp>
          <p:sp>
            <p:nvSpPr>
              <p:cNvPr id="60" name="Rectangle 59"/>
              <p:cNvSpPr/>
              <p:nvPr/>
            </p:nvSpPr>
            <p:spPr bwMode="auto">
              <a:xfrm>
                <a:off x="4037633" y="1610637"/>
                <a:ext cx="4581701" cy="1045815"/>
              </a:xfrm>
              <a:prstGeom prst="rect">
                <a:avLst/>
              </a:prstGeom>
              <a:solidFill>
                <a:srgbClr val="A5C753"/>
              </a:solidFill>
              <a:ln w="9525" cap="flat" cmpd="sng" algn="ctr">
                <a:noFill/>
                <a:prstDash val="solid"/>
                <a:round/>
                <a:headEnd type="none" w="med" len="med"/>
                <a:tailEnd type="none" w="med" len="med"/>
              </a:ln>
              <a:effectLst/>
            </p:spPr>
            <p:txBody>
              <a:bodyPr lIns="91407" tIns="45705" rIns="91407" bIns="45705" anchor="ctr"/>
              <a:lstStyle/>
              <a:p>
                <a:pPr algn="ctr" defTabSz="914939">
                  <a:spcBef>
                    <a:spcPct val="50000"/>
                  </a:spcBef>
                  <a:defRPr/>
                </a:pPr>
                <a:endParaRPr lang="en-US" sz="2400" kern="0" cap="all" dirty="0">
                  <a:solidFill>
                    <a:srgbClr val="00285F"/>
                  </a:solidFill>
                  <a:latin typeface="Arial"/>
                  <a:cs typeface="Times New Roman" pitchFamily="18" charset="0"/>
                </a:endParaRPr>
              </a:p>
            </p:txBody>
          </p:sp>
          <p:sp>
            <p:nvSpPr>
              <p:cNvPr id="61" name="Oval 17"/>
              <p:cNvSpPr>
                <a:spLocks noChangeArrowheads="1"/>
              </p:cNvSpPr>
              <p:nvPr/>
            </p:nvSpPr>
            <p:spPr bwMode="auto">
              <a:xfrm>
                <a:off x="4005736" y="1593850"/>
                <a:ext cx="5621308" cy="1079389"/>
              </a:xfrm>
              <a:prstGeom prst="rect">
                <a:avLst/>
              </a:prstGeom>
              <a:noFill/>
              <a:ln w="25400" cap="flat" cmpd="sng" algn="ctr">
                <a:noFill/>
                <a:prstDash val="solid"/>
                <a:headEnd/>
                <a:tailEnd/>
              </a:ln>
              <a:effectLst/>
              <a:extLst>
                <a:ext uri="{91240B29-F687-4F45-9708-019B960494DF}">
                  <a14:hiddenLine xmlns:a14="http://schemas.microsoft.com/office/drawing/2010/main" w="25400" cap="flat" cmpd="sng" algn="ctr">
                    <a:solidFill>
                      <a:schemeClr val="accent2"/>
                    </a:solidFill>
                    <a:prstDash val="solid"/>
                    <a:headEnd/>
                    <a:tailEnd/>
                  </a14:hiddenLine>
                </a:ext>
              </a:extLst>
            </p:spPr>
            <p:style>
              <a:lnRef idx="2">
                <a:schemeClr val="accent2"/>
              </a:lnRef>
              <a:fillRef idx="1">
                <a:schemeClr val="lt1"/>
              </a:fillRef>
              <a:effectRef idx="0">
                <a:schemeClr val="accent2"/>
              </a:effectRef>
              <a:fontRef idx="minor">
                <a:schemeClr val="dk1"/>
              </a:fontRef>
            </p:style>
            <p:txBody>
              <a:bodyPr lIns="71974" tIns="45705" rIns="71974" bIns="45705" anchor="ctr"/>
              <a:lstStyle/>
              <a:p>
                <a:pPr marL="285750" indent="-285750" algn="l">
                  <a:spcAft>
                    <a:spcPts val="300"/>
                  </a:spcAft>
                  <a:buClr>
                    <a:srgbClr val="FFFFFF"/>
                  </a:buClr>
                  <a:buFont typeface="Arial" panose="020B0604020202020204" pitchFamily="34" charset="0"/>
                  <a:buChar char="›"/>
                  <a:defRPr/>
                </a:pPr>
                <a:r>
                  <a:rPr lang="en-US" sz="1800" dirty="0">
                    <a:solidFill>
                      <a:srgbClr val="FFFFFF"/>
                    </a:solidFill>
                    <a:ea typeface="MS PGothic" pitchFamily="34" charset="-128"/>
                  </a:rPr>
                  <a:t>Provide a unified approach t</a:t>
                </a:r>
                <a:r>
                  <a:rPr lang="en-CA" sz="1800" dirty="0">
                    <a:solidFill>
                      <a:srgbClr val="FFFFFF"/>
                    </a:solidFill>
                  </a:rPr>
                  <a:t>o all end users, delivering </a:t>
                </a:r>
                <a:r>
                  <a:rPr lang="en-US" sz="1800" dirty="0">
                    <a:solidFill>
                      <a:srgbClr val="FFFFFF"/>
                    </a:solidFill>
                    <a:ea typeface="MS PGothic" pitchFamily="34" charset="-128"/>
                  </a:rPr>
                  <a:t>a consistent </a:t>
                </a:r>
                <a:r>
                  <a:rPr lang="en-CA" sz="1800" dirty="0">
                    <a:solidFill>
                      <a:srgbClr val="FFFFFF"/>
                    </a:solidFill>
                  </a:rPr>
                  <a:t>experience, easing training, and simplifying cross-product use</a:t>
                </a:r>
                <a:r>
                  <a:rPr lang="en-US" sz="1800" dirty="0">
                    <a:solidFill>
                      <a:srgbClr val="FFFFFF"/>
                    </a:solidFill>
                    <a:ea typeface="MS PGothic" pitchFamily="34" charset="-128"/>
                  </a:rPr>
                  <a:t> </a:t>
                </a:r>
              </a:p>
            </p:txBody>
          </p:sp>
          <p:sp>
            <p:nvSpPr>
              <p:cNvPr id="62" name="Freeform 19"/>
              <p:cNvSpPr>
                <a:spLocks noChangeAspect="1"/>
              </p:cNvSpPr>
              <p:nvPr/>
            </p:nvSpPr>
            <p:spPr bwMode="auto">
              <a:xfrm>
                <a:off x="601113" y="1612315"/>
                <a:ext cx="3204845" cy="1042459"/>
              </a:xfrm>
              <a:custGeom>
                <a:avLst/>
                <a:gdLst>
                  <a:gd name="T0" fmla="*/ 2147483647 w 652"/>
                  <a:gd name="T1" fmla="*/ 2147483647 h 212"/>
                  <a:gd name="T2" fmla="*/ 2147483647 w 652"/>
                  <a:gd name="T3" fmla="*/ 2147483647 h 212"/>
                  <a:gd name="T4" fmla="*/ 2147483647 w 652"/>
                  <a:gd name="T5" fmla="*/ 2147483647 h 212"/>
                  <a:gd name="T6" fmla="*/ 2147483647 w 652"/>
                  <a:gd name="T7" fmla="*/ 2147483647 h 212"/>
                  <a:gd name="T8" fmla="*/ 2147483647 w 652"/>
                  <a:gd name="T9" fmla="*/ 2147483647 h 212"/>
                  <a:gd name="T10" fmla="*/ 2147483647 w 652"/>
                  <a:gd name="T11" fmla="*/ 2147483647 h 212"/>
                  <a:gd name="T12" fmla="*/ 0 w 652"/>
                  <a:gd name="T13" fmla="*/ 2147483647 h 212"/>
                  <a:gd name="T14" fmla="*/ 0 w 652"/>
                  <a:gd name="T15" fmla="*/ 2147483647 h 212"/>
                  <a:gd name="T16" fmla="*/ 2147483647 w 652"/>
                  <a:gd name="T17" fmla="*/ 0 h 212"/>
                  <a:gd name="T18" fmla="*/ 2147483647 w 652"/>
                  <a:gd name="T19" fmla="*/ 0 h 212"/>
                  <a:gd name="T20" fmla="*/ 2147483647 w 652"/>
                  <a:gd name="T21" fmla="*/ 2147483647 h 2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2"/>
                  <a:gd name="T34" fmla="*/ 0 h 212"/>
                  <a:gd name="T35" fmla="*/ 652 w 652"/>
                  <a:gd name="T36" fmla="*/ 212 h 2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2" h="212">
                    <a:moveTo>
                      <a:pt x="556" y="11"/>
                    </a:moveTo>
                    <a:cubicBezTo>
                      <a:pt x="641" y="95"/>
                      <a:pt x="641" y="95"/>
                      <a:pt x="641" y="95"/>
                    </a:cubicBezTo>
                    <a:cubicBezTo>
                      <a:pt x="641" y="95"/>
                      <a:pt x="652" y="105"/>
                      <a:pt x="641" y="117"/>
                    </a:cubicBezTo>
                    <a:cubicBezTo>
                      <a:pt x="629" y="129"/>
                      <a:pt x="556" y="202"/>
                      <a:pt x="556" y="202"/>
                    </a:cubicBezTo>
                    <a:cubicBezTo>
                      <a:pt x="556" y="202"/>
                      <a:pt x="545" y="212"/>
                      <a:pt x="529" y="212"/>
                    </a:cubicBezTo>
                    <a:cubicBezTo>
                      <a:pt x="526" y="212"/>
                      <a:pt x="21" y="212"/>
                      <a:pt x="21" y="212"/>
                    </a:cubicBezTo>
                    <a:cubicBezTo>
                      <a:pt x="9" y="212"/>
                      <a:pt x="0" y="202"/>
                      <a:pt x="0" y="191"/>
                    </a:cubicBezTo>
                    <a:cubicBezTo>
                      <a:pt x="0" y="22"/>
                      <a:pt x="0" y="22"/>
                      <a:pt x="0" y="22"/>
                    </a:cubicBezTo>
                    <a:cubicBezTo>
                      <a:pt x="0" y="10"/>
                      <a:pt x="9" y="0"/>
                      <a:pt x="21" y="0"/>
                    </a:cubicBezTo>
                    <a:cubicBezTo>
                      <a:pt x="21" y="0"/>
                      <a:pt x="525" y="0"/>
                      <a:pt x="529" y="0"/>
                    </a:cubicBezTo>
                    <a:cubicBezTo>
                      <a:pt x="546" y="0"/>
                      <a:pt x="556" y="11"/>
                      <a:pt x="556" y="11"/>
                    </a:cubicBezTo>
                    <a:close/>
                  </a:path>
                </a:pathLst>
              </a:custGeom>
              <a:solidFill>
                <a:srgbClr val="D5E4AF"/>
              </a:solidFill>
              <a:ln w="9525" cap="flat" cmpd="sng" algn="ctr">
                <a:noFill/>
                <a:prstDash val="solid"/>
                <a:round/>
                <a:headEnd type="none" w="med" len="med"/>
                <a:tailEnd type="none" w="med" len="med"/>
              </a:ln>
              <a:effectLst/>
            </p:spPr>
            <p:txBody>
              <a:bodyPr lIns="91407" tIns="45705" rIns="91407" bIns="45705" anchor="ctr"/>
              <a:lstStyle/>
              <a:p>
                <a:pPr algn="ctr" defTabSz="914939">
                  <a:spcBef>
                    <a:spcPct val="50000"/>
                  </a:spcBef>
                  <a:defRPr/>
                </a:pPr>
                <a:endParaRPr lang="en-US" sz="1800" kern="0" cap="all" dirty="0">
                  <a:solidFill>
                    <a:srgbClr val="D5E4AF"/>
                  </a:solidFill>
                  <a:latin typeface="Arial"/>
                  <a:cs typeface="Times New Roman" pitchFamily="18" charset="0"/>
                </a:endParaRPr>
              </a:p>
            </p:txBody>
          </p:sp>
          <p:sp>
            <p:nvSpPr>
              <p:cNvPr id="63" name="TextBox 23"/>
              <p:cNvSpPr txBox="1">
                <a:spLocks noChangeArrowheads="1"/>
              </p:cNvSpPr>
              <p:nvPr/>
            </p:nvSpPr>
            <p:spPr bwMode="auto">
              <a:xfrm>
                <a:off x="1417727" y="1779672"/>
                <a:ext cx="2122487" cy="707856"/>
              </a:xfrm>
              <a:prstGeom prst="rect">
                <a:avLst/>
              </a:prstGeom>
              <a:noFill/>
              <a:ln>
                <a:noFill/>
              </a:ln>
              <a:extLst>
                <a:ext uri="{909E8E84-426E-40DD-AFC4-6F175D3DCCD1}">
                  <a14:hiddenFill xmlns:a14="http://schemas.microsoft.com/office/drawing/2010/main">
                    <a:solidFill>
                      <a:srgbClr val="00A9D4"/>
                    </a:solidFill>
                  </a14:hiddenFill>
                </a:ext>
                <a:ext uri="{91240B29-F687-4F45-9708-019B960494DF}">
                  <a14:hiddenLine xmlns:a14="http://schemas.microsoft.com/office/drawing/2010/main" w="9525">
                    <a:solidFill>
                      <a:srgbClr val="000000"/>
                    </a:solidFill>
                    <a:miter lim="800000"/>
                    <a:headEnd/>
                    <a:tailEnd/>
                  </a14:hiddenLine>
                </a:ext>
              </a:extLst>
            </p:spPr>
            <p:txBody>
              <a:bodyPr lIns="91407" tIns="45705" rIns="91407" bIns="45705">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lang="en-US" b="1">
                    <a:solidFill>
                      <a:srgbClr val="89BA17"/>
                    </a:solidFill>
                    <a:cs typeface="Arial" pitchFamily="34" charset="0"/>
                  </a:rPr>
                  <a:t>User Experience</a:t>
                </a:r>
              </a:p>
            </p:txBody>
          </p:sp>
          <p:sp>
            <p:nvSpPr>
              <p:cNvPr id="64" name="Freeform 3"/>
              <p:cNvSpPr>
                <a:spLocks noChangeAspect="1" noEditPoints="1"/>
              </p:cNvSpPr>
              <p:nvPr/>
            </p:nvSpPr>
            <p:spPr bwMode="auto">
              <a:xfrm>
                <a:off x="797534" y="1739894"/>
                <a:ext cx="669844" cy="787300"/>
              </a:xfrm>
              <a:custGeom>
                <a:avLst/>
                <a:gdLst>
                  <a:gd name="T0" fmla="*/ 2147483647 w 384"/>
                  <a:gd name="T1" fmla="*/ 2147483647 h 451"/>
                  <a:gd name="T2" fmla="*/ 2147483647 w 384"/>
                  <a:gd name="T3" fmla="*/ 2147483647 h 451"/>
                  <a:gd name="T4" fmla="*/ 2147483647 w 384"/>
                  <a:gd name="T5" fmla="*/ 2147483647 h 451"/>
                  <a:gd name="T6" fmla="*/ 2147483647 w 384"/>
                  <a:gd name="T7" fmla="*/ 2147483647 h 451"/>
                  <a:gd name="T8" fmla="*/ 2147483647 w 384"/>
                  <a:gd name="T9" fmla="*/ 2147483647 h 451"/>
                  <a:gd name="T10" fmla="*/ 2147483647 w 384"/>
                  <a:gd name="T11" fmla="*/ 2147483647 h 451"/>
                  <a:gd name="T12" fmla="*/ 2147483647 w 384"/>
                  <a:gd name="T13" fmla="*/ 2147483647 h 451"/>
                  <a:gd name="T14" fmla="*/ 2147483647 w 384"/>
                  <a:gd name="T15" fmla="*/ 2147483647 h 451"/>
                  <a:gd name="T16" fmla="*/ 2147483647 w 384"/>
                  <a:gd name="T17" fmla="*/ 2147483647 h 451"/>
                  <a:gd name="T18" fmla="*/ 2147483647 w 384"/>
                  <a:gd name="T19" fmla="*/ 2147483647 h 451"/>
                  <a:gd name="T20" fmla="*/ 2147483647 w 384"/>
                  <a:gd name="T21" fmla="*/ 2147483647 h 451"/>
                  <a:gd name="T22" fmla="*/ 0 w 384"/>
                  <a:gd name="T23" fmla="*/ 2147483647 h 451"/>
                  <a:gd name="T24" fmla="*/ 0 w 384"/>
                  <a:gd name="T25" fmla="*/ 2147483647 h 451"/>
                  <a:gd name="T26" fmla="*/ 2147483647 w 384"/>
                  <a:gd name="T27" fmla="*/ 2147483647 h 451"/>
                  <a:gd name="T28" fmla="*/ 2147483647 w 384"/>
                  <a:gd name="T29" fmla="*/ 2147483647 h 451"/>
                  <a:gd name="T30" fmla="*/ 2147483647 w 384"/>
                  <a:gd name="T31" fmla="*/ 2147483647 h 451"/>
                  <a:gd name="T32" fmla="*/ 2147483647 w 384"/>
                  <a:gd name="T33" fmla="*/ 2147483647 h 451"/>
                  <a:gd name="T34" fmla="*/ 2147483647 w 384"/>
                  <a:gd name="T35" fmla="*/ 2147483647 h 451"/>
                  <a:gd name="T36" fmla="*/ 2147483647 w 384"/>
                  <a:gd name="T37" fmla="*/ 2147483647 h 451"/>
                  <a:gd name="T38" fmla="*/ 2147483647 w 384"/>
                  <a:gd name="T39" fmla="*/ 2147483647 h 451"/>
                  <a:gd name="T40" fmla="*/ 2147483647 w 384"/>
                  <a:gd name="T41" fmla="*/ 2147483647 h 451"/>
                  <a:gd name="T42" fmla="*/ 2147483647 w 384"/>
                  <a:gd name="T43" fmla="*/ 2147483647 h 451"/>
                  <a:gd name="T44" fmla="*/ 2147483647 w 384"/>
                  <a:gd name="T45" fmla="*/ 2147483647 h 451"/>
                  <a:gd name="T46" fmla="*/ 2147483647 w 384"/>
                  <a:gd name="T47" fmla="*/ 2147483647 h 451"/>
                  <a:gd name="T48" fmla="*/ 2147483647 w 384"/>
                  <a:gd name="T49" fmla="*/ 2147483647 h 451"/>
                  <a:gd name="T50" fmla="*/ 2147483647 w 384"/>
                  <a:gd name="T51" fmla="*/ 2147483647 h 451"/>
                  <a:gd name="T52" fmla="*/ 2147483647 w 384"/>
                  <a:gd name="T53" fmla="*/ 2147483647 h 451"/>
                  <a:gd name="T54" fmla="*/ 2147483647 w 384"/>
                  <a:gd name="T55" fmla="*/ 2147483647 h 451"/>
                  <a:gd name="T56" fmla="*/ 2147483647 w 384"/>
                  <a:gd name="T57" fmla="*/ 2147483647 h 451"/>
                  <a:gd name="T58" fmla="*/ 2147483647 w 384"/>
                  <a:gd name="T59" fmla="*/ 2147483647 h 451"/>
                  <a:gd name="T60" fmla="*/ 2147483647 w 384"/>
                  <a:gd name="T61" fmla="*/ 2147483647 h 451"/>
                  <a:gd name="T62" fmla="*/ 2147483647 w 384"/>
                  <a:gd name="T63" fmla="*/ 2147483647 h 451"/>
                  <a:gd name="T64" fmla="*/ 2147483647 w 384"/>
                  <a:gd name="T65" fmla="*/ 2147483647 h 451"/>
                  <a:gd name="T66" fmla="*/ 2147483647 w 384"/>
                  <a:gd name="T67" fmla="*/ 2147483647 h 451"/>
                  <a:gd name="T68" fmla="*/ 2147483647 w 384"/>
                  <a:gd name="T69" fmla="*/ 2147483647 h 451"/>
                  <a:gd name="T70" fmla="*/ 2147483647 w 384"/>
                  <a:gd name="T71" fmla="*/ 2147483647 h 451"/>
                  <a:gd name="T72" fmla="*/ 2147483647 w 384"/>
                  <a:gd name="T73" fmla="*/ 2147483647 h 451"/>
                  <a:gd name="T74" fmla="*/ 2147483647 w 384"/>
                  <a:gd name="T75" fmla="*/ 2147483647 h 451"/>
                  <a:gd name="T76" fmla="*/ 2147483647 w 384"/>
                  <a:gd name="T77" fmla="*/ 2147483647 h 451"/>
                  <a:gd name="T78" fmla="*/ 2147483647 w 384"/>
                  <a:gd name="T79" fmla="*/ 2147483647 h 451"/>
                  <a:gd name="T80" fmla="*/ 2147483647 w 384"/>
                  <a:gd name="T81" fmla="*/ 2147483647 h 451"/>
                  <a:gd name="T82" fmla="*/ 2147483647 w 384"/>
                  <a:gd name="T83" fmla="*/ 2147483647 h 451"/>
                  <a:gd name="T84" fmla="*/ 2147483647 w 384"/>
                  <a:gd name="T85" fmla="*/ 2147483647 h 451"/>
                  <a:gd name="T86" fmla="*/ 2147483647 w 384"/>
                  <a:gd name="T87" fmla="*/ 2147483647 h 451"/>
                  <a:gd name="T88" fmla="*/ 2147483647 w 384"/>
                  <a:gd name="T89" fmla="*/ 2147483647 h 451"/>
                  <a:gd name="T90" fmla="*/ 2147483647 w 384"/>
                  <a:gd name="T91" fmla="*/ 2147483647 h 451"/>
                  <a:gd name="T92" fmla="*/ 2147483647 w 384"/>
                  <a:gd name="T93" fmla="*/ 2147483647 h 45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84" h="451">
                    <a:moveTo>
                      <a:pt x="240" y="101"/>
                    </a:moveTo>
                    <a:cubicBezTo>
                      <a:pt x="236" y="101"/>
                      <a:pt x="232" y="104"/>
                      <a:pt x="232" y="109"/>
                    </a:cubicBezTo>
                    <a:cubicBezTo>
                      <a:pt x="231" y="113"/>
                      <a:pt x="235" y="117"/>
                      <a:pt x="239" y="117"/>
                    </a:cubicBezTo>
                    <a:cubicBezTo>
                      <a:pt x="303" y="122"/>
                      <a:pt x="368" y="172"/>
                      <a:pt x="368" y="259"/>
                    </a:cubicBezTo>
                    <a:cubicBezTo>
                      <a:pt x="368" y="275"/>
                      <a:pt x="366" y="290"/>
                      <a:pt x="362" y="305"/>
                    </a:cubicBezTo>
                    <a:cubicBezTo>
                      <a:pt x="361" y="291"/>
                      <a:pt x="351" y="279"/>
                      <a:pt x="341" y="274"/>
                    </a:cubicBezTo>
                    <a:cubicBezTo>
                      <a:pt x="347" y="267"/>
                      <a:pt x="350" y="258"/>
                      <a:pt x="350" y="248"/>
                    </a:cubicBezTo>
                    <a:cubicBezTo>
                      <a:pt x="350" y="225"/>
                      <a:pt x="331" y="207"/>
                      <a:pt x="309" y="207"/>
                    </a:cubicBezTo>
                    <a:cubicBezTo>
                      <a:pt x="286" y="207"/>
                      <a:pt x="267" y="225"/>
                      <a:pt x="267" y="248"/>
                    </a:cubicBezTo>
                    <a:cubicBezTo>
                      <a:pt x="267" y="258"/>
                      <a:pt x="271" y="267"/>
                      <a:pt x="277" y="275"/>
                    </a:cubicBezTo>
                    <a:cubicBezTo>
                      <a:pt x="269" y="279"/>
                      <a:pt x="260" y="287"/>
                      <a:pt x="258" y="301"/>
                    </a:cubicBezTo>
                    <a:cubicBezTo>
                      <a:pt x="252" y="294"/>
                      <a:pt x="245" y="289"/>
                      <a:pt x="239" y="286"/>
                    </a:cubicBezTo>
                    <a:cubicBezTo>
                      <a:pt x="249" y="274"/>
                      <a:pt x="256" y="259"/>
                      <a:pt x="256" y="243"/>
                    </a:cubicBezTo>
                    <a:cubicBezTo>
                      <a:pt x="256" y="208"/>
                      <a:pt x="227" y="180"/>
                      <a:pt x="192" y="180"/>
                    </a:cubicBezTo>
                    <a:cubicBezTo>
                      <a:pt x="158" y="180"/>
                      <a:pt x="129" y="208"/>
                      <a:pt x="129" y="243"/>
                    </a:cubicBezTo>
                    <a:cubicBezTo>
                      <a:pt x="129" y="259"/>
                      <a:pt x="136" y="274"/>
                      <a:pt x="146" y="286"/>
                    </a:cubicBezTo>
                    <a:cubicBezTo>
                      <a:pt x="140" y="289"/>
                      <a:pt x="133" y="294"/>
                      <a:pt x="127" y="301"/>
                    </a:cubicBezTo>
                    <a:cubicBezTo>
                      <a:pt x="125" y="287"/>
                      <a:pt x="116" y="279"/>
                      <a:pt x="108" y="275"/>
                    </a:cubicBezTo>
                    <a:cubicBezTo>
                      <a:pt x="114" y="267"/>
                      <a:pt x="118" y="258"/>
                      <a:pt x="118" y="248"/>
                    </a:cubicBezTo>
                    <a:cubicBezTo>
                      <a:pt x="118" y="225"/>
                      <a:pt x="99" y="207"/>
                      <a:pt x="76" y="207"/>
                    </a:cubicBezTo>
                    <a:cubicBezTo>
                      <a:pt x="54" y="207"/>
                      <a:pt x="35" y="225"/>
                      <a:pt x="35" y="248"/>
                    </a:cubicBezTo>
                    <a:cubicBezTo>
                      <a:pt x="35" y="258"/>
                      <a:pt x="38" y="267"/>
                      <a:pt x="44" y="274"/>
                    </a:cubicBezTo>
                    <a:cubicBezTo>
                      <a:pt x="34" y="279"/>
                      <a:pt x="24" y="292"/>
                      <a:pt x="23" y="307"/>
                    </a:cubicBezTo>
                    <a:cubicBezTo>
                      <a:pt x="18" y="292"/>
                      <a:pt x="16" y="276"/>
                      <a:pt x="16" y="260"/>
                    </a:cubicBezTo>
                    <a:cubicBezTo>
                      <a:pt x="16" y="124"/>
                      <a:pt x="106" y="90"/>
                      <a:pt x="162" y="83"/>
                    </a:cubicBezTo>
                    <a:cubicBezTo>
                      <a:pt x="166" y="99"/>
                      <a:pt x="166" y="99"/>
                      <a:pt x="166" y="99"/>
                    </a:cubicBezTo>
                    <a:cubicBezTo>
                      <a:pt x="167" y="102"/>
                      <a:pt x="169" y="104"/>
                      <a:pt x="172" y="105"/>
                    </a:cubicBezTo>
                    <a:cubicBezTo>
                      <a:pt x="175" y="106"/>
                      <a:pt x="178" y="104"/>
                      <a:pt x="180" y="102"/>
                    </a:cubicBezTo>
                    <a:cubicBezTo>
                      <a:pt x="225" y="43"/>
                      <a:pt x="225" y="43"/>
                      <a:pt x="225" y="43"/>
                    </a:cubicBezTo>
                    <a:cubicBezTo>
                      <a:pt x="226" y="41"/>
                      <a:pt x="227" y="38"/>
                      <a:pt x="226" y="36"/>
                    </a:cubicBezTo>
                    <a:cubicBezTo>
                      <a:pt x="226" y="34"/>
                      <a:pt x="224" y="32"/>
                      <a:pt x="222" y="31"/>
                    </a:cubicBezTo>
                    <a:cubicBezTo>
                      <a:pt x="154" y="1"/>
                      <a:pt x="154" y="1"/>
                      <a:pt x="154" y="1"/>
                    </a:cubicBezTo>
                    <a:cubicBezTo>
                      <a:pt x="151" y="0"/>
                      <a:pt x="148" y="1"/>
                      <a:pt x="145" y="3"/>
                    </a:cubicBezTo>
                    <a:cubicBezTo>
                      <a:pt x="143" y="5"/>
                      <a:pt x="142" y="8"/>
                      <a:pt x="143" y="11"/>
                    </a:cubicBezTo>
                    <a:cubicBezTo>
                      <a:pt x="147" y="26"/>
                      <a:pt x="147" y="26"/>
                      <a:pt x="147" y="26"/>
                    </a:cubicBezTo>
                    <a:cubicBezTo>
                      <a:pt x="108" y="38"/>
                      <a:pt x="1" y="115"/>
                      <a:pt x="0" y="258"/>
                    </a:cubicBezTo>
                    <a:cubicBezTo>
                      <a:pt x="0" y="259"/>
                      <a:pt x="0" y="259"/>
                      <a:pt x="0" y="259"/>
                    </a:cubicBezTo>
                    <a:cubicBezTo>
                      <a:pt x="0" y="259"/>
                      <a:pt x="0" y="259"/>
                      <a:pt x="0" y="259"/>
                    </a:cubicBezTo>
                    <a:cubicBezTo>
                      <a:pt x="0" y="259"/>
                      <a:pt x="0" y="259"/>
                      <a:pt x="0" y="259"/>
                    </a:cubicBezTo>
                    <a:cubicBezTo>
                      <a:pt x="0" y="259"/>
                      <a:pt x="0" y="259"/>
                      <a:pt x="0" y="259"/>
                    </a:cubicBezTo>
                    <a:cubicBezTo>
                      <a:pt x="0" y="365"/>
                      <a:pt x="86" y="451"/>
                      <a:pt x="192" y="451"/>
                    </a:cubicBezTo>
                    <a:cubicBezTo>
                      <a:pt x="298" y="451"/>
                      <a:pt x="384" y="365"/>
                      <a:pt x="384" y="259"/>
                    </a:cubicBezTo>
                    <a:cubicBezTo>
                      <a:pt x="384" y="162"/>
                      <a:pt x="312" y="107"/>
                      <a:pt x="240" y="101"/>
                    </a:cubicBezTo>
                    <a:close/>
                    <a:moveTo>
                      <a:pt x="159" y="39"/>
                    </a:moveTo>
                    <a:cubicBezTo>
                      <a:pt x="161" y="39"/>
                      <a:pt x="163" y="37"/>
                      <a:pt x="164" y="35"/>
                    </a:cubicBezTo>
                    <a:cubicBezTo>
                      <a:pt x="165" y="34"/>
                      <a:pt x="165" y="31"/>
                      <a:pt x="165" y="29"/>
                    </a:cubicBezTo>
                    <a:cubicBezTo>
                      <a:pt x="163" y="23"/>
                      <a:pt x="163" y="23"/>
                      <a:pt x="163" y="23"/>
                    </a:cubicBezTo>
                    <a:cubicBezTo>
                      <a:pt x="206" y="41"/>
                      <a:pt x="206" y="41"/>
                      <a:pt x="206" y="41"/>
                    </a:cubicBezTo>
                    <a:cubicBezTo>
                      <a:pt x="177" y="79"/>
                      <a:pt x="177" y="79"/>
                      <a:pt x="177" y="79"/>
                    </a:cubicBezTo>
                    <a:cubicBezTo>
                      <a:pt x="176" y="74"/>
                      <a:pt x="176" y="74"/>
                      <a:pt x="176" y="74"/>
                    </a:cubicBezTo>
                    <a:cubicBezTo>
                      <a:pt x="175" y="71"/>
                      <a:pt x="172" y="68"/>
                      <a:pt x="169" y="68"/>
                    </a:cubicBezTo>
                    <a:cubicBezTo>
                      <a:pt x="169" y="68"/>
                      <a:pt x="168" y="68"/>
                      <a:pt x="167" y="68"/>
                    </a:cubicBezTo>
                    <a:cubicBezTo>
                      <a:pt x="163" y="69"/>
                      <a:pt x="163" y="69"/>
                      <a:pt x="163" y="69"/>
                    </a:cubicBezTo>
                    <a:cubicBezTo>
                      <a:pt x="143" y="71"/>
                      <a:pt x="106" y="75"/>
                      <a:pt x="75" y="99"/>
                    </a:cubicBezTo>
                    <a:cubicBezTo>
                      <a:pt x="110" y="51"/>
                      <a:pt x="158" y="39"/>
                      <a:pt x="159" y="39"/>
                    </a:cubicBezTo>
                    <a:close/>
                    <a:moveTo>
                      <a:pt x="76" y="223"/>
                    </a:moveTo>
                    <a:cubicBezTo>
                      <a:pt x="90" y="223"/>
                      <a:pt x="102" y="234"/>
                      <a:pt x="102" y="248"/>
                    </a:cubicBezTo>
                    <a:cubicBezTo>
                      <a:pt x="102" y="262"/>
                      <a:pt x="90" y="273"/>
                      <a:pt x="76" y="273"/>
                    </a:cubicBezTo>
                    <a:cubicBezTo>
                      <a:pt x="62" y="273"/>
                      <a:pt x="51" y="262"/>
                      <a:pt x="51" y="248"/>
                    </a:cubicBezTo>
                    <a:cubicBezTo>
                      <a:pt x="51" y="234"/>
                      <a:pt x="62" y="223"/>
                      <a:pt x="76" y="223"/>
                    </a:cubicBezTo>
                    <a:close/>
                    <a:moveTo>
                      <a:pt x="112" y="415"/>
                    </a:moveTo>
                    <a:cubicBezTo>
                      <a:pt x="111" y="415"/>
                      <a:pt x="111" y="415"/>
                      <a:pt x="111" y="415"/>
                    </a:cubicBezTo>
                    <a:cubicBezTo>
                      <a:pt x="109" y="414"/>
                      <a:pt x="107" y="413"/>
                      <a:pt x="106" y="412"/>
                    </a:cubicBezTo>
                    <a:cubicBezTo>
                      <a:pt x="105" y="412"/>
                      <a:pt x="104" y="411"/>
                      <a:pt x="103" y="410"/>
                    </a:cubicBezTo>
                    <a:cubicBezTo>
                      <a:pt x="100" y="409"/>
                      <a:pt x="98" y="407"/>
                      <a:pt x="95" y="406"/>
                    </a:cubicBezTo>
                    <a:cubicBezTo>
                      <a:pt x="94" y="405"/>
                      <a:pt x="93" y="404"/>
                      <a:pt x="91" y="403"/>
                    </a:cubicBezTo>
                    <a:cubicBezTo>
                      <a:pt x="89" y="402"/>
                      <a:pt x="88" y="401"/>
                      <a:pt x="86" y="399"/>
                    </a:cubicBezTo>
                    <a:cubicBezTo>
                      <a:pt x="84" y="398"/>
                      <a:pt x="83" y="397"/>
                      <a:pt x="81" y="395"/>
                    </a:cubicBezTo>
                    <a:cubicBezTo>
                      <a:pt x="80" y="395"/>
                      <a:pt x="80" y="394"/>
                      <a:pt x="79" y="394"/>
                    </a:cubicBezTo>
                    <a:cubicBezTo>
                      <a:pt x="63" y="380"/>
                      <a:pt x="49" y="364"/>
                      <a:pt x="39" y="345"/>
                    </a:cubicBezTo>
                    <a:cubicBezTo>
                      <a:pt x="39" y="309"/>
                      <a:pt x="39" y="309"/>
                      <a:pt x="39" y="309"/>
                    </a:cubicBezTo>
                    <a:cubicBezTo>
                      <a:pt x="39" y="297"/>
                      <a:pt x="50" y="287"/>
                      <a:pt x="55" y="286"/>
                    </a:cubicBezTo>
                    <a:cubicBezTo>
                      <a:pt x="56" y="286"/>
                      <a:pt x="57" y="285"/>
                      <a:pt x="58" y="285"/>
                    </a:cubicBezTo>
                    <a:cubicBezTo>
                      <a:pt x="63" y="288"/>
                      <a:pt x="70" y="289"/>
                      <a:pt x="76" y="289"/>
                    </a:cubicBezTo>
                    <a:cubicBezTo>
                      <a:pt x="83" y="289"/>
                      <a:pt x="88" y="288"/>
                      <a:pt x="94" y="286"/>
                    </a:cubicBezTo>
                    <a:cubicBezTo>
                      <a:pt x="94" y="286"/>
                      <a:pt x="94" y="286"/>
                      <a:pt x="94" y="286"/>
                    </a:cubicBezTo>
                    <a:cubicBezTo>
                      <a:pt x="104" y="290"/>
                      <a:pt x="112" y="294"/>
                      <a:pt x="112" y="308"/>
                    </a:cubicBezTo>
                    <a:lnTo>
                      <a:pt x="112" y="415"/>
                    </a:lnTo>
                    <a:close/>
                    <a:moveTo>
                      <a:pt x="145" y="243"/>
                    </a:moveTo>
                    <a:cubicBezTo>
                      <a:pt x="145" y="217"/>
                      <a:pt x="167" y="196"/>
                      <a:pt x="192" y="196"/>
                    </a:cubicBezTo>
                    <a:cubicBezTo>
                      <a:pt x="218" y="196"/>
                      <a:pt x="240" y="217"/>
                      <a:pt x="240" y="243"/>
                    </a:cubicBezTo>
                    <a:cubicBezTo>
                      <a:pt x="240" y="269"/>
                      <a:pt x="218" y="290"/>
                      <a:pt x="192" y="290"/>
                    </a:cubicBezTo>
                    <a:cubicBezTo>
                      <a:pt x="167" y="290"/>
                      <a:pt x="145" y="269"/>
                      <a:pt x="145" y="243"/>
                    </a:cubicBezTo>
                    <a:close/>
                    <a:moveTo>
                      <a:pt x="257" y="422"/>
                    </a:moveTo>
                    <a:cubicBezTo>
                      <a:pt x="256" y="423"/>
                      <a:pt x="255" y="423"/>
                      <a:pt x="253" y="424"/>
                    </a:cubicBezTo>
                    <a:cubicBezTo>
                      <a:pt x="253" y="424"/>
                      <a:pt x="252" y="424"/>
                      <a:pt x="252" y="424"/>
                    </a:cubicBezTo>
                    <a:cubicBezTo>
                      <a:pt x="250" y="425"/>
                      <a:pt x="248" y="426"/>
                      <a:pt x="247" y="426"/>
                    </a:cubicBezTo>
                    <a:cubicBezTo>
                      <a:pt x="245" y="427"/>
                      <a:pt x="244" y="427"/>
                      <a:pt x="243" y="427"/>
                    </a:cubicBezTo>
                    <a:cubicBezTo>
                      <a:pt x="242" y="428"/>
                      <a:pt x="241" y="428"/>
                      <a:pt x="240" y="428"/>
                    </a:cubicBezTo>
                    <a:cubicBezTo>
                      <a:pt x="238" y="429"/>
                      <a:pt x="236" y="429"/>
                      <a:pt x="234" y="430"/>
                    </a:cubicBezTo>
                    <a:cubicBezTo>
                      <a:pt x="234" y="430"/>
                      <a:pt x="233" y="430"/>
                      <a:pt x="233" y="430"/>
                    </a:cubicBezTo>
                    <a:cubicBezTo>
                      <a:pt x="218" y="434"/>
                      <a:pt x="202" y="435"/>
                      <a:pt x="186" y="435"/>
                    </a:cubicBezTo>
                    <a:cubicBezTo>
                      <a:pt x="186" y="435"/>
                      <a:pt x="185" y="435"/>
                      <a:pt x="185" y="435"/>
                    </a:cubicBezTo>
                    <a:cubicBezTo>
                      <a:pt x="183" y="435"/>
                      <a:pt x="180" y="434"/>
                      <a:pt x="178" y="434"/>
                    </a:cubicBezTo>
                    <a:cubicBezTo>
                      <a:pt x="178" y="434"/>
                      <a:pt x="177" y="434"/>
                      <a:pt x="176" y="434"/>
                    </a:cubicBezTo>
                    <a:cubicBezTo>
                      <a:pt x="174" y="434"/>
                      <a:pt x="172" y="434"/>
                      <a:pt x="170" y="433"/>
                    </a:cubicBezTo>
                    <a:cubicBezTo>
                      <a:pt x="169" y="433"/>
                      <a:pt x="168" y="433"/>
                      <a:pt x="168" y="433"/>
                    </a:cubicBezTo>
                    <a:cubicBezTo>
                      <a:pt x="166" y="433"/>
                      <a:pt x="163" y="433"/>
                      <a:pt x="161" y="432"/>
                    </a:cubicBezTo>
                    <a:cubicBezTo>
                      <a:pt x="161" y="432"/>
                      <a:pt x="160" y="432"/>
                      <a:pt x="159" y="432"/>
                    </a:cubicBezTo>
                    <a:cubicBezTo>
                      <a:pt x="157" y="431"/>
                      <a:pt x="155" y="431"/>
                      <a:pt x="153" y="430"/>
                    </a:cubicBezTo>
                    <a:cubicBezTo>
                      <a:pt x="152" y="430"/>
                      <a:pt x="152" y="430"/>
                      <a:pt x="151" y="430"/>
                    </a:cubicBezTo>
                    <a:cubicBezTo>
                      <a:pt x="149" y="430"/>
                      <a:pt x="147" y="429"/>
                      <a:pt x="145" y="428"/>
                    </a:cubicBezTo>
                    <a:cubicBezTo>
                      <a:pt x="144" y="428"/>
                      <a:pt x="144" y="428"/>
                      <a:pt x="143" y="428"/>
                    </a:cubicBezTo>
                    <a:cubicBezTo>
                      <a:pt x="141" y="427"/>
                      <a:pt x="139" y="427"/>
                      <a:pt x="136" y="426"/>
                    </a:cubicBezTo>
                    <a:cubicBezTo>
                      <a:pt x="136" y="426"/>
                      <a:pt x="136" y="426"/>
                      <a:pt x="135" y="425"/>
                    </a:cubicBezTo>
                    <a:cubicBezTo>
                      <a:pt x="133" y="425"/>
                      <a:pt x="131" y="424"/>
                      <a:pt x="128" y="423"/>
                    </a:cubicBezTo>
                    <a:cubicBezTo>
                      <a:pt x="128" y="423"/>
                      <a:pt x="128" y="423"/>
                      <a:pt x="128" y="423"/>
                    </a:cubicBezTo>
                    <a:cubicBezTo>
                      <a:pt x="128" y="340"/>
                      <a:pt x="128" y="340"/>
                      <a:pt x="128" y="340"/>
                    </a:cubicBezTo>
                    <a:cubicBezTo>
                      <a:pt x="128" y="316"/>
                      <a:pt x="147" y="303"/>
                      <a:pt x="160" y="297"/>
                    </a:cubicBezTo>
                    <a:cubicBezTo>
                      <a:pt x="169" y="302"/>
                      <a:pt x="181" y="306"/>
                      <a:pt x="192" y="306"/>
                    </a:cubicBezTo>
                    <a:cubicBezTo>
                      <a:pt x="204" y="306"/>
                      <a:pt x="216" y="302"/>
                      <a:pt x="225" y="297"/>
                    </a:cubicBezTo>
                    <a:cubicBezTo>
                      <a:pt x="238" y="303"/>
                      <a:pt x="257" y="316"/>
                      <a:pt x="257" y="340"/>
                    </a:cubicBezTo>
                    <a:lnTo>
                      <a:pt x="257" y="422"/>
                    </a:lnTo>
                    <a:close/>
                    <a:moveTo>
                      <a:pt x="309" y="223"/>
                    </a:moveTo>
                    <a:cubicBezTo>
                      <a:pt x="323" y="223"/>
                      <a:pt x="334" y="234"/>
                      <a:pt x="334" y="248"/>
                    </a:cubicBezTo>
                    <a:cubicBezTo>
                      <a:pt x="334" y="262"/>
                      <a:pt x="323" y="273"/>
                      <a:pt x="309" y="273"/>
                    </a:cubicBezTo>
                    <a:cubicBezTo>
                      <a:pt x="295" y="273"/>
                      <a:pt x="283" y="262"/>
                      <a:pt x="283" y="248"/>
                    </a:cubicBezTo>
                    <a:cubicBezTo>
                      <a:pt x="283" y="234"/>
                      <a:pt x="295" y="223"/>
                      <a:pt x="309" y="223"/>
                    </a:cubicBezTo>
                    <a:close/>
                    <a:moveTo>
                      <a:pt x="346" y="344"/>
                    </a:moveTo>
                    <a:cubicBezTo>
                      <a:pt x="330" y="374"/>
                      <a:pt x="304" y="399"/>
                      <a:pt x="273" y="415"/>
                    </a:cubicBezTo>
                    <a:cubicBezTo>
                      <a:pt x="273" y="308"/>
                      <a:pt x="273" y="308"/>
                      <a:pt x="273" y="308"/>
                    </a:cubicBezTo>
                    <a:cubicBezTo>
                      <a:pt x="273" y="294"/>
                      <a:pt x="281" y="290"/>
                      <a:pt x="291" y="286"/>
                    </a:cubicBezTo>
                    <a:cubicBezTo>
                      <a:pt x="291" y="286"/>
                      <a:pt x="291" y="286"/>
                      <a:pt x="291" y="286"/>
                    </a:cubicBezTo>
                    <a:cubicBezTo>
                      <a:pt x="297" y="288"/>
                      <a:pt x="302" y="289"/>
                      <a:pt x="309" y="289"/>
                    </a:cubicBezTo>
                    <a:cubicBezTo>
                      <a:pt x="315" y="289"/>
                      <a:pt x="322" y="288"/>
                      <a:pt x="327" y="285"/>
                    </a:cubicBezTo>
                    <a:cubicBezTo>
                      <a:pt x="328" y="285"/>
                      <a:pt x="329" y="286"/>
                      <a:pt x="330" y="286"/>
                    </a:cubicBezTo>
                    <a:cubicBezTo>
                      <a:pt x="335" y="287"/>
                      <a:pt x="346" y="297"/>
                      <a:pt x="346" y="309"/>
                    </a:cubicBezTo>
                    <a:lnTo>
                      <a:pt x="346" y="344"/>
                    </a:lnTo>
                    <a:close/>
                    <a:moveTo>
                      <a:pt x="231" y="326"/>
                    </a:moveTo>
                    <a:cubicBezTo>
                      <a:pt x="227" y="326"/>
                      <a:pt x="223" y="330"/>
                      <a:pt x="223" y="334"/>
                    </a:cubicBezTo>
                    <a:cubicBezTo>
                      <a:pt x="223" y="406"/>
                      <a:pt x="223" y="406"/>
                      <a:pt x="223" y="406"/>
                    </a:cubicBezTo>
                    <a:cubicBezTo>
                      <a:pt x="223" y="410"/>
                      <a:pt x="227" y="414"/>
                      <a:pt x="231" y="414"/>
                    </a:cubicBezTo>
                    <a:cubicBezTo>
                      <a:pt x="236" y="414"/>
                      <a:pt x="239" y="410"/>
                      <a:pt x="239" y="406"/>
                    </a:cubicBezTo>
                    <a:cubicBezTo>
                      <a:pt x="239" y="334"/>
                      <a:pt x="239" y="334"/>
                      <a:pt x="239" y="334"/>
                    </a:cubicBezTo>
                    <a:cubicBezTo>
                      <a:pt x="239" y="330"/>
                      <a:pt x="236" y="326"/>
                      <a:pt x="231" y="326"/>
                    </a:cubicBezTo>
                    <a:close/>
                    <a:moveTo>
                      <a:pt x="153" y="326"/>
                    </a:moveTo>
                    <a:cubicBezTo>
                      <a:pt x="149" y="326"/>
                      <a:pt x="145" y="330"/>
                      <a:pt x="145" y="334"/>
                    </a:cubicBezTo>
                    <a:cubicBezTo>
                      <a:pt x="145" y="406"/>
                      <a:pt x="145" y="406"/>
                      <a:pt x="145" y="406"/>
                    </a:cubicBezTo>
                    <a:cubicBezTo>
                      <a:pt x="145" y="410"/>
                      <a:pt x="149" y="414"/>
                      <a:pt x="153" y="414"/>
                    </a:cubicBezTo>
                    <a:cubicBezTo>
                      <a:pt x="158" y="414"/>
                      <a:pt x="161" y="410"/>
                      <a:pt x="161" y="406"/>
                    </a:cubicBezTo>
                    <a:cubicBezTo>
                      <a:pt x="161" y="334"/>
                      <a:pt x="161" y="334"/>
                      <a:pt x="161" y="334"/>
                    </a:cubicBezTo>
                    <a:cubicBezTo>
                      <a:pt x="161" y="330"/>
                      <a:pt x="158" y="326"/>
                      <a:pt x="153" y="326"/>
                    </a:cubicBezTo>
                    <a:close/>
                  </a:path>
                </a:pathLst>
              </a:custGeom>
              <a:solidFill>
                <a:srgbClr val="89BA17"/>
              </a:solidFill>
              <a:ln w="9525" cap="flat" cmpd="sng" algn="ctr">
                <a:noFill/>
                <a:prstDash val="solid"/>
                <a:round/>
                <a:headEnd type="none" w="med" len="med"/>
                <a:tailEnd type="none" w="med" len="med"/>
              </a:ln>
              <a:effectLst/>
            </p:spPr>
            <p:txBody>
              <a:bodyPr lIns="91407" tIns="45705" rIns="91407" bIns="45705" anchor="ctr"/>
              <a:lstStyle/>
              <a:p>
                <a:pPr algn="ctr" defTabSz="914939">
                  <a:spcBef>
                    <a:spcPct val="50000"/>
                  </a:spcBef>
                  <a:defRPr/>
                </a:pPr>
                <a:endParaRPr lang="en-US" sz="2400" kern="0" cap="all">
                  <a:solidFill>
                    <a:srgbClr val="00285F"/>
                  </a:solidFill>
                  <a:latin typeface="Arial"/>
                  <a:cs typeface="Times New Roman" pitchFamily="18" charset="0"/>
                </a:endParaRPr>
              </a:p>
            </p:txBody>
          </p:sp>
        </p:grpSp>
        <p:grpSp>
          <p:nvGrpSpPr>
            <p:cNvPr id="39" name="Group 2"/>
            <p:cNvGrpSpPr>
              <a:grpSpLocks/>
            </p:cNvGrpSpPr>
            <p:nvPr/>
          </p:nvGrpSpPr>
          <p:grpSpPr bwMode="auto">
            <a:xfrm>
              <a:off x="601113" y="2822642"/>
              <a:ext cx="9171087" cy="1079389"/>
              <a:chOff x="601113" y="2823171"/>
              <a:chExt cx="9171087" cy="1079389"/>
            </a:xfrm>
          </p:grpSpPr>
          <p:sp>
            <p:nvSpPr>
              <p:cNvPr id="49" name="Rounded Rectangle 48"/>
              <p:cNvSpPr/>
              <p:nvPr/>
            </p:nvSpPr>
            <p:spPr bwMode="auto">
              <a:xfrm>
                <a:off x="3601143" y="2839958"/>
                <a:ext cx="6171057" cy="1045815"/>
              </a:xfrm>
              <a:prstGeom prst="roundRect">
                <a:avLst>
                  <a:gd name="adj" fmla="val 10368"/>
                </a:avLst>
              </a:prstGeom>
              <a:solidFill>
                <a:srgbClr val="5FBADD"/>
              </a:solidFill>
              <a:ln w="9525" cap="flat" cmpd="sng" algn="ctr">
                <a:noFill/>
                <a:prstDash val="solid"/>
                <a:round/>
                <a:headEnd type="none" w="med" len="med"/>
                <a:tailEnd type="none" w="med" len="med"/>
              </a:ln>
              <a:effectLst/>
            </p:spPr>
            <p:txBody>
              <a:bodyPr lIns="91407" tIns="45705" rIns="91407" bIns="45705" anchor="ctr"/>
              <a:lstStyle/>
              <a:p>
                <a:pPr algn="ctr" defTabSz="914939">
                  <a:spcBef>
                    <a:spcPct val="50000"/>
                  </a:spcBef>
                  <a:defRPr/>
                </a:pPr>
                <a:endParaRPr lang="en-US" sz="2400" kern="0" cap="all" dirty="0">
                  <a:solidFill>
                    <a:srgbClr val="00285F"/>
                  </a:solidFill>
                  <a:latin typeface="Arial"/>
                  <a:cs typeface="Times New Roman" pitchFamily="18" charset="0"/>
                </a:endParaRPr>
              </a:p>
            </p:txBody>
          </p:sp>
          <p:sp>
            <p:nvSpPr>
              <p:cNvPr id="54" name="Rectangle 53"/>
              <p:cNvSpPr/>
              <p:nvPr/>
            </p:nvSpPr>
            <p:spPr bwMode="auto">
              <a:xfrm>
                <a:off x="4037633" y="2839958"/>
                <a:ext cx="4581701" cy="1045815"/>
              </a:xfrm>
              <a:prstGeom prst="rect">
                <a:avLst/>
              </a:prstGeom>
              <a:solidFill>
                <a:srgbClr val="5FBADD"/>
              </a:solidFill>
              <a:ln w="9525" cap="flat" cmpd="sng" algn="ctr">
                <a:noFill/>
                <a:prstDash val="solid"/>
                <a:round/>
                <a:headEnd type="none" w="med" len="med"/>
                <a:tailEnd type="none" w="med" len="med"/>
              </a:ln>
              <a:effectLst/>
            </p:spPr>
            <p:txBody>
              <a:bodyPr lIns="91407" tIns="45705" rIns="91407" bIns="45705" anchor="ctr"/>
              <a:lstStyle/>
              <a:p>
                <a:pPr algn="ctr" defTabSz="914939">
                  <a:spcBef>
                    <a:spcPct val="50000"/>
                  </a:spcBef>
                  <a:defRPr/>
                </a:pPr>
                <a:endParaRPr lang="en-US" sz="2400" kern="0" cap="all" dirty="0">
                  <a:solidFill>
                    <a:srgbClr val="00285F"/>
                  </a:solidFill>
                  <a:latin typeface="Arial"/>
                  <a:cs typeface="Times New Roman" pitchFamily="18" charset="0"/>
                </a:endParaRPr>
              </a:p>
            </p:txBody>
          </p:sp>
          <p:sp>
            <p:nvSpPr>
              <p:cNvPr id="55" name="Oval 15"/>
              <p:cNvSpPr>
                <a:spLocks noChangeArrowheads="1"/>
              </p:cNvSpPr>
              <p:nvPr/>
            </p:nvSpPr>
            <p:spPr bwMode="auto">
              <a:xfrm>
                <a:off x="4005736" y="2823171"/>
                <a:ext cx="5621308" cy="1079389"/>
              </a:xfrm>
              <a:prstGeom prst="rect">
                <a:avLst/>
              </a:prstGeom>
              <a:noFill/>
              <a:ln w="25400" cap="flat" cmpd="sng" algn="ctr">
                <a:noFill/>
                <a:prstDash val="solid"/>
                <a:headEnd/>
                <a:tailEnd/>
              </a:ln>
              <a:effectLst/>
              <a:extLst>
                <a:ext uri="{91240B29-F687-4F45-9708-019B960494DF}">
                  <a14:hiddenLine xmlns:a14="http://schemas.microsoft.com/office/drawing/2010/main" w="25400" cap="flat" cmpd="sng" algn="ctr">
                    <a:solidFill>
                      <a:schemeClr val="accent2"/>
                    </a:solidFill>
                    <a:prstDash val="solid"/>
                    <a:headEnd/>
                    <a:tailEnd/>
                  </a14:hiddenLine>
                </a:ext>
              </a:extLst>
            </p:spPr>
            <p:style>
              <a:lnRef idx="2">
                <a:schemeClr val="accent2"/>
              </a:lnRef>
              <a:fillRef idx="1">
                <a:schemeClr val="lt1"/>
              </a:fillRef>
              <a:effectRef idx="0">
                <a:schemeClr val="accent2"/>
              </a:effectRef>
              <a:fontRef idx="minor">
                <a:schemeClr val="dk1"/>
              </a:fontRef>
            </p:style>
            <p:txBody>
              <a:bodyPr lIns="71974" tIns="45705" rIns="71974" bIns="45705" anchor="ctr"/>
              <a:lstStyle/>
              <a:p>
                <a:pPr marL="285750" indent="-285750" algn="l">
                  <a:spcAft>
                    <a:spcPts val="300"/>
                  </a:spcAft>
                  <a:buClr>
                    <a:srgbClr val="FFFFFF"/>
                  </a:buClr>
                  <a:buFont typeface="Arial" panose="020B0604020202020204" pitchFamily="34" charset="0"/>
                  <a:buChar char="›"/>
                  <a:defRPr/>
                </a:pPr>
                <a:r>
                  <a:rPr lang="en-US" sz="1800" dirty="0">
                    <a:solidFill>
                      <a:srgbClr val="FFFFFF"/>
                    </a:solidFill>
                    <a:ea typeface="MS PGothic" pitchFamily="34" charset="-128"/>
                  </a:rPr>
                  <a:t>Define a reference architecture that promotes integration of  OSS/BSS applications and seamless exchange of information</a:t>
                </a:r>
              </a:p>
            </p:txBody>
          </p:sp>
          <p:sp>
            <p:nvSpPr>
              <p:cNvPr id="56" name="Freeform 19"/>
              <p:cNvSpPr>
                <a:spLocks noChangeAspect="1"/>
              </p:cNvSpPr>
              <p:nvPr/>
            </p:nvSpPr>
            <p:spPr bwMode="auto">
              <a:xfrm>
                <a:off x="601113" y="2841636"/>
                <a:ext cx="3204845" cy="1042459"/>
              </a:xfrm>
              <a:custGeom>
                <a:avLst/>
                <a:gdLst>
                  <a:gd name="T0" fmla="*/ 2147483647 w 652"/>
                  <a:gd name="T1" fmla="*/ 2147483647 h 212"/>
                  <a:gd name="T2" fmla="*/ 2147483647 w 652"/>
                  <a:gd name="T3" fmla="*/ 2147483647 h 212"/>
                  <a:gd name="T4" fmla="*/ 2147483647 w 652"/>
                  <a:gd name="T5" fmla="*/ 2147483647 h 212"/>
                  <a:gd name="T6" fmla="*/ 2147483647 w 652"/>
                  <a:gd name="T7" fmla="*/ 2147483647 h 212"/>
                  <a:gd name="T8" fmla="*/ 2147483647 w 652"/>
                  <a:gd name="T9" fmla="*/ 2147483647 h 212"/>
                  <a:gd name="T10" fmla="*/ 2147483647 w 652"/>
                  <a:gd name="T11" fmla="*/ 2147483647 h 212"/>
                  <a:gd name="T12" fmla="*/ 0 w 652"/>
                  <a:gd name="T13" fmla="*/ 2147483647 h 212"/>
                  <a:gd name="T14" fmla="*/ 0 w 652"/>
                  <a:gd name="T15" fmla="*/ 2147483647 h 212"/>
                  <a:gd name="T16" fmla="*/ 2147483647 w 652"/>
                  <a:gd name="T17" fmla="*/ 0 h 212"/>
                  <a:gd name="T18" fmla="*/ 2147483647 w 652"/>
                  <a:gd name="T19" fmla="*/ 0 h 212"/>
                  <a:gd name="T20" fmla="*/ 2147483647 w 652"/>
                  <a:gd name="T21" fmla="*/ 2147483647 h 2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2"/>
                  <a:gd name="T34" fmla="*/ 0 h 212"/>
                  <a:gd name="T35" fmla="*/ 652 w 652"/>
                  <a:gd name="T36" fmla="*/ 212 h 2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2" h="212">
                    <a:moveTo>
                      <a:pt x="556" y="11"/>
                    </a:moveTo>
                    <a:cubicBezTo>
                      <a:pt x="641" y="95"/>
                      <a:pt x="641" y="95"/>
                      <a:pt x="641" y="95"/>
                    </a:cubicBezTo>
                    <a:cubicBezTo>
                      <a:pt x="641" y="95"/>
                      <a:pt x="652" y="105"/>
                      <a:pt x="641" y="117"/>
                    </a:cubicBezTo>
                    <a:cubicBezTo>
                      <a:pt x="629" y="129"/>
                      <a:pt x="556" y="202"/>
                      <a:pt x="556" y="202"/>
                    </a:cubicBezTo>
                    <a:cubicBezTo>
                      <a:pt x="556" y="202"/>
                      <a:pt x="545" y="212"/>
                      <a:pt x="529" y="212"/>
                    </a:cubicBezTo>
                    <a:cubicBezTo>
                      <a:pt x="526" y="212"/>
                      <a:pt x="21" y="212"/>
                      <a:pt x="21" y="212"/>
                    </a:cubicBezTo>
                    <a:cubicBezTo>
                      <a:pt x="9" y="212"/>
                      <a:pt x="0" y="202"/>
                      <a:pt x="0" y="191"/>
                    </a:cubicBezTo>
                    <a:cubicBezTo>
                      <a:pt x="0" y="22"/>
                      <a:pt x="0" y="22"/>
                      <a:pt x="0" y="22"/>
                    </a:cubicBezTo>
                    <a:cubicBezTo>
                      <a:pt x="0" y="10"/>
                      <a:pt x="9" y="0"/>
                      <a:pt x="21" y="0"/>
                    </a:cubicBezTo>
                    <a:cubicBezTo>
                      <a:pt x="21" y="0"/>
                      <a:pt x="525" y="0"/>
                      <a:pt x="529" y="0"/>
                    </a:cubicBezTo>
                    <a:cubicBezTo>
                      <a:pt x="546" y="0"/>
                      <a:pt x="556" y="11"/>
                      <a:pt x="556" y="11"/>
                    </a:cubicBezTo>
                    <a:close/>
                  </a:path>
                </a:pathLst>
              </a:custGeom>
              <a:solidFill>
                <a:srgbClr val="BADEEE"/>
              </a:solidFill>
              <a:ln w="9525" cap="flat" cmpd="sng" algn="ctr">
                <a:noFill/>
                <a:prstDash val="solid"/>
                <a:round/>
                <a:headEnd type="none" w="med" len="med"/>
                <a:tailEnd type="none" w="med" len="med"/>
              </a:ln>
              <a:effectLst/>
            </p:spPr>
            <p:txBody>
              <a:bodyPr lIns="91407" tIns="45705" rIns="91407" bIns="45705" anchor="ctr"/>
              <a:lstStyle/>
              <a:p>
                <a:pPr algn="ctr" defTabSz="914939">
                  <a:spcBef>
                    <a:spcPct val="50000"/>
                  </a:spcBef>
                  <a:defRPr/>
                </a:pPr>
                <a:endParaRPr lang="en-US" sz="1800" kern="0" cap="all" dirty="0">
                  <a:solidFill>
                    <a:srgbClr val="D5E4AF"/>
                  </a:solidFill>
                  <a:latin typeface="Arial"/>
                  <a:cs typeface="Times New Roman" pitchFamily="18" charset="0"/>
                </a:endParaRPr>
              </a:p>
            </p:txBody>
          </p:sp>
          <p:sp>
            <p:nvSpPr>
              <p:cNvPr id="57" name="TextBox 24"/>
              <p:cNvSpPr txBox="1">
                <a:spLocks noChangeArrowheads="1"/>
              </p:cNvSpPr>
              <p:nvPr/>
            </p:nvSpPr>
            <p:spPr bwMode="auto">
              <a:xfrm>
                <a:off x="1362958" y="3162286"/>
                <a:ext cx="2232025" cy="400079"/>
              </a:xfrm>
              <a:prstGeom prst="rect">
                <a:avLst/>
              </a:prstGeom>
              <a:noFill/>
              <a:ln>
                <a:noFill/>
              </a:ln>
              <a:extLst>
                <a:ext uri="{909E8E84-426E-40DD-AFC4-6F175D3DCCD1}">
                  <a14:hiddenFill xmlns:a14="http://schemas.microsoft.com/office/drawing/2010/main">
                    <a:solidFill>
                      <a:srgbClr val="00A9D4"/>
                    </a:solidFill>
                  </a14:hiddenFill>
                </a:ext>
                <a:ext uri="{91240B29-F687-4F45-9708-019B960494DF}">
                  <a14:hiddenLine xmlns:a14="http://schemas.microsoft.com/office/drawing/2010/main" w="9525">
                    <a:solidFill>
                      <a:srgbClr val="000000"/>
                    </a:solidFill>
                    <a:miter lim="800000"/>
                    <a:headEnd/>
                    <a:tailEnd/>
                  </a14:hiddenLine>
                </a:ext>
              </a:extLst>
            </p:spPr>
            <p:txBody>
              <a:bodyPr lIns="91407" tIns="45705" rIns="91407" bIns="45705">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lang="en-US" b="1">
                    <a:solidFill>
                      <a:srgbClr val="00A9D4"/>
                    </a:solidFill>
                    <a:cs typeface="Arial" pitchFamily="34" charset="0"/>
                  </a:rPr>
                  <a:t>Architecture</a:t>
                </a:r>
              </a:p>
            </p:txBody>
          </p:sp>
          <p:sp>
            <p:nvSpPr>
              <p:cNvPr id="58" name="Freeform 3"/>
              <p:cNvSpPr>
                <a:spLocks noChangeAspect="1" noEditPoints="1"/>
              </p:cNvSpPr>
              <p:nvPr/>
            </p:nvSpPr>
            <p:spPr bwMode="auto">
              <a:xfrm>
                <a:off x="768994" y="2999432"/>
                <a:ext cx="726924" cy="726868"/>
              </a:xfrm>
              <a:custGeom>
                <a:avLst/>
                <a:gdLst>
                  <a:gd name="T0" fmla="*/ 2147483647 w 499"/>
                  <a:gd name="T1" fmla="*/ 2147483647 h 500"/>
                  <a:gd name="T2" fmla="*/ 2147483647 w 499"/>
                  <a:gd name="T3" fmla="*/ 2147483647 h 500"/>
                  <a:gd name="T4" fmla="*/ 2147483647 w 499"/>
                  <a:gd name="T5" fmla="*/ 2147483647 h 500"/>
                  <a:gd name="T6" fmla="*/ 2147483647 w 499"/>
                  <a:gd name="T7" fmla="*/ 2147483647 h 500"/>
                  <a:gd name="T8" fmla="*/ 2147483647 w 499"/>
                  <a:gd name="T9" fmla="*/ 2147483647 h 500"/>
                  <a:gd name="T10" fmla="*/ 2147483647 w 499"/>
                  <a:gd name="T11" fmla="*/ 2147483647 h 500"/>
                  <a:gd name="T12" fmla="*/ 2147483647 w 499"/>
                  <a:gd name="T13" fmla="*/ 2147483647 h 500"/>
                  <a:gd name="T14" fmla="*/ 2147483647 w 499"/>
                  <a:gd name="T15" fmla="*/ 2147483647 h 500"/>
                  <a:gd name="T16" fmla="*/ 2147483647 w 499"/>
                  <a:gd name="T17" fmla="*/ 2147483647 h 500"/>
                  <a:gd name="T18" fmla="*/ 2147483647 w 499"/>
                  <a:gd name="T19" fmla="*/ 2147483647 h 500"/>
                  <a:gd name="T20" fmla="*/ 2147483647 w 499"/>
                  <a:gd name="T21" fmla="*/ 2147483647 h 500"/>
                  <a:gd name="T22" fmla="*/ 2147483647 w 499"/>
                  <a:gd name="T23" fmla="*/ 2147483647 h 500"/>
                  <a:gd name="T24" fmla="*/ 2147483647 w 499"/>
                  <a:gd name="T25" fmla="*/ 2147483647 h 500"/>
                  <a:gd name="T26" fmla="*/ 2147483647 w 499"/>
                  <a:gd name="T27" fmla="*/ 2147483647 h 500"/>
                  <a:gd name="T28" fmla="*/ 2147483647 w 499"/>
                  <a:gd name="T29" fmla="*/ 2147483647 h 500"/>
                  <a:gd name="T30" fmla="*/ 2147483647 w 499"/>
                  <a:gd name="T31" fmla="*/ 2147483647 h 500"/>
                  <a:gd name="T32" fmla="*/ 2147483647 w 499"/>
                  <a:gd name="T33" fmla="*/ 2147483647 h 500"/>
                  <a:gd name="T34" fmla="*/ 2147483647 w 499"/>
                  <a:gd name="T35" fmla="*/ 2147483647 h 500"/>
                  <a:gd name="T36" fmla="*/ 2147483647 w 499"/>
                  <a:gd name="T37" fmla="*/ 2147483647 h 500"/>
                  <a:gd name="T38" fmla="*/ 2147483647 w 499"/>
                  <a:gd name="T39" fmla="*/ 2147483647 h 500"/>
                  <a:gd name="T40" fmla="*/ 2147483647 w 499"/>
                  <a:gd name="T41" fmla="*/ 2147483647 h 500"/>
                  <a:gd name="T42" fmla="*/ 2147483647 w 499"/>
                  <a:gd name="T43" fmla="*/ 2147483647 h 500"/>
                  <a:gd name="T44" fmla="*/ 2147483647 w 499"/>
                  <a:gd name="T45" fmla="*/ 2147483647 h 500"/>
                  <a:gd name="T46" fmla="*/ 2147483647 w 499"/>
                  <a:gd name="T47" fmla="*/ 2147483647 h 500"/>
                  <a:gd name="T48" fmla="*/ 2147483647 w 499"/>
                  <a:gd name="T49" fmla="*/ 2147483647 h 500"/>
                  <a:gd name="T50" fmla="*/ 2147483647 w 499"/>
                  <a:gd name="T51" fmla="*/ 2147483647 h 500"/>
                  <a:gd name="T52" fmla="*/ 2147483647 w 499"/>
                  <a:gd name="T53" fmla="*/ 2147483647 h 500"/>
                  <a:gd name="T54" fmla="*/ 2147483647 w 499"/>
                  <a:gd name="T55" fmla="*/ 2147483647 h 500"/>
                  <a:gd name="T56" fmla="*/ 2147483647 w 499"/>
                  <a:gd name="T57" fmla="*/ 2147483647 h 500"/>
                  <a:gd name="T58" fmla="*/ 2147483647 w 499"/>
                  <a:gd name="T59" fmla="*/ 2147483647 h 500"/>
                  <a:gd name="T60" fmla="*/ 2147483647 w 499"/>
                  <a:gd name="T61" fmla="*/ 2147483647 h 500"/>
                  <a:gd name="T62" fmla="*/ 2147483647 w 499"/>
                  <a:gd name="T63" fmla="*/ 2147483647 h 500"/>
                  <a:gd name="T64" fmla="*/ 2147483647 w 499"/>
                  <a:gd name="T65" fmla="*/ 2147483647 h 500"/>
                  <a:gd name="T66" fmla="*/ 2147483647 w 499"/>
                  <a:gd name="T67" fmla="*/ 2147483647 h 500"/>
                  <a:gd name="T68" fmla="*/ 2147483647 w 499"/>
                  <a:gd name="T69" fmla="*/ 2147483647 h 500"/>
                  <a:gd name="T70" fmla="*/ 2147483647 w 499"/>
                  <a:gd name="T71" fmla="*/ 2147483647 h 500"/>
                  <a:gd name="T72" fmla="*/ 2147483647 w 499"/>
                  <a:gd name="T73" fmla="*/ 2147483647 h 500"/>
                  <a:gd name="T74" fmla="*/ 2147483647 w 499"/>
                  <a:gd name="T75" fmla="*/ 2147483647 h 500"/>
                  <a:gd name="T76" fmla="*/ 2147483647 w 499"/>
                  <a:gd name="T77" fmla="*/ 2147483647 h 500"/>
                  <a:gd name="T78" fmla="*/ 2147483647 w 499"/>
                  <a:gd name="T79" fmla="*/ 2147483647 h 500"/>
                  <a:gd name="T80" fmla="*/ 2147483647 w 499"/>
                  <a:gd name="T81" fmla="*/ 2147483647 h 500"/>
                  <a:gd name="T82" fmla="*/ 2147483647 w 499"/>
                  <a:gd name="T83" fmla="*/ 2147483647 h 500"/>
                  <a:gd name="T84" fmla="*/ 2147483647 w 499"/>
                  <a:gd name="T85" fmla="*/ 2147483647 h 500"/>
                  <a:gd name="T86" fmla="*/ 2147483647 w 499"/>
                  <a:gd name="T87" fmla="*/ 2147483647 h 500"/>
                  <a:gd name="T88" fmla="*/ 2147483647 w 499"/>
                  <a:gd name="T89" fmla="*/ 2147483647 h 500"/>
                  <a:gd name="T90" fmla="*/ 2147483647 w 499"/>
                  <a:gd name="T91" fmla="*/ 2147483647 h 500"/>
                  <a:gd name="T92" fmla="*/ 2147483647 w 499"/>
                  <a:gd name="T93" fmla="*/ 2147483647 h 500"/>
                  <a:gd name="T94" fmla="*/ 2147483647 w 499"/>
                  <a:gd name="T95" fmla="*/ 2147483647 h 500"/>
                  <a:gd name="T96" fmla="*/ 2147483647 w 499"/>
                  <a:gd name="T97" fmla="*/ 2147483647 h 500"/>
                  <a:gd name="T98" fmla="*/ 2147483647 w 499"/>
                  <a:gd name="T99" fmla="*/ 2147483647 h 500"/>
                  <a:gd name="T100" fmla="*/ 2147483647 w 499"/>
                  <a:gd name="T101" fmla="*/ 2147483647 h 500"/>
                  <a:gd name="T102" fmla="*/ 2147483647 w 499"/>
                  <a:gd name="T103" fmla="*/ 2147483647 h 500"/>
                  <a:gd name="T104" fmla="*/ 2147483647 w 499"/>
                  <a:gd name="T105" fmla="*/ 2147483647 h 500"/>
                  <a:gd name="T106" fmla="*/ 2147483647 w 499"/>
                  <a:gd name="T107" fmla="*/ 2147483647 h 500"/>
                  <a:gd name="T108" fmla="*/ 2147483647 w 499"/>
                  <a:gd name="T109" fmla="*/ 2147483647 h 500"/>
                  <a:gd name="T110" fmla="*/ 2147483647 w 499"/>
                  <a:gd name="T111" fmla="*/ 2147483647 h 500"/>
                  <a:gd name="T112" fmla="*/ 2147483647 w 499"/>
                  <a:gd name="T113" fmla="*/ 2147483647 h 500"/>
                  <a:gd name="T114" fmla="*/ 2147483647 w 499"/>
                  <a:gd name="T115" fmla="*/ 2147483647 h 500"/>
                  <a:gd name="T116" fmla="*/ 2147483647 w 499"/>
                  <a:gd name="T117" fmla="*/ 2147483647 h 5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99" h="500">
                    <a:moveTo>
                      <a:pt x="466" y="300"/>
                    </a:moveTo>
                    <a:cubicBezTo>
                      <a:pt x="457" y="300"/>
                      <a:pt x="450" y="306"/>
                      <a:pt x="443" y="310"/>
                    </a:cubicBezTo>
                    <a:cubicBezTo>
                      <a:pt x="439" y="313"/>
                      <a:pt x="435" y="316"/>
                      <a:pt x="432" y="316"/>
                    </a:cubicBezTo>
                    <a:cubicBezTo>
                      <a:pt x="432" y="316"/>
                      <a:pt x="432" y="316"/>
                      <a:pt x="431" y="315"/>
                    </a:cubicBezTo>
                    <a:cubicBezTo>
                      <a:pt x="431" y="304"/>
                      <a:pt x="431" y="304"/>
                      <a:pt x="431" y="304"/>
                    </a:cubicBezTo>
                    <a:cubicBezTo>
                      <a:pt x="431" y="276"/>
                      <a:pt x="439" y="258"/>
                      <a:pt x="440" y="255"/>
                    </a:cubicBezTo>
                    <a:cubicBezTo>
                      <a:pt x="441" y="254"/>
                      <a:pt x="441" y="254"/>
                      <a:pt x="441" y="253"/>
                    </a:cubicBezTo>
                    <a:cubicBezTo>
                      <a:pt x="441" y="253"/>
                      <a:pt x="441" y="253"/>
                      <a:pt x="441" y="253"/>
                    </a:cubicBezTo>
                    <a:cubicBezTo>
                      <a:pt x="448" y="235"/>
                      <a:pt x="452" y="216"/>
                      <a:pt x="452" y="196"/>
                    </a:cubicBezTo>
                    <a:cubicBezTo>
                      <a:pt x="452" y="183"/>
                      <a:pt x="452" y="183"/>
                      <a:pt x="452" y="183"/>
                    </a:cubicBezTo>
                    <a:cubicBezTo>
                      <a:pt x="452" y="182"/>
                      <a:pt x="452" y="181"/>
                      <a:pt x="452" y="181"/>
                    </a:cubicBezTo>
                    <a:cubicBezTo>
                      <a:pt x="449" y="172"/>
                      <a:pt x="443" y="167"/>
                      <a:pt x="435" y="167"/>
                    </a:cubicBezTo>
                    <a:cubicBezTo>
                      <a:pt x="427" y="167"/>
                      <a:pt x="420" y="172"/>
                      <a:pt x="414" y="176"/>
                    </a:cubicBezTo>
                    <a:cubicBezTo>
                      <a:pt x="409" y="180"/>
                      <a:pt x="405" y="183"/>
                      <a:pt x="401" y="183"/>
                    </a:cubicBezTo>
                    <a:cubicBezTo>
                      <a:pt x="385" y="183"/>
                      <a:pt x="384" y="158"/>
                      <a:pt x="384" y="158"/>
                    </a:cubicBezTo>
                    <a:cubicBezTo>
                      <a:pt x="384" y="157"/>
                      <a:pt x="385" y="132"/>
                      <a:pt x="401" y="132"/>
                    </a:cubicBezTo>
                    <a:cubicBezTo>
                      <a:pt x="405" y="132"/>
                      <a:pt x="409" y="135"/>
                      <a:pt x="414" y="139"/>
                    </a:cubicBezTo>
                    <a:cubicBezTo>
                      <a:pt x="420" y="143"/>
                      <a:pt x="427" y="148"/>
                      <a:pt x="435" y="148"/>
                    </a:cubicBezTo>
                    <a:cubicBezTo>
                      <a:pt x="443" y="148"/>
                      <a:pt x="449" y="143"/>
                      <a:pt x="452" y="135"/>
                    </a:cubicBezTo>
                    <a:cubicBezTo>
                      <a:pt x="452" y="134"/>
                      <a:pt x="452" y="133"/>
                      <a:pt x="452" y="132"/>
                    </a:cubicBezTo>
                    <a:cubicBezTo>
                      <a:pt x="452" y="119"/>
                      <a:pt x="452" y="119"/>
                      <a:pt x="452" y="119"/>
                    </a:cubicBezTo>
                    <a:cubicBezTo>
                      <a:pt x="452" y="99"/>
                      <a:pt x="448" y="80"/>
                      <a:pt x="441" y="63"/>
                    </a:cubicBezTo>
                    <a:cubicBezTo>
                      <a:pt x="441" y="62"/>
                      <a:pt x="441" y="62"/>
                      <a:pt x="441" y="62"/>
                    </a:cubicBezTo>
                    <a:cubicBezTo>
                      <a:pt x="440" y="60"/>
                      <a:pt x="438" y="58"/>
                      <a:pt x="436" y="58"/>
                    </a:cubicBezTo>
                    <a:cubicBezTo>
                      <a:pt x="434" y="57"/>
                      <a:pt x="432" y="57"/>
                      <a:pt x="430" y="58"/>
                    </a:cubicBezTo>
                    <a:cubicBezTo>
                      <a:pt x="430" y="58"/>
                      <a:pt x="411" y="68"/>
                      <a:pt x="380" y="68"/>
                    </a:cubicBezTo>
                    <a:cubicBezTo>
                      <a:pt x="369" y="68"/>
                      <a:pt x="369" y="68"/>
                      <a:pt x="369" y="68"/>
                    </a:cubicBezTo>
                    <a:cubicBezTo>
                      <a:pt x="367" y="67"/>
                      <a:pt x="367" y="67"/>
                      <a:pt x="367" y="66"/>
                    </a:cubicBezTo>
                    <a:cubicBezTo>
                      <a:pt x="367" y="63"/>
                      <a:pt x="370" y="59"/>
                      <a:pt x="373" y="55"/>
                    </a:cubicBezTo>
                    <a:cubicBezTo>
                      <a:pt x="378" y="49"/>
                      <a:pt x="383" y="42"/>
                      <a:pt x="383" y="33"/>
                    </a:cubicBezTo>
                    <a:cubicBezTo>
                      <a:pt x="383" y="9"/>
                      <a:pt x="358" y="0"/>
                      <a:pt x="342" y="0"/>
                    </a:cubicBezTo>
                    <a:cubicBezTo>
                      <a:pt x="325" y="0"/>
                      <a:pt x="300" y="9"/>
                      <a:pt x="300" y="33"/>
                    </a:cubicBezTo>
                    <a:cubicBezTo>
                      <a:pt x="300" y="42"/>
                      <a:pt x="305" y="49"/>
                      <a:pt x="310" y="55"/>
                    </a:cubicBezTo>
                    <a:cubicBezTo>
                      <a:pt x="313" y="59"/>
                      <a:pt x="316" y="63"/>
                      <a:pt x="316" y="66"/>
                    </a:cubicBezTo>
                    <a:cubicBezTo>
                      <a:pt x="316" y="67"/>
                      <a:pt x="316" y="67"/>
                      <a:pt x="315" y="68"/>
                    </a:cubicBezTo>
                    <a:cubicBezTo>
                      <a:pt x="304" y="68"/>
                      <a:pt x="304" y="68"/>
                      <a:pt x="304" y="68"/>
                    </a:cubicBezTo>
                    <a:cubicBezTo>
                      <a:pt x="272" y="68"/>
                      <a:pt x="254" y="58"/>
                      <a:pt x="254" y="58"/>
                    </a:cubicBezTo>
                    <a:cubicBezTo>
                      <a:pt x="252" y="57"/>
                      <a:pt x="251" y="57"/>
                      <a:pt x="249" y="57"/>
                    </a:cubicBezTo>
                    <a:cubicBezTo>
                      <a:pt x="233" y="51"/>
                      <a:pt x="215" y="48"/>
                      <a:pt x="196" y="48"/>
                    </a:cubicBezTo>
                    <a:cubicBezTo>
                      <a:pt x="183" y="48"/>
                      <a:pt x="183" y="48"/>
                      <a:pt x="183" y="48"/>
                    </a:cubicBezTo>
                    <a:cubicBezTo>
                      <a:pt x="182" y="48"/>
                      <a:pt x="181" y="48"/>
                      <a:pt x="180" y="48"/>
                    </a:cubicBezTo>
                    <a:cubicBezTo>
                      <a:pt x="172" y="51"/>
                      <a:pt x="167" y="57"/>
                      <a:pt x="167" y="65"/>
                    </a:cubicBezTo>
                    <a:cubicBezTo>
                      <a:pt x="167" y="73"/>
                      <a:pt x="172" y="80"/>
                      <a:pt x="176" y="85"/>
                    </a:cubicBezTo>
                    <a:cubicBezTo>
                      <a:pt x="180" y="90"/>
                      <a:pt x="183" y="94"/>
                      <a:pt x="183" y="98"/>
                    </a:cubicBezTo>
                    <a:cubicBezTo>
                      <a:pt x="183" y="115"/>
                      <a:pt x="158" y="115"/>
                      <a:pt x="157" y="115"/>
                    </a:cubicBezTo>
                    <a:cubicBezTo>
                      <a:pt x="157" y="115"/>
                      <a:pt x="132" y="115"/>
                      <a:pt x="132" y="98"/>
                    </a:cubicBezTo>
                    <a:cubicBezTo>
                      <a:pt x="132" y="94"/>
                      <a:pt x="135" y="90"/>
                      <a:pt x="139" y="85"/>
                    </a:cubicBezTo>
                    <a:cubicBezTo>
                      <a:pt x="143" y="80"/>
                      <a:pt x="148" y="73"/>
                      <a:pt x="148" y="65"/>
                    </a:cubicBezTo>
                    <a:cubicBezTo>
                      <a:pt x="148" y="57"/>
                      <a:pt x="143" y="51"/>
                      <a:pt x="135" y="48"/>
                    </a:cubicBezTo>
                    <a:cubicBezTo>
                      <a:pt x="134" y="48"/>
                      <a:pt x="133" y="48"/>
                      <a:pt x="132" y="48"/>
                    </a:cubicBezTo>
                    <a:cubicBezTo>
                      <a:pt x="119" y="48"/>
                      <a:pt x="119" y="48"/>
                      <a:pt x="119" y="48"/>
                    </a:cubicBezTo>
                    <a:cubicBezTo>
                      <a:pt x="99" y="48"/>
                      <a:pt x="80" y="51"/>
                      <a:pt x="62" y="58"/>
                    </a:cubicBezTo>
                    <a:cubicBezTo>
                      <a:pt x="62" y="58"/>
                      <a:pt x="62" y="58"/>
                      <a:pt x="62" y="58"/>
                    </a:cubicBezTo>
                    <a:cubicBezTo>
                      <a:pt x="60" y="59"/>
                      <a:pt x="58" y="61"/>
                      <a:pt x="57" y="63"/>
                    </a:cubicBezTo>
                    <a:cubicBezTo>
                      <a:pt x="57" y="65"/>
                      <a:pt x="57" y="68"/>
                      <a:pt x="58" y="70"/>
                    </a:cubicBezTo>
                    <a:cubicBezTo>
                      <a:pt x="58" y="70"/>
                      <a:pt x="67" y="88"/>
                      <a:pt x="67" y="119"/>
                    </a:cubicBezTo>
                    <a:cubicBezTo>
                      <a:pt x="67" y="131"/>
                      <a:pt x="67" y="131"/>
                      <a:pt x="67" y="131"/>
                    </a:cubicBezTo>
                    <a:cubicBezTo>
                      <a:pt x="67" y="132"/>
                      <a:pt x="66" y="132"/>
                      <a:pt x="66" y="132"/>
                    </a:cubicBezTo>
                    <a:cubicBezTo>
                      <a:pt x="63" y="132"/>
                      <a:pt x="59" y="129"/>
                      <a:pt x="55" y="126"/>
                    </a:cubicBezTo>
                    <a:cubicBezTo>
                      <a:pt x="49" y="121"/>
                      <a:pt x="42" y="116"/>
                      <a:pt x="33" y="116"/>
                    </a:cubicBezTo>
                    <a:cubicBezTo>
                      <a:pt x="8" y="116"/>
                      <a:pt x="0" y="141"/>
                      <a:pt x="0" y="158"/>
                    </a:cubicBezTo>
                    <a:cubicBezTo>
                      <a:pt x="0" y="174"/>
                      <a:pt x="8" y="199"/>
                      <a:pt x="33" y="199"/>
                    </a:cubicBezTo>
                    <a:cubicBezTo>
                      <a:pt x="42" y="199"/>
                      <a:pt x="49" y="194"/>
                      <a:pt x="55" y="189"/>
                    </a:cubicBezTo>
                    <a:cubicBezTo>
                      <a:pt x="59" y="186"/>
                      <a:pt x="63" y="183"/>
                      <a:pt x="66" y="183"/>
                    </a:cubicBezTo>
                    <a:cubicBezTo>
                      <a:pt x="66" y="183"/>
                      <a:pt x="67" y="183"/>
                      <a:pt x="67" y="185"/>
                    </a:cubicBezTo>
                    <a:cubicBezTo>
                      <a:pt x="67" y="196"/>
                      <a:pt x="67" y="196"/>
                      <a:pt x="67" y="196"/>
                    </a:cubicBezTo>
                    <a:cubicBezTo>
                      <a:pt x="67" y="224"/>
                      <a:pt x="60" y="241"/>
                      <a:pt x="58" y="245"/>
                    </a:cubicBezTo>
                    <a:cubicBezTo>
                      <a:pt x="58" y="245"/>
                      <a:pt x="58" y="246"/>
                      <a:pt x="57" y="246"/>
                    </a:cubicBezTo>
                    <a:cubicBezTo>
                      <a:pt x="57" y="247"/>
                      <a:pt x="57" y="247"/>
                      <a:pt x="57" y="247"/>
                    </a:cubicBezTo>
                    <a:cubicBezTo>
                      <a:pt x="50" y="264"/>
                      <a:pt x="46" y="284"/>
                      <a:pt x="46" y="304"/>
                    </a:cubicBezTo>
                    <a:cubicBezTo>
                      <a:pt x="46" y="316"/>
                      <a:pt x="46" y="316"/>
                      <a:pt x="46" y="316"/>
                    </a:cubicBezTo>
                    <a:cubicBezTo>
                      <a:pt x="46" y="317"/>
                      <a:pt x="47" y="318"/>
                      <a:pt x="47" y="319"/>
                    </a:cubicBezTo>
                    <a:cubicBezTo>
                      <a:pt x="50" y="327"/>
                      <a:pt x="56" y="332"/>
                      <a:pt x="64" y="332"/>
                    </a:cubicBezTo>
                    <a:cubicBezTo>
                      <a:pt x="72" y="332"/>
                      <a:pt x="78" y="327"/>
                      <a:pt x="84" y="323"/>
                    </a:cubicBezTo>
                    <a:cubicBezTo>
                      <a:pt x="89" y="320"/>
                      <a:pt x="93" y="316"/>
                      <a:pt x="97" y="316"/>
                    </a:cubicBezTo>
                    <a:cubicBezTo>
                      <a:pt x="114" y="316"/>
                      <a:pt x="114" y="342"/>
                      <a:pt x="114" y="342"/>
                    </a:cubicBezTo>
                    <a:cubicBezTo>
                      <a:pt x="114" y="342"/>
                      <a:pt x="114" y="367"/>
                      <a:pt x="97" y="367"/>
                    </a:cubicBezTo>
                    <a:cubicBezTo>
                      <a:pt x="93" y="367"/>
                      <a:pt x="89" y="364"/>
                      <a:pt x="84" y="361"/>
                    </a:cubicBezTo>
                    <a:cubicBezTo>
                      <a:pt x="78" y="356"/>
                      <a:pt x="72" y="352"/>
                      <a:pt x="64" y="352"/>
                    </a:cubicBezTo>
                    <a:cubicBezTo>
                      <a:pt x="56" y="352"/>
                      <a:pt x="50" y="356"/>
                      <a:pt x="47" y="365"/>
                    </a:cubicBezTo>
                    <a:cubicBezTo>
                      <a:pt x="47" y="366"/>
                      <a:pt x="46" y="366"/>
                      <a:pt x="46" y="367"/>
                    </a:cubicBezTo>
                    <a:cubicBezTo>
                      <a:pt x="46" y="380"/>
                      <a:pt x="46" y="380"/>
                      <a:pt x="46" y="380"/>
                    </a:cubicBezTo>
                    <a:cubicBezTo>
                      <a:pt x="46" y="400"/>
                      <a:pt x="50" y="419"/>
                      <a:pt x="57" y="437"/>
                    </a:cubicBezTo>
                    <a:cubicBezTo>
                      <a:pt x="57" y="438"/>
                      <a:pt x="57" y="438"/>
                      <a:pt x="57" y="438"/>
                    </a:cubicBezTo>
                    <a:cubicBezTo>
                      <a:pt x="58" y="440"/>
                      <a:pt x="60" y="441"/>
                      <a:pt x="62" y="442"/>
                    </a:cubicBezTo>
                    <a:cubicBezTo>
                      <a:pt x="64" y="443"/>
                      <a:pt x="67" y="443"/>
                      <a:pt x="69" y="442"/>
                    </a:cubicBezTo>
                    <a:cubicBezTo>
                      <a:pt x="69" y="442"/>
                      <a:pt x="87" y="432"/>
                      <a:pt x="118" y="432"/>
                    </a:cubicBezTo>
                    <a:cubicBezTo>
                      <a:pt x="130" y="432"/>
                      <a:pt x="130" y="432"/>
                      <a:pt x="130" y="432"/>
                    </a:cubicBezTo>
                    <a:cubicBezTo>
                      <a:pt x="131" y="433"/>
                      <a:pt x="131" y="433"/>
                      <a:pt x="131" y="433"/>
                    </a:cubicBezTo>
                    <a:cubicBezTo>
                      <a:pt x="131" y="436"/>
                      <a:pt x="128" y="440"/>
                      <a:pt x="125" y="444"/>
                    </a:cubicBezTo>
                    <a:cubicBezTo>
                      <a:pt x="120" y="451"/>
                      <a:pt x="115" y="458"/>
                      <a:pt x="115" y="467"/>
                    </a:cubicBezTo>
                    <a:cubicBezTo>
                      <a:pt x="115" y="491"/>
                      <a:pt x="140" y="500"/>
                      <a:pt x="157" y="500"/>
                    </a:cubicBezTo>
                    <a:cubicBezTo>
                      <a:pt x="173" y="500"/>
                      <a:pt x="198" y="491"/>
                      <a:pt x="198" y="467"/>
                    </a:cubicBezTo>
                    <a:cubicBezTo>
                      <a:pt x="198" y="458"/>
                      <a:pt x="193" y="451"/>
                      <a:pt x="188" y="444"/>
                    </a:cubicBezTo>
                    <a:cubicBezTo>
                      <a:pt x="185" y="440"/>
                      <a:pt x="182" y="436"/>
                      <a:pt x="182" y="433"/>
                    </a:cubicBezTo>
                    <a:cubicBezTo>
                      <a:pt x="182" y="433"/>
                      <a:pt x="182" y="433"/>
                      <a:pt x="184" y="432"/>
                    </a:cubicBezTo>
                    <a:cubicBezTo>
                      <a:pt x="195" y="432"/>
                      <a:pt x="195" y="432"/>
                      <a:pt x="195" y="432"/>
                    </a:cubicBezTo>
                    <a:cubicBezTo>
                      <a:pt x="226" y="432"/>
                      <a:pt x="245" y="442"/>
                      <a:pt x="245" y="442"/>
                    </a:cubicBezTo>
                    <a:cubicBezTo>
                      <a:pt x="246" y="442"/>
                      <a:pt x="247" y="443"/>
                      <a:pt x="249" y="443"/>
                    </a:cubicBezTo>
                    <a:cubicBezTo>
                      <a:pt x="266" y="449"/>
                      <a:pt x="284" y="452"/>
                      <a:pt x="303" y="452"/>
                    </a:cubicBezTo>
                    <a:cubicBezTo>
                      <a:pt x="315" y="452"/>
                      <a:pt x="315" y="452"/>
                      <a:pt x="315" y="452"/>
                    </a:cubicBezTo>
                    <a:cubicBezTo>
                      <a:pt x="316" y="452"/>
                      <a:pt x="317" y="452"/>
                      <a:pt x="318" y="452"/>
                    </a:cubicBezTo>
                    <a:cubicBezTo>
                      <a:pt x="326" y="449"/>
                      <a:pt x="331" y="443"/>
                      <a:pt x="331" y="435"/>
                    </a:cubicBezTo>
                    <a:cubicBezTo>
                      <a:pt x="331" y="427"/>
                      <a:pt x="326" y="420"/>
                      <a:pt x="322" y="414"/>
                    </a:cubicBezTo>
                    <a:cubicBezTo>
                      <a:pt x="319" y="410"/>
                      <a:pt x="315" y="405"/>
                      <a:pt x="315" y="401"/>
                    </a:cubicBezTo>
                    <a:cubicBezTo>
                      <a:pt x="315" y="385"/>
                      <a:pt x="341" y="384"/>
                      <a:pt x="341" y="384"/>
                    </a:cubicBezTo>
                    <a:cubicBezTo>
                      <a:pt x="341" y="384"/>
                      <a:pt x="366" y="385"/>
                      <a:pt x="366" y="401"/>
                    </a:cubicBezTo>
                    <a:cubicBezTo>
                      <a:pt x="366" y="405"/>
                      <a:pt x="363" y="410"/>
                      <a:pt x="360" y="414"/>
                    </a:cubicBezTo>
                    <a:cubicBezTo>
                      <a:pt x="355" y="420"/>
                      <a:pt x="351" y="427"/>
                      <a:pt x="351" y="435"/>
                    </a:cubicBezTo>
                    <a:cubicBezTo>
                      <a:pt x="351" y="443"/>
                      <a:pt x="355" y="449"/>
                      <a:pt x="364" y="452"/>
                    </a:cubicBezTo>
                    <a:cubicBezTo>
                      <a:pt x="365" y="452"/>
                      <a:pt x="366" y="452"/>
                      <a:pt x="366" y="452"/>
                    </a:cubicBezTo>
                    <a:cubicBezTo>
                      <a:pt x="379" y="452"/>
                      <a:pt x="379" y="452"/>
                      <a:pt x="379" y="452"/>
                    </a:cubicBezTo>
                    <a:cubicBezTo>
                      <a:pt x="399" y="452"/>
                      <a:pt x="418" y="448"/>
                      <a:pt x="436" y="441"/>
                    </a:cubicBezTo>
                    <a:cubicBezTo>
                      <a:pt x="437" y="441"/>
                      <a:pt x="437" y="441"/>
                      <a:pt x="437" y="441"/>
                    </a:cubicBezTo>
                    <a:cubicBezTo>
                      <a:pt x="439" y="440"/>
                      <a:pt x="440" y="439"/>
                      <a:pt x="441" y="436"/>
                    </a:cubicBezTo>
                    <a:cubicBezTo>
                      <a:pt x="442" y="434"/>
                      <a:pt x="442" y="432"/>
                      <a:pt x="441" y="430"/>
                    </a:cubicBezTo>
                    <a:cubicBezTo>
                      <a:pt x="441" y="430"/>
                      <a:pt x="431" y="411"/>
                      <a:pt x="431" y="380"/>
                    </a:cubicBezTo>
                    <a:cubicBezTo>
                      <a:pt x="431" y="369"/>
                      <a:pt x="431" y="369"/>
                      <a:pt x="431" y="369"/>
                    </a:cubicBezTo>
                    <a:cubicBezTo>
                      <a:pt x="432" y="368"/>
                      <a:pt x="432" y="368"/>
                      <a:pt x="432" y="368"/>
                    </a:cubicBezTo>
                    <a:cubicBezTo>
                      <a:pt x="435" y="368"/>
                      <a:pt x="439" y="371"/>
                      <a:pt x="443" y="374"/>
                    </a:cubicBezTo>
                    <a:cubicBezTo>
                      <a:pt x="450" y="378"/>
                      <a:pt x="457" y="383"/>
                      <a:pt x="466" y="383"/>
                    </a:cubicBezTo>
                    <a:cubicBezTo>
                      <a:pt x="490" y="383"/>
                      <a:pt x="499" y="359"/>
                      <a:pt x="499" y="342"/>
                    </a:cubicBezTo>
                    <a:cubicBezTo>
                      <a:pt x="499" y="325"/>
                      <a:pt x="490" y="300"/>
                      <a:pt x="466" y="300"/>
                    </a:cubicBezTo>
                    <a:close/>
                    <a:moveTo>
                      <a:pt x="248" y="119"/>
                    </a:moveTo>
                    <a:cubicBezTo>
                      <a:pt x="248" y="119"/>
                      <a:pt x="248" y="119"/>
                      <a:pt x="248" y="119"/>
                    </a:cubicBezTo>
                    <a:cubicBezTo>
                      <a:pt x="248" y="115"/>
                      <a:pt x="248" y="112"/>
                      <a:pt x="248" y="108"/>
                    </a:cubicBezTo>
                    <a:cubicBezTo>
                      <a:pt x="248" y="108"/>
                      <a:pt x="248" y="108"/>
                      <a:pt x="248" y="107"/>
                    </a:cubicBezTo>
                    <a:cubicBezTo>
                      <a:pt x="248" y="104"/>
                      <a:pt x="249" y="101"/>
                      <a:pt x="249" y="98"/>
                    </a:cubicBezTo>
                    <a:cubicBezTo>
                      <a:pt x="249" y="97"/>
                      <a:pt x="249" y="96"/>
                      <a:pt x="250" y="96"/>
                    </a:cubicBezTo>
                    <a:cubicBezTo>
                      <a:pt x="250" y="93"/>
                      <a:pt x="251" y="91"/>
                      <a:pt x="251" y="88"/>
                    </a:cubicBezTo>
                    <a:cubicBezTo>
                      <a:pt x="251" y="86"/>
                      <a:pt x="252" y="85"/>
                      <a:pt x="252" y="83"/>
                    </a:cubicBezTo>
                    <a:cubicBezTo>
                      <a:pt x="252" y="83"/>
                      <a:pt x="253" y="82"/>
                      <a:pt x="253" y="82"/>
                    </a:cubicBezTo>
                    <a:cubicBezTo>
                      <a:pt x="253" y="79"/>
                      <a:pt x="254" y="77"/>
                      <a:pt x="255" y="76"/>
                    </a:cubicBezTo>
                    <a:cubicBezTo>
                      <a:pt x="264" y="79"/>
                      <a:pt x="281" y="84"/>
                      <a:pt x="304" y="84"/>
                    </a:cubicBezTo>
                    <a:cubicBezTo>
                      <a:pt x="316" y="84"/>
                      <a:pt x="316" y="84"/>
                      <a:pt x="316" y="84"/>
                    </a:cubicBezTo>
                    <a:cubicBezTo>
                      <a:pt x="317" y="84"/>
                      <a:pt x="318" y="83"/>
                      <a:pt x="319" y="83"/>
                    </a:cubicBezTo>
                    <a:cubicBezTo>
                      <a:pt x="327" y="80"/>
                      <a:pt x="332" y="74"/>
                      <a:pt x="332" y="66"/>
                    </a:cubicBezTo>
                    <a:cubicBezTo>
                      <a:pt x="332" y="58"/>
                      <a:pt x="327" y="52"/>
                      <a:pt x="323" y="46"/>
                    </a:cubicBezTo>
                    <a:cubicBezTo>
                      <a:pt x="320" y="41"/>
                      <a:pt x="316" y="37"/>
                      <a:pt x="316" y="33"/>
                    </a:cubicBezTo>
                    <a:cubicBezTo>
                      <a:pt x="316" y="16"/>
                      <a:pt x="341" y="16"/>
                      <a:pt x="342" y="16"/>
                    </a:cubicBezTo>
                    <a:cubicBezTo>
                      <a:pt x="342" y="16"/>
                      <a:pt x="367" y="16"/>
                      <a:pt x="367" y="33"/>
                    </a:cubicBezTo>
                    <a:cubicBezTo>
                      <a:pt x="367" y="37"/>
                      <a:pt x="364" y="41"/>
                      <a:pt x="361" y="46"/>
                    </a:cubicBezTo>
                    <a:cubicBezTo>
                      <a:pt x="356" y="52"/>
                      <a:pt x="351" y="58"/>
                      <a:pt x="351" y="66"/>
                    </a:cubicBezTo>
                    <a:cubicBezTo>
                      <a:pt x="351" y="74"/>
                      <a:pt x="356" y="80"/>
                      <a:pt x="365" y="83"/>
                    </a:cubicBezTo>
                    <a:cubicBezTo>
                      <a:pt x="365" y="83"/>
                      <a:pt x="366" y="84"/>
                      <a:pt x="367" y="84"/>
                    </a:cubicBezTo>
                    <a:cubicBezTo>
                      <a:pt x="380" y="84"/>
                      <a:pt x="380" y="84"/>
                      <a:pt x="380" y="84"/>
                    </a:cubicBezTo>
                    <a:cubicBezTo>
                      <a:pt x="403" y="84"/>
                      <a:pt x="420" y="79"/>
                      <a:pt x="429" y="76"/>
                    </a:cubicBezTo>
                    <a:cubicBezTo>
                      <a:pt x="434" y="89"/>
                      <a:pt x="436" y="104"/>
                      <a:pt x="436" y="119"/>
                    </a:cubicBezTo>
                    <a:cubicBezTo>
                      <a:pt x="436" y="131"/>
                      <a:pt x="436" y="131"/>
                      <a:pt x="436" y="131"/>
                    </a:cubicBezTo>
                    <a:cubicBezTo>
                      <a:pt x="435" y="132"/>
                      <a:pt x="435" y="132"/>
                      <a:pt x="435" y="132"/>
                    </a:cubicBezTo>
                    <a:cubicBezTo>
                      <a:pt x="432" y="132"/>
                      <a:pt x="428" y="129"/>
                      <a:pt x="424" y="126"/>
                    </a:cubicBezTo>
                    <a:cubicBezTo>
                      <a:pt x="417" y="121"/>
                      <a:pt x="410" y="116"/>
                      <a:pt x="401" y="116"/>
                    </a:cubicBezTo>
                    <a:cubicBezTo>
                      <a:pt x="377" y="116"/>
                      <a:pt x="368" y="141"/>
                      <a:pt x="368" y="158"/>
                    </a:cubicBezTo>
                    <a:cubicBezTo>
                      <a:pt x="368" y="174"/>
                      <a:pt x="377" y="199"/>
                      <a:pt x="401" y="199"/>
                    </a:cubicBezTo>
                    <a:cubicBezTo>
                      <a:pt x="410" y="199"/>
                      <a:pt x="417" y="194"/>
                      <a:pt x="424" y="189"/>
                    </a:cubicBezTo>
                    <a:cubicBezTo>
                      <a:pt x="428" y="186"/>
                      <a:pt x="432" y="183"/>
                      <a:pt x="435" y="183"/>
                    </a:cubicBezTo>
                    <a:cubicBezTo>
                      <a:pt x="435" y="183"/>
                      <a:pt x="435" y="183"/>
                      <a:pt x="436" y="185"/>
                    </a:cubicBezTo>
                    <a:cubicBezTo>
                      <a:pt x="436" y="196"/>
                      <a:pt x="436" y="196"/>
                      <a:pt x="436" y="196"/>
                    </a:cubicBezTo>
                    <a:cubicBezTo>
                      <a:pt x="436" y="211"/>
                      <a:pt x="434" y="226"/>
                      <a:pt x="429" y="240"/>
                    </a:cubicBezTo>
                    <a:cubicBezTo>
                      <a:pt x="421" y="237"/>
                      <a:pt x="406" y="233"/>
                      <a:pt x="387" y="232"/>
                    </a:cubicBezTo>
                    <a:cubicBezTo>
                      <a:pt x="385" y="232"/>
                      <a:pt x="382" y="232"/>
                      <a:pt x="379" y="232"/>
                    </a:cubicBezTo>
                    <a:cubicBezTo>
                      <a:pt x="366" y="232"/>
                      <a:pt x="366" y="232"/>
                      <a:pt x="366" y="232"/>
                    </a:cubicBezTo>
                    <a:cubicBezTo>
                      <a:pt x="366" y="232"/>
                      <a:pt x="365" y="232"/>
                      <a:pt x="364" y="232"/>
                    </a:cubicBezTo>
                    <a:cubicBezTo>
                      <a:pt x="355" y="235"/>
                      <a:pt x="351" y="241"/>
                      <a:pt x="351" y="249"/>
                    </a:cubicBezTo>
                    <a:cubicBezTo>
                      <a:pt x="351" y="257"/>
                      <a:pt x="355" y="264"/>
                      <a:pt x="360" y="270"/>
                    </a:cubicBezTo>
                    <a:cubicBezTo>
                      <a:pt x="363" y="274"/>
                      <a:pt x="366" y="279"/>
                      <a:pt x="366" y="283"/>
                    </a:cubicBezTo>
                    <a:cubicBezTo>
                      <a:pt x="366" y="299"/>
                      <a:pt x="341" y="300"/>
                      <a:pt x="341" y="300"/>
                    </a:cubicBezTo>
                    <a:cubicBezTo>
                      <a:pt x="341" y="300"/>
                      <a:pt x="341" y="300"/>
                      <a:pt x="341" y="300"/>
                    </a:cubicBezTo>
                    <a:cubicBezTo>
                      <a:pt x="337" y="299"/>
                      <a:pt x="316" y="297"/>
                      <a:pt x="316" y="283"/>
                    </a:cubicBezTo>
                    <a:cubicBezTo>
                      <a:pt x="316" y="279"/>
                      <a:pt x="320" y="274"/>
                      <a:pt x="323" y="270"/>
                    </a:cubicBezTo>
                    <a:cubicBezTo>
                      <a:pt x="327" y="264"/>
                      <a:pt x="332" y="257"/>
                      <a:pt x="332" y="249"/>
                    </a:cubicBezTo>
                    <a:cubicBezTo>
                      <a:pt x="332" y="241"/>
                      <a:pt x="327" y="235"/>
                      <a:pt x="319" y="232"/>
                    </a:cubicBezTo>
                    <a:cubicBezTo>
                      <a:pt x="318" y="232"/>
                      <a:pt x="317" y="232"/>
                      <a:pt x="316" y="232"/>
                    </a:cubicBezTo>
                    <a:cubicBezTo>
                      <a:pt x="316" y="232"/>
                      <a:pt x="316" y="232"/>
                      <a:pt x="316" y="232"/>
                    </a:cubicBezTo>
                    <a:cubicBezTo>
                      <a:pt x="316" y="232"/>
                      <a:pt x="316" y="232"/>
                      <a:pt x="315" y="232"/>
                    </a:cubicBezTo>
                    <a:cubicBezTo>
                      <a:pt x="303" y="232"/>
                      <a:pt x="303" y="232"/>
                      <a:pt x="303" y="232"/>
                    </a:cubicBezTo>
                    <a:cubicBezTo>
                      <a:pt x="286" y="232"/>
                      <a:pt x="270" y="234"/>
                      <a:pt x="255" y="239"/>
                    </a:cubicBezTo>
                    <a:cubicBezTo>
                      <a:pt x="254" y="238"/>
                      <a:pt x="253" y="236"/>
                      <a:pt x="253" y="233"/>
                    </a:cubicBezTo>
                    <a:cubicBezTo>
                      <a:pt x="253" y="233"/>
                      <a:pt x="252" y="233"/>
                      <a:pt x="252" y="232"/>
                    </a:cubicBezTo>
                    <a:cubicBezTo>
                      <a:pt x="252" y="231"/>
                      <a:pt x="251" y="229"/>
                      <a:pt x="251" y="227"/>
                    </a:cubicBezTo>
                    <a:cubicBezTo>
                      <a:pt x="251" y="225"/>
                      <a:pt x="250" y="222"/>
                      <a:pt x="250" y="220"/>
                    </a:cubicBezTo>
                    <a:cubicBezTo>
                      <a:pt x="249" y="219"/>
                      <a:pt x="249" y="218"/>
                      <a:pt x="249" y="218"/>
                    </a:cubicBezTo>
                    <a:cubicBezTo>
                      <a:pt x="249" y="214"/>
                      <a:pt x="248" y="211"/>
                      <a:pt x="248" y="208"/>
                    </a:cubicBezTo>
                    <a:cubicBezTo>
                      <a:pt x="248" y="208"/>
                      <a:pt x="248" y="207"/>
                      <a:pt x="248" y="207"/>
                    </a:cubicBezTo>
                    <a:cubicBezTo>
                      <a:pt x="248" y="203"/>
                      <a:pt x="248" y="200"/>
                      <a:pt x="248" y="196"/>
                    </a:cubicBezTo>
                    <a:cubicBezTo>
                      <a:pt x="248" y="196"/>
                      <a:pt x="248" y="196"/>
                      <a:pt x="248" y="196"/>
                    </a:cubicBezTo>
                    <a:cubicBezTo>
                      <a:pt x="248" y="185"/>
                      <a:pt x="248" y="185"/>
                      <a:pt x="248" y="185"/>
                    </a:cubicBezTo>
                    <a:cubicBezTo>
                      <a:pt x="248" y="183"/>
                      <a:pt x="249" y="183"/>
                      <a:pt x="249" y="183"/>
                    </a:cubicBezTo>
                    <a:cubicBezTo>
                      <a:pt x="252" y="183"/>
                      <a:pt x="256" y="186"/>
                      <a:pt x="260" y="189"/>
                    </a:cubicBezTo>
                    <a:cubicBezTo>
                      <a:pt x="266" y="194"/>
                      <a:pt x="273" y="199"/>
                      <a:pt x="282" y="199"/>
                    </a:cubicBezTo>
                    <a:cubicBezTo>
                      <a:pt x="282" y="199"/>
                      <a:pt x="282" y="199"/>
                      <a:pt x="282" y="199"/>
                    </a:cubicBezTo>
                    <a:cubicBezTo>
                      <a:pt x="307" y="199"/>
                      <a:pt x="315" y="174"/>
                      <a:pt x="315" y="158"/>
                    </a:cubicBezTo>
                    <a:cubicBezTo>
                      <a:pt x="315" y="141"/>
                      <a:pt x="307" y="116"/>
                      <a:pt x="282" y="116"/>
                    </a:cubicBezTo>
                    <a:cubicBezTo>
                      <a:pt x="282" y="116"/>
                      <a:pt x="282" y="116"/>
                      <a:pt x="282" y="116"/>
                    </a:cubicBezTo>
                    <a:cubicBezTo>
                      <a:pt x="273" y="116"/>
                      <a:pt x="266" y="121"/>
                      <a:pt x="260" y="126"/>
                    </a:cubicBezTo>
                    <a:cubicBezTo>
                      <a:pt x="256" y="129"/>
                      <a:pt x="252" y="132"/>
                      <a:pt x="249" y="132"/>
                    </a:cubicBezTo>
                    <a:cubicBezTo>
                      <a:pt x="249" y="132"/>
                      <a:pt x="248" y="132"/>
                      <a:pt x="248" y="131"/>
                    </a:cubicBezTo>
                    <a:lnTo>
                      <a:pt x="248" y="119"/>
                    </a:lnTo>
                    <a:close/>
                    <a:moveTo>
                      <a:pt x="66" y="167"/>
                    </a:moveTo>
                    <a:cubicBezTo>
                      <a:pt x="58" y="167"/>
                      <a:pt x="51" y="172"/>
                      <a:pt x="46" y="176"/>
                    </a:cubicBezTo>
                    <a:cubicBezTo>
                      <a:pt x="41" y="180"/>
                      <a:pt x="36" y="183"/>
                      <a:pt x="33" y="183"/>
                    </a:cubicBezTo>
                    <a:cubicBezTo>
                      <a:pt x="16" y="183"/>
                      <a:pt x="16" y="158"/>
                      <a:pt x="16" y="158"/>
                    </a:cubicBezTo>
                    <a:cubicBezTo>
                      <a:pt x="16" y="157"/>
                      <a:pt x="16" y="132"/>
                      <a:pt x="33" y="132"/>
                    </a:cubicBezTo>
                    <a:cubicBezTo>
                      <a:pt x="36" y="132"/>
                      <a:pt x="41" y="135"/>
                      <a:pt x="46" y="139"/>
                    </a:cubicBezTo>
                    <a:cubicBezTo>
                      <a:pt x="51" y="143"/>
                      <a:pt x="58" y="148"/>
                      <a:pt x="66" y="148"/>
                    </a:cubicBezTo>
                    <a:cubicBezTo>
                      <a:pt x="74" y="148"/>
                      <a:pt x="80" y="143"/>
                      <a:pt x="83" y="135"/>
                    </a:cubicBezTo>
                    <a:cubicBezTo>
                      <a:pt x="83" y="134"/>
                      <a:pt x="83" y="133"/>
                      <a:pt x="83" y="132"/>
                    </a:cubicBezTo>
                    <a:cubicBezTo>
                      <a:pt x="83" y="119"/>
                      <a:pt x="83" y="119"/>
                      <a:pt x="83" y="119"/>
                    </a:cubicBezTo>
                    <a:cubicBezTo>
                      <a:pt x="83" y="97"/>
                      <a:pt x="79" y="80"/>
                      <a:pt x="75" y="70"/>
                    </a:cubicBezTo>
                    <a:cubicBezTo>
                      <a:pt x="89" y="66"/>
                      <a:pt x="104" y="64"/>
                      <a:pt x="119" y="64"/>
                    </a:cubicBezTo>
                    <a:cubicBezTo>
                      <a:pt x="131" y="64"/>
                      <a:pt x="131" y="64"/>
                      <a:pt x="131" y="64"/>
                    </a:cubicBezTo>
                    <a:cubicBezTo>
                      <a:pt x="132" y="64"/>
                      <a:pt x="132" y="64"/>
                      <a:pt x="132" y="65"/>
                    </a:cubicBezTo>
                    <a:cubicBezTo>
                      <a:pt x="132" y="68"/>
                      <a:pt x="129" y="72"/>
                      <a:pt x="126" y="76"/>
                    </a:cubicBezTo>
                    <a:cubicBezTo>
                      <a:pt x="121" y="82"/>
                      <a:pt x="116" y="89"/>
                      <a:pt x="116" y="98"/>
                    </a:cubicBezTo>
                    <a:cubicBezTo>
                      <a:pt x="116" y="123"/>
                      <a:pt x="141" y="131"/>
                      <a:pt x="157" y="131"/>
                    </a:cubicBezTo>
                    <a:cubicBezTo>
                      <a:pt x="174" y="131"/>
                      <a:pt x="199" y="123"/>
                      <a:pt x="199" y="98"/>
                    </a:cubicBezTo>
                    <a:cubicBezTo>
                      <a:pt x="199" y="89"/>
                      <a:pt x="194" y="82"/>
                      <a:pt x="189" y="76"/>
                    </a:cubicBezTo>
                    <a:cubicBezTo>
                      <a:pt x="186" y="72"/>
                      <a:pt x="183" y="68"/>
                      <a:pt x="183" y="65"/>
                    </a:cubicBezTo>
                    <a:cubicBezTo>
                      <a:pt x="183" y="64"/>
                      <a:pt x="183" y="64"/>
                      <a:pt x="184" y="64"/>
                    </a:cubicBezTo>
                    <a:cubicBezTo>
                      <a:pt x="196" y="64"/>
                      <a:pt x="196" y="64"/>
                      <a:pt x="196" y="64"/>
                    </a:cubicBezTo>
                    <a:cubicBezTo>
                      <a:pt x="211" y="64"/>
                      <a:pt x="226" y="66"/>
                      <a:pt x="239" y="70"/>
                    </a:cubicBezTo>
                    <a:cubicBezTo>
                      <a:pt x="237" y="78"/>
                      <a:pt x="235" y="86"/>
                      <a:pt x="233" y="95"/>
                    </a:cubicBezTo>
                    <a:cubicBezTo>
                      <a:pt x="233" y="95"/>
                      <a:pt x="233" y="96"/>
                      <a:pt x="233" y="97"/>
                    </a:cubicBezTo>
                    <a:cubicBezTo>
                      <a:pt x="233" y="98"/>
                      <a:pt x="233" y="100"/>
                      <a:pt x="233" y="101"/>
                    </a:cubicBezTo>
                    <a:cubicBezTo>
                      <a:pt x="232" y="102"/>
                      <a:pt x="232" y="103"/>
                      <a:pt x="232" y="104"/>
                    </a:cubicBezTo>
                    <a:cubicBezTo>
                      <a:pt x="232" y="106"/>
                      <a:pt x="232" y="108"/>
                      <a:pt x="232" y="110"/>
                    </a:cubicBezTo>
                    <a:cubicBezTo>
                      <a:pt x="232" y="110"/>
                      <a:pt x="232" y="111"/>
                      <a:pt x="232" y="111"/>
                    </a:cubicBezTo>
                    <a:cubicBezTo>
                      <a:pt x="232" y="114"/>
                      <a:pt x="232" y="117"/>
                      <a:pt x="232" y="119"/>
                    </a:cubicBezTo>
                    <a:cubicBezTo>
                      <a:pt x="232" y="132"/>
                      <a:pt x="232" y="132"/>
                      <a:pt x="232" y="132"/>
                    </a:cubicBezTo>
                    <a:cubicBezTo>
                      <a:pt x="232" y="133"/>
                      <a:pt x="232" y="134"/>
                      <a:pt x="232" y="135"/>
                    </a:cubicBezTo>
                    <a:cubicBezTo>
                      <a:pt x="235" y="143"/>
                      <a:pt x="241" y="148"/>
                      <a:pt x="249" y="148"/>
                    </a:cubicBezTo>
                    <a:cubicBezTo>
                      <a:pt x="249" y="148"/>
                      <a:pt x="249" y="148"/>
                      <a:pt x="249" y="148"/>
                    </a:cubicBezTo>
                    <a:cubicBezTo>
                      <a:pt x="257" y="148"/>
                      <a:pt x="264" y="143"/>
                      <a:pt x="269" y="139"/>
                    </a:cubicBezTo>
                    <a:cubicBezTo>
                      <a:pt x="274" y="135"/>
                      <a:pt x="279" y="132"/>
                      <a:pt x="282" y="132"/>
                    </a:cubicBezTo>
                    <a:cubicBezTo>
                      <a:pt x="299" y="132"/>
                      <a:pt x="299" y="157"/>
                      <a:pt x="299" y="158"/>
                    </a:cubicBezTo>
                    <a:cubicBezTo>
                      <a:pt x="299" y="158"/>
                      <a:pt x="299" y="183"/>
                      <a:pt x="282" y="183"/>
                    </a:cubicBezTo>
                    <a:cubicBezTo>
                      <a:pt x="279" y="183"/>
                      <a:pt x="274" y="180"/>
                      <a:pt x="269" y="176"/>
                    </a:cubicBezTo>
                    <a:cubicBezTo>
                      <a:pt x="264" y="172"/>
                      <a:pt x="257" y="167"/>
                      <a:pt x="249" y="167"/>
                    </a:cubicBezTo>
                    <a:cubicBezTo>
                      <a:pt x="249" y="167"/>
                      <a:pt x="249" y="167"/>
                      <a:pt x="249" y="167"/>
                    </a:cubicBezTo>
                    <a:cubicBezTo>
                      <a:pt x="241" y="167"/>
                      <a:pt x="235" y="172"/>
                      <a:pt x="232" y="181"/>
                    </a:cubicBezTo>
                    <a:cubicBezTo>
                      <a:pt x="232" y="181"/>
                      <a:pt x="232" y="182"/>
                      <a:pt x="232" y="183"/>
                    </a:cubicBezTo>
                    <a:cubicBezTo>
                      <a:pt x="232" y="196"/>
                      <a:pt x="232" y="196"/>
                      <a:pt x="232" y="196"/>
                    </a:cubicBezTo>
                    <a:cubicBezTo>
                      <a:pt x="232" y="199"/>
                      <a:pt x="232" y="201"/>
                      <a:pt x="232" y="204"/>
                    </a:cubicBezTo>
                    <a:cubicBezTo>
                      <a:pt x="232" y="205"/>
                      <a:pt x="232" y="205"/>
                      <a:pt x="232" y="206"/>
                    </a:cubicBezTo>
                    <a:cubicBezTo>
                      <a:pt x="232" y="208"/>
                      <a:pt x="232" y="210"/>
                      <a:pt x="232" y="212"/>
                    </a:cubicBezTo>
                    <a:cubicBezTo>
                      <a:pt x="232" y="212"/>
                      <a:pt x="232" y="213"/>
                      <a:pt x="233" y="214"/>
                    </a:cubicBezTo>
                    <a:cubicBezTo>
                      <a:pt x="233" y="216"/>
                      <a:pt x="233" y="217"/>
                      <a:pt x="233" y="219"/>
                    </a:cubicBezTo>
                    <a:cubicBezTo>
                      <a:pt x="233" y="219"/>
                      <a:pt x="233" y="220"/>
                      <a:pt x="233" y="221"/>
                    </a:cubicBezTo>
                    <a:cubicBezTo>
                      <a:pt x="235" y="229"/>
                      <a:pt x="237" y="237"/>
                      <a:pt x="239" y="244"/>
                    </a:cubicBezTo>
                    <a:cubicBezTo>
                      <a:pt x="233" y="247"/>
                      <a:pt x="220" y="251"/>
                      <a:pt x="203" y="252"/>
                    </a:cubicBezTo>
                    <a:cubicBezTo>
                      <a:pt x="201" y="252"/>
                      <a:pt x="200" y="252"/>
                      <a:pt x="198" y="252"/>
                    </a:cubicBezTo>
                    <a:cubicBezTo>
                      <a:pt x="197" y="252"/>
                      <a:pt x="196" y="252"/>
                      <a:pt x="195" y="252"/>
                    </a:cubicBezTo>
                    <a:cubicBezTo>
                      <a:pt x="184" y="252"/>
                      <a:pt x="184" y="252"/>
                      <a:pt x="184" y="252"/>
                    </a:cubicBezTo>
                    <a:cubicBezTo>
                      <a:pt x="183" y="251"/>
                      <a:pt x="183" y="251"/>
                      <a:pt x="183" y="251"/>
                    </a:cubicBezTo>
                    <a:cubicBezTo>
                      <a:pt x="183" y="248"/>
                      <a:pt x="186" y="244"/>
                      <a:pt x="189" y="239"/>
                    </a:cubicBezTo>
                    <a:cubicBezTo>
                      <a:pt x="194" y="233"/>
                      <a:pt x="199" y="226"/>
                      <a:pt x="199" y="217"/>
                    </a:cubicBezTo>
                    <a:cubicBezTo>
                      <a:pt x="199" y="194"/>
                      <a:pt x="177" y="185"/>
                      <a:pt x="160" y="184"/>
                    </a:cubicBezTo>
                    <a:cubicBezTo>
                      <a:pt x="159" y="184"/>
                      <a:pt x="158" y="184"/>
                      <a:pt x="157" y="184"/>
                    </a:cubicBezTo>
                    <a:cubicBezTo>
                      <a:pt x="140" y="184"/>
                      <a:pt x="115" y="193"/>
                      <a:pt x="115" y="217"/>
                    </a:cubicBezTo>
                    <a:cubicBezTo>
                      <a:pt x="115" y="226"/>
                      <a:pt x="120" y="233"/>
                      <a:pt x="125" y="239"/>
                    </a:cubicBezTo>
                    <a:cubicBezTo>
                      <a:pt x="128" y="243"/>
                      <a:pt x="131" y="248"/>
                      <a:pt x="131" y="251"/>
                    </a:cubicBezTo>
                    <a:cubicBezTo>
                      <a:pt x="131" y="251"/>
                      <a:pt x="131" y="251"/>
                      <a:pt x="130" y="252"/>
                    </a:cubicBezTo>
                    <a:cubicBezTo>
                      <a:pt x="118" y="252"/>
                      <a:pt x="118" y="252"/>
                      <a:pt x="118" y="252"/>
                    </a:cubicBezTo>
                    <a:cubicBezTo>
                      <a:pt x="118" y="252"/>
                      <a:pt x="118" y="252"/>
                      <a:pt x="118" y="252"/>
                    </a:cubicBezTo>
                    <a:cubicBezTo>
                      <a:pt x="103" y="252"/>
                      <a:pt x="89" y="249"/>
                      <a:pt x="75" y="245"/>
                    </a:cubicBezTo>
                    <a:cubicBezTo>
                      <a:pt x="79" y="236"/>
                      <a:pt x="83" y="219"/>
                      <a:pt x="83" y="196"/>
                    </a:cubicBezTo>
                    <a:cubicBezTo>
                      <a:pt x="83" y="183"/>
                      <a:pt x="83" y="183"/>
                      <a:pt x="83" y="183"/>
                    </a:cubicBezTo>
                    <a:cubicBezTo>
                      <a:pt x="83" y="182"/>
                      <a:pt x="83" y="181"/>
                      <a:pt x="83" y="181"/>
                    </a:cubicBezTo>
                    <a:cubicBezTo>
                      <a:pt x="80" y="172"/>
                      <a:pt x="74" y="167"/>
                      <a:pt x="66" y="167"/>
                    </a:cubicBezTo>
                    <a:close/>
                    <a:moveTo>
                      <a:pt x="251" y="380"/>
                    </a:moveTo>
                    <a:cubicBezTo>
                      <a:pt x="251" y="380"/>
                      <a:pt x="251" y="380"/>
                      <a:pt x="251" y="381"/>
                    </a:cubicBezTo>
                    <a:cubicBezTo>
                      <a:pt x="251" y="384"/>
                      <a:pt x="251" y="388"/>
                      <a:pt x="250" y="391"/>
                    </a:cubicBezTo>
                    <a:cubicBezTo>
                      <a:pt x="250" y="392"/>
                      <a:pt x="250" y="392"/>
                      <a:pt x="250" y="392"/>
                    </a:cubicBezTo>
                    <a:cubicBezTo>
                      <a:pt x="250" y="396"/>
                      <a:pt x="250" y="399"/>
                      <a:pt x="249" y="402"/>
                    </a:cubicBezTo>
                    <a:cubicBezTo>
                      <a:pt x="249" y="403"/>
                      <a:pt x="249" y="403"/>
                      <a:pt x="249" y="404"/>
                    </a:cubicBezTo>
                    <a:cubicBezTo>
                      <a:pt x="248" y="407"/>
                      <a:pt x="248" y="409"/>
                      <a:pt x="247" y="412"/>
                    </a:cubicBezTo>
                    <a:cubicBezTo>
                      <a:pt x="247" y="413"/>
                      <a:pt x="247" y="415"/>
                      <a:pt x="246" y="416"/>
                    </a:cubicBezTo>
                    <a:cubicBezTo>
                      <a:pt x="246" y="417"/>
                      <a:pt x="246" y="417"/>
                      <a:pt x="246" y="418"/>
                    </a:cubicBezTo>
                    <a:cubicBezTo>
                      <a:pt x="245" y="420"/>
                      <a:pt x="244" y="422"/>
                      <a:pt x="244" y="424"/>
                    </a:cubicBezTo>
                    <a:cubicBezTo>
                      <a:pt x="234" y="421"/>
                      <a:pt x="218" y="416"/>
                      <a:pt x="195" y="416"/>
                    </a:cubicBezTo>
                    <a:cubicBezTo>
                      <a:pt x="182" y="416"/>
                      <a:pt x="182" y="416"/>
                      <a:pt x="182" y="416"/>
                    </a:cubicBezTo>
                    <a:cubicBezTo>
                      <a:pt x="181" y="416"/>
                      <a:pt x="180" y="416"/>
                      <a:pt x="180" y="416"/>
                    </a:cubicBezTo>
                    <a:cubicBezTo>
                      <a:pt x="171" y="419"/>
                      <a:pt x="166" y="425"/>
                      <a:pt x="166" y="433"/>
                    </a:cubicBezTo>
                    <a:cubicBezTo>
                      <a:pt x="166" y="441"/>
                      <a:pt x="171" y="448"/>
                      <a:pt x="175" y="454"/>
                    </a:cubicBezTo>
                    <a:cubicBezTo>
                      <a:pt x="179" y="459"/>
                      <a:pt x="182" y="463"/>
                      <a:pt x="182" y="467"/>
                    </a:cubicBezTo>
                    <a:cubicBezTo>
                      <a:pt x="182" y="483"/>
                      <a:pt x="157" y="484"/>
                      <a:pt x="157" y="484"/>
                    </a:cubicBezTo>
                    <a:cubicBezTo>
                      <a:pt x="156" y="484"/>
                      <a:pt x="131" y="483"/>
                      <a:pt x="131" y="467"/>
                    </a:cubicBezTo>
                    <a:cubicBezTo>
                      <a:pt x="131" y="463"/>
                      <a:pt x="134" y="459"/>
                      <a:pt x="138" y="454"/>
                    </a:cubicBezTo>
                    <a:cubicBezTo>
                      <a:pt x="142" y="448"/>
                      <a:pt x="147" y="441"/>
                      <a:pt x="147" y="433"/>
                    </a:cubicBezTo>
                    <a:cubicBezTo>
                      <a:pt x="147" y="425"/>
                      <a:pt x="142" y="419"/>
                      <a:pt x="134" y="416"/>
                    </a:cubicBezTo>
                    <a:cubicBezTo>
                      <a:pt x="133" y="416"/>
                      <a:pt x="132" y="416"/>
                      <a:pt x="131" y="416"/>
                    </a:cubicBezTo>
                    <a:cubicBezTo>
                      <a:pt x="118" y="416"/>
                      <a:pt x="118" y="416"/>
                      <a:pt x="118" y="416"/>
                    </a:cubicBezTo>
                    <a:cubicBezTo>
                      <a:pt x="96" y="416"/>
                      <a:pt x="79" y="421"/>
                      <a:pt x="69" y="424"/>
                    </a:cubicBezTo>
                    <a:cubicBezTo>
                      <a:pt x="65" y="410"/>
                      <a:pt x="62" y="396"/>
                      <a:pt x="62" y="380"/>
                    </a:cubicBezTo>
                    <a:cubicBezTo>
                      <a:pt x="62" y="369"/>
                      <a:pt x="62" y="369"/>
                      <a:pt x="62" y="369"/>
                    </a:cubicBezTo>
                    <a:cubicBezTo>
                      <a:pt x="63" y="368"/>
                      <a:pt x="63" y="368"/>
                      <a:pt x="64" y="368"/>
                    </a:cubicBezTo>
                    <a:cubicBezTo>
                      <a:pt x="67" y="368"/>
                      <a:pt x="71" y="371"/>
                      <a:pt x="75" y="374"/>
                    </a:cubicBezTo>
                    <a:cubicBezTo>
                      <a:pt x="81" y="378"/>
                      <a:pt x="88" y="383"/>
                      <a:pt x="97" y="383"/>
                    </a:cubicBezTo>
                    <a:cubicBezTo>
                      <a:pt x="121" y="383"/>
                      <a:pt x="130" y="359"/>
                      <a:pt x="130" y="342"/>
                    </a:cubicBezTo>
                    <a:cubicBezTo>
                      <a:pt x="130" y="325"/>
                      <a:pt x="121" y="300"/>
                      <a:pt x="97" y="300"/>
                    </a:cubicBezTo>
                    <a:cubicBezTo>
                      <a:pt x="88" y="300"/>
                      <a:pt x="81" y="306"/>
                      <a:pt x="75" y="310"/>
                    </a:cubicBezTo>
                    <a:cubicBezTo>
                      <a:pt x="71" y="313"/>
                      <a:pt x="67" y="316"/>
                      <a:pt x="64" y="316"/>
                    </a:cubicBezTo>
                    <a:cubicBezTo>
                      <a:pt x="63" y="316"/>
                      <a:pt x="63" y="316"/>
                      <a:pt x="62" y="315"/>
                    </a:cubicBezTo>
                    <a:cubicBezTo>
                      <a:pt x="62" y="304"/>
                      <a:pt x="62" y="304"/>
                      <a:pt x="62" y="304"/>
                    </a:cubicBezTo>
                    <a:cubicBezTo>
                      <a:pt x="62" y="288"/>
                      <a:pt x="65" y="274"/>
                      <a:pt x="69" y="260"/>
                    </a:cubicBezTo>
                    <a:cubicBezTo>
                      <a:pt x="78" y="263"/>
                      <a:pt x="92" y="267"/>
                      <a:pt x="111" y="268"/>
                    </a:cubicBezTo>
                    <a:cubicBezTo>
                      <a:pt x="114" y="268"/>
                      <a:pt x="116" y="268"/>
                      <a:pt x="119" y="268"/>
                    </a:cubicBezTo>
                    <a:cubicBezTo>
                      <a:pt x="132" y="268"/>
                      <a:pt x="132" y="268"/>
                      <a:pt x="132" y="268"/>
                    </a:cubicBezTo>
                    <a:cubicBezTo>
                      <a:pt x="133" y="268"/>
                      <a:pt x="134" y="268"/>
                      <a:pt x="135" y="267"/>
                    </a:cubicBezTo>
                    <a:cubicBezTo>
                      <a:pt x="143" y="265"/>
                      <a:pt x="148" y="258"/>
                      <a:pt x="148" y="251"/>
                    </a:cubicBezTo>
                    <a:cubicBezTo>
                      <a:pt x="148" y="242"/>
                      <a:pt x="143" y="236"/>
                      <a:pt x="139" y="230"/>
                    </a:cubicBezTo>
                    <a:cubicBezTo>
                      <a:pt x="135" y="225"/>
                      <a:pt x="132" y="221"/>
                      <a:pt x="132" y="217"/>
                    </a:cubicBezTo>
                    <a:cubicBezTo>
                      <a:pt x="132" y="201"/>
                      <a:pt x="157" y="200"/>
                      <a:pt x="157" y="200"/>
                    </a:cubicBezTo>
                    <a:cubicBezTo>
                      <a:pt x="158" y="200"/>
                      <a:pt x="158" y="200"/>
                      <a:pt x="158" y="200"/>
                    </a:cubicBezTo>
                    <a:cubicBezTo>
                      <a:pt x="162" y="200"/>
                      <a:pt x="182" y="202"/>
                      <a:pt x="182" y="217"/>
                    </a:cubicBezTo>
                    <a:cubicBezTo>
                      <a:pt x="182" y="221"/>
                      <a:pt x="179" y="225"/>
                      <a:pt x="175" y="230"/>
                    </a:cubicBezTo>
                    <a:cubicBezTo>
                      <a:pt x="171" y="236"/>
                      <a:pt x="166" y="242"/>
                      <a:pt x="166" y="251"/>
                    </a:cubicBezTo>
                    <a:cubicBezTo>
                      <a:pt x="166" y="258"/>
                      <a:pt x="171" y="265"/>
                      <a:pt x="180" y="267"/>
                    </a:cubicBezTo>
                    <a:cubicBezTo>
                      <a:pt x="180" y="268"/>
                      <a:pt x="181" y="268"/>
                      <a:pt x="182" y="268"/>
                    </a:cubicBezTo>
                    <a:cubicBezTo>
                      <a:pt x="183" y="268"/>
                      <a:pt x="183" y="268"/>
                      <a:pt x="183" y="268"/>
                    </a:cubicBezTo>
                    <a:cubicBezTo>
                      <a:pt x="183" y="268"/>
                      <a:pt x="183" y="268"/>
                      <a:pt x="183" y="268"/>
                    </a:cubicBezTo>
                    <a:cubicBezTo>
                      <a:pt x="196" y="268"/>
                      <a:pt x="196" y="268"/>
                      <a:pt x="196" y="268"/>
                    </a:cubicBezTo>
                    <a:cubicBezTo>
                      <a:pt x="213" y="268"/>
                      <a:pt x="229" y="265"/>
                      <a:pt x="244" y="260"/>
                    </a:cubicBezTo>
                    <a:cubicBezTo>
                      <a:pt x="244" y="262"/>
                      <a:pt x="245" y="264"/>
                      <a:pt x="246" y="266"/>
                    </a:cubicBezTo>
                    <a:cubicBezTo>
                      <a:pt x="246" y="267"/>
                      <a:pt x="246" y="267"/>
                      <a:pt x="246" y="267"/>
                    </a:cubicBezTo>
                    <a:cubicBezTo>
                      <a:pt x="247" y="269"/>
                      <a:pt x="247" y="271"/>
                      <a:pt x="247" y="272"/>
                    </a:cubicBezTo>
                    <a:cubicBezTo>
                      <a:pt x="248" y="275"/>
                      <a:pt x="248" y="277"/>
                      <a:pt x="249" y="280"/>
                    </a:cubicBezTo>
                    <a:cubicBezTo>
                      <a:pt x="249" y="281"/>
                      <a:pt x="249" y="281"/>
                      <a:pt x="249" y="282"/>
                    </a:cubicBezTo>
                    <a:cubicBezTo>
                      <a:pt x="250" y="285"/>
                      <a:pt x="250" y="288"/>
                      <a:pt x="250" y="291"/>
                    </a:cubicBezTo>
                    <a:cubicBezTo>
                      <a:pt x="250" y="292"/>
                      <a:pt x="250" y="292"/>
                      <a:pt x="250" y="293"/>
                    </a:cubicBezTo>
                    <a:cubicBezTo>
                      <a:pt x="251" y="296"/>
                      <a:pt x="251" y="300"/>
                      <a:pt x="251" y="303"/>
                    </a:cubicBezTo>
                    <a:cubicBezTo>
                      <a:pt x="251" y="303"/>
                      <a:pt x="251" y="304"/>
                      <a:pt x="251" y="304"/>
                    </a:cubicBezTo>
                    <a:cubicBezTo>
                      <a:pt x="251" y="315"/>
                      <a:pt x="251" y="315"/>
                      <a:pt x="251" y="315"/>
                    </a:cubicBezTo>
                    <a:cubicBezTo>
                      <a:pt x="250" y="316"/>
                      <a:pt x="250" y="316"/>
                      <a:pt x="250" y="316"/>
                    </a:cubicBezTo>
                    <a:cubicBezTo>
                      <a:pt x="247" y="316"/>
                      <a:pt x="242" y="313"/>
                      <a:pt x="238" y="310"/>
                    </a:cubicBezTo>
                    <a:cubicBezTo>
                      <a:pt x="232" y="306"/>
                      <a:pt x="225" y="300"/>
                      <a:pt x="216" y="300"/>
                    </a:cubicBezTo>
                    <a:cubicBezTo>
                      <a:pt x="216" y="300"/>
                      <a:pt x="216" y="300"/>
                      <a:pt x="216" y="300"/>
                    </a:cubicBezTo>
                    <a:cubicBezTo>
                      <a:pt x="192" y="300"/>
                      <a:pt x="183" y="325"/>
                      <a:pt x="183" y="342"/>
                    </a:cubicBezTo>
                    <a:cubicBezTo>
                      <a:pt x="183" y="359"/>
                      <a:pt x="192" y="383"/>
                      <a:pt x="216" y="383"/>
                    </a:cubicBezTo>
                    <a:cubicBezTo>
                      <a:pt x="216" y="383"/>
                      <a:pt x="216" y="383"/>
                      <a:pt x="216" y="383"/>
                    </a:cubicBezTo>
                    <a:cubicBezTo>
                      <a:pt x="225" y="383"/>
                      <a:pt x="232" y="378"/>
                      <a:pt x="238" y="374"/>
                    </a:cubicBezTo>
                    <a:cubicBezTo>
                      <a:pt x="242" y="371"/>
                      <a:pt x="247" y="368"/>
                      <a:pt x="250" y="368"/>
                    </a:cubicBezTo>
                    <a:cubicBezTo>
                      <a:pt x="250" y="368"/>
                      <a:pt x="250" y="368"/>
                      <a:pt x="251" y="369"/>
                    </a:cubicBezTo>
                    <a:lnTo>
                      <a:pt x="251" y="380"/>
                    </a:lnTo>
                    <a:close/>
                    <a:moveTo>
                      <a:pt x="466" y="367"/>
                    </a:moveTo>
                    <a:cubicBezTo>
                      <a:pt x="462" y="367"/>
                      <a:pt x="458" y="364"/>
                      <a:pt x="453" y="361"/>
                    </a:cubicBezTo>
                    <a:cubicBezTo>
                      <a:pt x="447" y="356"/>
                      <a:pt x="440" y="352"/>
                      <a:pt x="432" y="352"/>
                    </a:cubicBezTo>
                    <a:cubicBezTo>
                      <a:pt x="424" y="352"/>
                      <a:pt x="418" y="356"/>
                      <a:pt x="415" y="365"/>
                    </a:cubicBezTo>
                    <a:cubicBezTo>
                      <a:pt x="415" y="366"/>
                      <a:pt x="415" y="366"/>
                      <a:pt x="415" y="367"/>
                    </a:cubicBezTo>
                    <a:cubicBezTo>
                      <a:pt x="415" y="380"/>
                      <a:pt x="415" y="380"/>
                      <a:pt x="415" y="380"/>
                    </a:cubicBezTo>
                    <a:cubicBezTo>
                      <a:pt x="415" y="403"/>
                      <a:pt x="420" y="420"/>
                      <a:pt x="423" y="429"/>
                    </a:cubicBezTo>
                    <a:cubicBezTo>
                      <a:pt x="409" y="434"/>
                      <a:pt x="395" y="436"/>
                      <a:pt x="379" y="436"/>
                    </a:cubicBezTo>
                    <a:cubicBezTo>
                      <a:pt x="368" y="436"/>
                      <a:pt x="368" y="436"/>
                      <a:pt x="368" y="436"/>
                    </a:cubicBezTo>
                    <a:cubicBezTo>
                      <a:pt x="367" y="436"/>
                      <a:pt x="367" y="435"/>
                      <a:pt x="367" y="435"/>
                    </a:cubicBezTo>
                    <a:cubicBezTo>
                      <a:pt x="367" y="432"/>
                      <a:pt x="370" y="428"/>
                      <a:pt x="373" y="424"/>
                    </a:cubicBezTo>
                    <a:cubicBezTo>
                      <a:pt x="377" y="417"/>
                      <a:pt x="382" y="410"/>
                      <a:pt x="382" y="401"/>
                    </a:cubicBezTo>
                    <a:cubicBezTo>
                      <a:pt x="382" y="377"/>
                      <a:pt x="358" y="368"/>
                      <a:pt x="341" y="368"/>
                    </a:cubicBezTo>
                    <a:cubicBezTo>
                      <a:pt x="324" y="368"/>
                      <a:pt x="299" y="377"/>
                      <a:pt x="299" y="401"/>
                    </a:cubicBezTo>
                    <a:cubicBezTo>
                      <a:pt x="299" y="410"/>
                      <a:pt x="305" y="417"/>
                      <a:pt x="309" y="424"/>
                    </a:cubicBezTo>
                    <a:cubicBezTo>
                      <a:pt x="312" y="428"/>
                      <a:pt x="315" y="432"/>
                      <a:pt x="315" y="435"/>
                    </a:cubicBezTo>
                    <a:cubicBezTo>
                      <a:pt x="315" y="435"/>
                      <a:pt x="315" y="436"/>
                      <a:pt x="314" y="436"/>
                    </a:cubicBezTo>
                    <a:cubicBezTo>
                      <a:pt x="303" y="436"/>
                      <a:pt x="303" y="436"/>
                      <a:pt x="303" y="436"/>
                    </a:cubicBezTo>
                    <a:cubicBezTo>
                      <a:pt x="287" y="436"/>
                      <a:pt x="273" y="434"/>
                      <a:pt x="259" y="429"/>
                    </a:cubicBezTo>
                    <a:cubicBezTo>
                      <a:pt x="262" y="421"/>
                      <a:pt x="264" y="413"/>
                      <a:pt x="265" y="405"/>
                    </a:cubicBezTo>
                    <a:cubicBezTo>
                      <a:pt x="265" y="404"/>
                      <a:pt x="265" y="404"/>
                      <a:pt x="265" y="403"/>
                    </a:cubicBezTo>
                    <a:cubicBezTo>
                      <a:pt x="265" y="401"/>
                      <a:pt x="266" y="400"/>
                      <a:pt x="266" y="398"/>
                    </a:cubicBezTo>
                    <a:cubicBezTo>
                      <a:pt x="266" y="397"/>
                      <a:pt x="266" y="397"/>
                      <a:pt x="266" y="396"/>
                    </a:cubicBezTo>
                    <a:cubicBezTo>
                      <a:pt x="266" y="394"/>
                      <a:pt x="266" y="392"/>
                      <a:pt x="267" y="390"/>
                    </a:cubicBezTo>
                    <a:cubicBezTo>
                      <a:pt x="267" y="389"/>
                      <a:pt x="267" y="389"/>
                      <a:pt x="267" y="388"/>
                    </a:cubicBezTo>
                    <a:cubicBezTo>
                      <a:pt x="267" y="386"/>
                      <a:pt x="267" y="383"/>
                      <a:pt x="267" y="380"/>
                    </a:cubicBezTo>
                    <a:cubicBezTo>
                      <a:pt x="267" y="367"/>
                      <a:pt x="267" y="367"/>
                      <a:pt x="267" y="367"/>
                    </a:cubicBezTo>
                    <a:cubicBezTo>
                      <a:pt x="267" y="366"/>
                      <a:pt x="267" y="366"/>
                      <a:pt x="266" y="365"/>
                    </a:cubicBezTo>
                    <a:cubicBezTo>
                      <a:pt x="264" y="356"/>
                      <a:pt x="257" y="352"/>
                      <a:pt x="250" y="352"/>
                    </a:cubicBezTo>
                    <a:cubicBezTo>
                      <a:pt x="250" y="352"/>
                      <a:pt x="250" y="352"/>
                      <a:pt x="250" y="352"/>
                    </a:cubicBezTo>
                    <a:cubicBezTo>
                      <a:pt x="241" y="352"/>
                      <a:pt x="235" y="356"/>
                      <a:pt x="229" y="361"/>
                    </a:cubicBezTo>
                    <a:cubicBezTo>
                      <a:pt x="224" y="364"/>
                      <a:pt x="220" y="367"/>
                      <a:pt x="216" y="367"/>
                    </a:cubicBezTo>
                    <a:cubicBezTo>
                      <a:pt x="200" y="367"/>
                      <a:pt x="199" y="342"/>
                      <a:pt x="199" y="342"/>
                    </a:cubicBezTo>
                    <a:cubicBezTo>
                      <a:pt x="199" y="342"/>
                      <a:pt x="200" y="316"/>
                      <a:pt x="216" y="316"/>
                    </a:cubicBezTo>
                    <a:cubicBezTo>
                      <a:pt x="220" y="316"/>
                      <a:pt x="224" y="320"/>
                      <a:pt x="229" y="323"/>
                    </a:cubicBezTo>
                    <a:cubicBezTo>
                      <a:pt x="235" y="327"/>
                      <a:pt x="241" y="332"/>
                      <a:pt x="250" y="332"/>
                    </a:cubicBezTo>
                    <a:cubicBezTo>
                      <a:pt x="250" y="332"/>
                      <a:pt x="250" y="332"/>
                      <a:pt x="250" y="332"/>
                    </a:cubicBezTo>
                    <a:cubicBezTo>
                      <a:pt x="257" y="332"/>
                      <a:pt x="264" y="327"/>
                      <a:pt x="266" y="319"/>
                    </a:cubicBezTo>
                    <a:cubicBezTo>
                      <a:pt x="267" y="318"/>
                      <a:pt x="267" y="317"/>
                      <a:pt x="267" y="316"/>
                    </a:cubicBezTo>
                    <a:cubicBezTo>
                      <a:pt x="267" y="304"/>
                      <a:pt x="267" y="304"/>
                      <a:pt x="267" y="304"/>
                    </a:cubicBezTo>
                    <a:cubicBezTo>
                      <a:pt x="267" y="301"/>
                      <a:pt x="267" y="298"/>
                      <a:pt x="267" y="296"/>
                    </a:cubicBezTo>
                    <a:cubicBezTo>
                      <a:pt x="267" y="295"/>
                      <a:pt x="267" y="295"/>
                      <a:pt x="267" y="294"/>
                    </a:cubicBezTo>
                    <a:cubicBezTo>
                      <a:pt x="266" y="292"/>
                      <a:pt x="266" y="290"/>
                      <a:pt x="266" y="288"/>
                    </a:cubicBezTo>
                    <a:cubicBezTo>
                      <a:pt x="266" y="287"/>
                      <a:pt x="266" y="287"/>
                      <a:pt x="266" y="286"/>
                    </a:cubicBezTo>
                    <a:cubicBezTo>
                      <a:pt x="266" y="284"/>
                      <a:pt x="265" y="282"/>
                      <a:pt x="265" y="281"/>
                    </a:cubicBezTo>
                    <a:cubicBezTo>
                      <a:pt x="265" y="280"/>
                      <a:pt x="265" y="280"/>
                      <a:pt x="265" y="279"/>
                    </a:cubicBezTo>
                    <a:cubicBezTo>
                      <a:pt x="264" y="271"/>
                      <a:pt x="262" y="263"/>
                      <a:pt x="259" y="255"/>
                    </a:cubicBezTo>
                    <a:cubicBezTo>
                      <a:pt x="266" y="253"/>
                      <a:pt x="278" y="249"/>
                      <a:pt x="296" y="248"/>
                    </a:cubicBezTo>
                    <a:cubicBezTo>
                      <a:pt x="297" y="248"/>
                      <a:pt x="299" y="248"/>
                      <a:pt x="300" y="248"/>
                    </a:cubicBezTo>
                    <a:cubicBezTo>
                      <a:pt x="301" y="248"/>
                      <a:pt x="302" y="248"/>
                      <a:pt x="304" y="248"/>
                    </a:cubicBezTo>
                    <a:cubicBezTo>
                      <a:pt x="314" y="248"/>
                      <a:pt x="314" y="248"/>
                      <a:pt x="314" y="248"/>
                    </a:cubicBezTo>
                    <a:cubicBezTo>
                      <a:pt x="315" y="248"/>
                      <a:pt x="315" y="249"/>
                      <a:pt x="315" y="249"/>
                    </a:cubicBezTo>
                    <a:cubicBezTo>
                      <a:pt x="315" y="252"/>
                      <a:pt x="312" y="256"/>
                      <a:pt x="309" y="260"/>
                    </a:cubicBezTo>
                    <a:cubicBezTo>
                      <a:pt x="305" y="266"/>
                      <a:pt x="299" y="273"/>
                      <a:pt x="299" y="283"/>
                    </a:cubicBezTo>
                    <a:cubicBezTo>
                      <a:pt x="299" y="306"/>
                      <a:pt x="322" y="315"/>
                      <a:pt x="338" y="315"/>
                    </a:cubicBezTo>
                    <a:cubicBezTo>
                      <a:pt x="340" y="316"/>
                      <a:pt x="341" y="316"/>
                      <a:pt x="342" y="316"/>
                    </a:cubicBezTo>
                    <a:cubicBezTo>
                      <a:pt x="358" y="316"/>
                      <a:pt x="383" y="307"/>
                      <a:pt x="383" y="283"/>
                    </a:cubicBezTo>
                    <a:cubicBezTo>
                      <a:pt x="383" y="274"/>
                      <a:pt x="378" y="266"/>
                      <a:pt x="373" y="260"/>
                    </a:cubicBezTo>
                    <a:cubicBezTo>
                      <a:pt x="370" y="256"/>
                      <a:pt x="367" y="252"/>
                      <a:pt x="367" y="249"/>
                    </a:cubicBezTo>
                    <a:cubicBezTo>
                      <a:pt x="367" y="249"/>
                      <a:pt x="367" y="248"/>
                      <a:pt x="369" y="248"/>
                    </a:cubicBezTo>
                    <a:cubicBezTo>
                      <a:pt x="380" y="248"/>
                      <a:pt x="380" y="248"/>
                      <a:pt x="380" y="248"/>
                    </a:cubicBezTo>
                    <a:cubicBezTo>
                      <a:pt x="380" y="248"/>
                      <a:pt x="380" y="248"/>
                      <a:pt x="380" y="248"/>
                    </a:cubicBezTo>
                    <a:cubicBezTo>
                      <a:pt x="395" y="248"/>
                      <a:pt x="410" y="250"/>
                      <a:pt x="423" y="255"/>
                    </a:cubicBezTo>
                    <a:cubicBezTo>
                      <a:pt x="420" y="264"/>
                      <a:pt x="415" y="281"/>
                      <a:pt x="415" y="304"/>
                    </a:cubicBezTo>
                    <a:cubicBezTo>
                      <a:pt x="415" y="316"/>
                      <a:pt x="415" y="316"/>
                      <a:pt x="415" y="316"/>
                    </a:cubicBezTo>
                    <a:cubicBezTo>
                      <a:pt x="415" y="317"/>
                      <a:pt x="415" y="318"/>
                      <a:pt x="415" y="319"/>
                    </a:cubicBezTo>
                    <a:cubicBezTo>
                      <a:pt x="418" y="327"/>
                      <a:pt x="424" y="332"/>
                      <a:pt x="432" y="332"/>
                    </a:cubicBezTo>
                    <a:cubicBezTo>
                      <a:pt x="440" y="332"/>
                      <a:pt x="447" y="327"/>
                      <a:pt x="453" y="323"/>
                    </a:cubicBezTo>
                    <a:cubicBezTo>
                      <a:pt x="458" y="320"/>
                      <a:pt x="462" y="316"/>
                      <a:pt x="466" y="316"/>
                    </a:cubicBezTo>
                    <a:cubicBezTo>
                      <a:pt x="482" y="316"/>
                      <a:pt x="483" y="342"/>
                      <a:pt x="483" y="342"/>
                    </a:cubicBezTo>
                    <a:cubicBezTo>
                      <a:pt x="483" y="342"/>
                      <a:pt x="482" y="367"/>
                      <a:pt x="466" y="367"/>
                    </a:cubicBezTo>
                    <a:close/>
                  </a:path>
                </a:pathLst>
              </a:custGeom>
              <a:solidFill>
                <a:srgbClr val="00A9D4"/>
              </a:solidFill>
              <a:ln w="9525" cap="flat" cmpd="sng" algn="ctr">
                <a:noFill/>
                <a:prstDash val="solid"/>
                <a:round/>
                <a:headEnd type="none" w="med" len="med"/>
                <a:tailEnd type="none" w="med" len="med"/>
              </a:ln>
              <a:effectLst/>
            </p:spPr>
            <p:txBody>
              <a:bodyPr lIns="91407" tIns="45705" rIns="91407" bIns="45705" anchor="ctr"/>
              <a:lstStyle/>
              <a:p>
                <a:pPr algn="ctr" defTabSz="914939">
                  <a:spcBef>
                    <a:spcPct val="50000"/>
                  </a:spcBef>
                  <a:defRPr/>
                </a:pPr>
                <a:endParaRPr lang="en-US" sz="2400" kern="0" cap="all">
                  <a:solidFill>
                    <a:srgbClr val="00285F"/>
                  </a:solidFill>
                  <a:latin typeface="Arial"/>
                  <a:cs typeface="Times New Roman" pitchFamily="18" charset="0"/>
                </a:endParaRPr>
              </a:p>
            </p:txBody>
          </p:sp>
        </p:grpSp>
        <p:grpSp>
          <p:nvGrpSpPr>
            <p:cNvPr id="40" name="Group 4"/>
            <p:cNvGrpSpPr>
              <a:grpSpLocks/>
            </p:cNvGrpSpPr>
            <p:nvPr/>
          </p:nvGrpSpPr>
          <p:grpSpPr bwMode="auto">
            <a:xfrm>
              <a:off x="601113" y="4049756"/>
              <a:ext cx="9175498" cy="1079390"/>
              <a:chOff x="601113" y="4049227"/>
              <a:chExt cx="9175498" cy="1079390"/>
            </a:xfrm>
          </p:grpSpPr>
          <p:sp>
            <p:nvSpPr>
              <p:cNvPr id="41" name="Rounded Rectangle 40"/>
              <p:cNvSpPr/>
              <p:nvPr/>
            </p:nvSpPr>
            <p:spPr bwMode="auto">
              <a:xfrm>
                <a:off x="3594429" y="4066013"/>
                <a:ext cx="6182182" cy="1045816"/>
              </a:xfrm>
              <a:prstGeom prst="roundRect">
                <a:avLst>
                  <a:gd name="adj" fmla="val 10368"/>
                </a:avLst>
              </a:prstGeom>
              <a:solidFill>
                <a:srgbClr val="8F3F7B"/>
              </a:solidFill>
              <a:ln w="9525" cap="flat" cmpd="sng" algn="ctr">
                <a:noFill/>
                <a:prstDash val="solid"/>
                <a:round/>
                <a:headEnd type="none" w="med" len="med"/>
                <a:tailEnd type="none" w="med" len="med"/>
              </a:ln>
              <a:effectLst/>
            </p:spPr>
            <p:txBody>
              <a:bodyPr lIns="91407" tIns="45705" rIns="91407" bIns="45705" anchor="ctr"/>
              <a:lstStyle/>
              <a:p>
                <a:pPr algn="ctr" defTabSz="914939">
                  <a:spcBef>
                    <a:spcPct val="50000"/>
                  </a:spcBef>
                  <a:defRPr/>
                </a:pPr>
                <a:endParaRPr lang="en-US" sz="2400" kern="0" cap="all" dirty="0">
                  <a:solidFill>
                    <a:srgbClr val="00285F"/>
                  </a:solidFill>
                  <a:latin typeface="Arial"/>
                  <a:cs typeface="Times New Roman" pitchFamily="18" charset="0"/>
                </a:endParaRPr>
              </a:p>
            </p:txBody>
          </p:sp>
          <p:sp>
            <p:nvSpPr>
              <p:cNvPr id="43" name="Rectangle 42"/>
              <p:cNvSpPr/>
              <p:nvPr/>
            </p:nvSpPr>
            <p:spPr bwMode="auto">
              <a:xfrm>
                <a:off x="4030918" y="4066013"/>
                <a:ext cx="4590100" cy="1045816"/>
              </a:xfrm>
              <a:prstGeom prst="rect">
                <a:avLst/>
              </a:prstGeom>
              <a:solidFill>
                <a:srgbClr val="8F3F7B"/>
              </a:solidFill>
              <a:ln w="9525" cap="flat" cmpd="sng" algn="ctr">
                <a:noFill/>
                <a:prstDash val="solid"/>
                <a:round/>
                <a:headEnd type="none" w="med" len="med"/>
                <a:tailEnd type="none" w="med" len="med"/>
              </a:ln>
              <a:effectLst/>
            </p:spPr>
            <p:txBody>
              <a:bodyPr lIns="91407" tIns="45705" rIns="91407" bIns="45705" anchor="ctr"/>
              <a:lstStyle/>
              <a:p>
                <a:pPr algn="ctr" defTabSz="914939">
                  <a:spcBef>
                    <a:spcPct val="50000"/>
                  </a:spcBef>
                  <a:defRPr/>
                </a:pPr>
                <a:endParaRPr lang="en-US" sz="2400" kern="0" cap="all" dirty="0">
                  <a:solidFill>
                    <a:srgbClr val="00285F"/>
                  </a:solidFill>
                  <a:latin typeface="Arial"/>
                  <a:cs typeface="Times New Roman" pitchFamily="18" charset="0"/>
                </a:endParaRPr>
              </a:p>
            </p:txBody>
          </p:sp>
          <p:sp>
            <p:nvSpPr>
              <p:cNvPr id="44" name="Oval 16"/>
              <p:cNvSpPr>
                <a:spLocks noChangeArrowheads="1"/>
              </p:cNvSpPr>
              <p:nvPr/>
            </p:nvSpPr>
            <p:spPr bwMode="auto">
              <a:xfrm>
                <a:off x="4005735" y="4049227"/>
                <a:ext cx="5621308" cy="1079390"/>
              </a:xfrm>
              <a:prstGeom prst="roundRect">
                <a:avLst>
                  <a:gd name="adj" fmla="val 8241"/>
                </a:avLst>
              </a:prstGeom>
              <a:noFill/>
              <a:ln w="25400" cap="flat" cmpd="sng" algn="ctr">
                <a:noFill/>
                <a:prstDash val="solid"/>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chemeClr val="accent2"/>
                    </a:solidFill>
                    <a:prstDash val="solid"/>
                    <a:headEnd/>
                    <a:tailEnd/>
                  </a14:hiddenLine>
                </a:ext>
              </a:extLst>
            </p:spPr>
            <p:style>
              <a:lnRef idx="2">
                <a:schemeClr val="accent2"/>
              </a:lnRef>
              <a:fillRef idx="1">
                <a:schemeClr val="lt1"/>
              </a:fillRef>
              <a:effectRef idx="0">
                <a:schemeClr val="accent2"/>
              </a:effectRef>
              <a:fontRef idx="minor">
                <a:schemeClr val="dk1"/>
              </a:fontRef>
            </p:style>
            <p:txBody>
              <a:bodyPr lIns="71974" tIns="45705" rIns="71974" bIns="45705" anchor="ctr"/>
              <a:lstStyle/>
              <a:p>
                <a:pPr marL="285750" indent="-285750" algn="l">
                  <a:spcAft>
                    <a:spcPts val="300"/>
                  </a:spcAft>
                  <a:buClr>
                    <a:srgbClr val="FFFFFF"/>
                  </a:buClr>
                  <a:buFont typeface="Arial" panose="020B0604020202020204" pitchFamily="34" charset="0"/>
                  <a:buChar char="›"/>
                  <a:defRPr/>
                </a:pPr>
                <a:r>
                  <a:rPr lang="en-US" sz="1800" dirty="0">
                    <a:solidFill>
                      <a:srgbClr val="FFFFFF"/>
                    </a:solidFill>
                    <a:ea typeface="MS PGothic" pitchFamily="34" charset="-128"/>
                  </a:rPr>
                  <a:t>Use modular building blocks to unify deployment, administration, monitoring and configuration, enabling low customer TCO</a:t>
                </a:r>
              </a:p>
            </p:txBody>
          </p:sp>
          <p:sp>
            <p:nvSpPr>
              <p:cNvPr id="46" name="Freeform 19"/>
              <p:cNvSpPr>
                <a:spLocks noChangeAspect="1"/>
              </p:cNvSpPr>
              <p:nvPr/>
            </p:nvSpPr>
            <p:spPr bwMode="auto">
              <a:xfrm>
                <a:off x="601113" y="4067693"/>
                <a:ext cx="3204845" cy="1042458"/>
              </a:xfrm>
              <a:custGeom>
                <a:avLst/>
                <a:gdLst>
                  <a:gd name="T0" fmla="*/ 2147483647 w 652"/>
                  <a:gd name="T1" fmla="*/ 2147483647 h 212"/>
                  <a:gd name="T2" fmla="*/ 2147483647 w 652"/>
                  <a:gd name="T3" fmla="*/ 2147483647 h 212"/>
                  <a:gd name="T4" fmla="*/ 2147483647 w 652"/>
                  <a:gd name="T5" fmla="*/ 2147483647 h 212"/>
                  <a:gd name="T6" fmla="*/ 2147483647 w 652"/>
                  <a:gd name="T7" fmla="*/ 2147483647 h 212"/>
                  <a:gd name="T8" fmla="*/ 2147483647 w 652"/>
                  <a:gd name="T9" fmla="*/ 2147483647 h 212"/>
                  <a:gd name="T10" fmla="*/ 2147483647 w 652"/>
                  <a:gd name="T11" fmla="*/ 2147483647 h 212"/>
                  <a:gd name="T12" fmla="*/ 0 w 652"/>
                  <a:gd name="T13" fmla="*/ 2147483647 h 212"/>
                  <a:gd name="T14" fmla="*/ 0 w 652"/>
                  <a:gd name="T15" fmla="*/ 2147483647 h 212"/>
                  <a:gd name="T16" fmla="*/ 2147483647 w 652"/>
                  <a:gd name="T17" fmla="*/ 0 h 212"/>
                  <a:gd name="T18" fmla="*/ 2147483647 w 652"/>
                  <a:gd name="T19" fmla="*/ 0 h 212"/>
                  <a:gd name="T20" fmla="*/ 2147483647 w 652"/>
                  <a:gd name="T21" fmla="*/ 2147483647 h 2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2"/>
                  <a:gd name="T34" fmla="*/ 0 h 212"/>
                  <a:gd name="T35" fmla="*/ 652 w 652"/>
                  <a:gd name="T36" fmla="*/ 212 h 2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2" h="212">
                    <a:moveTo>
                      <a:pt x="556" y="11"/>
                    </a:moveTo>
                    <a:cubicBezTo>
                      <a:pt x="641" y="95"/>
                      <a:pt x="641" y="95"/>
                      <a:pt x="641" y="95"/>
                    </a:cubicBezTo>
                    <a:cubicBezTo>
                      <a:pt x="641" y="95"/>
                      <a:pt x="652" y="105"/>
                      <a:pt x="641" y="117"/>
                    </a:cubicBezTo>
                    <a:cubicBezTo>
                      <a:pt x="629" y="129"/>
                      <a:pt x="556" y="202"/>
                      <a:pt x="556" y="202"/>
                    </a:cubicBezTo>
                    <a:cubicBezTo>
                      <a:pt x="556" y="202"/>
                      <a:pt x="545" y="212"/>
                      <a:pt x="529" y="212"/>
                    </a:cubicBezTo>
                    <a:cubicBezTo>
                      <a:pt x="526" y="212"/>
                      <a:pt x="21" y="212"/>
                      <a:pt x="21" y="212"/>
                    </a:cubicBezTo>
                    <a:cubicBezTo>
                      <a:pt x="9" y="212"/>
                      <a:pt x="0" y="202"/>
                      <a:pt x="0" y="191"/>
                    </a:cubicBezTo>
                    <a:cubicBezTo>
                      <a:pt x="0" y="22"/>
                      <a:pt x="0" y="22"/>
                      <a:pt x="0" y="22"/>
                    </a:cubicBezTo>
                    <a:cubicBezTo>
                      <a:pt x="0" y="10"/>
                      <a:pt x="9" y="0"/>
                      <a:pt x="21" y="0"/>
                    </a:cubicBezTo>
                    <a:cubicBezTo>
                      <a:pt x="21" y="0"/>
                      <a:pt x="525" y="0"/>
                      <a:pt x="529" y="0"/>
                    </a:cubicBezTo>
                    <a:cubicBezTo>
                      <a:pt x="546" y="0"/>
                      <a:pt x="556" y="11"/>
                      <a:pt x="556" y="11"/>
                    </a:cubicBezTo>
                    <a:close/>
                  </a:path>
                </a:pathLst>
              </a:custGeom>
              <a:solidFill>
                <a:srgbClr val="DFCDDD"/>
              </a:solidFill>
              <a:ln w="9525" cap="flat" cmpd="sng" algn="ctr">
                <a:noFill/>
                <a:prstDash val="solid"/>
                <a:round/>
                <a:headEnd type="none" w="med" len="med"/>
                <a:tailEnd type="none" w="med" len="med"/>
              </a:ln>
              <a:effectLst/>
            </p:spPr>
            <p:txBody>
              <a:bodyPr lIns="91407" tIns="45705" rIns="91407" bIns="45705" anchor="ctr"/>
              <a:lstStyle/>
              <a:p>
                <a:pPr algn="ctr" defTabSz="914939">
                  <a:spcBef>
                    <a:spcPct val="50000"/>
                  </a:spcBef>
                  <a:defRPr/>
                </a:pPr>
                <a:endParaRPr lang="en-US" sz="1800" kern="0" cap="all" dirty="0">
                  <a:solidFill>
                    <a:srgbClr val="D5E4AF"/>
                  </a:solidFill>
                  <a:latin typeface="Arial"/>
                  <a:cs typeface="Times New Roman" pitchFamily="18" charset="0"/>
                </a:endParaRPr>
              </a:p>
            </p:txBody>
          </p:sp>
          <p:sp>
            <p:nvSpPr>
              <p:cNvPr id="47" name="TextBox 25"/>
              <p:cNvSpPr txBox="1">
                <a:spLocks noChangeArrowheads="1"/>
              </p:cNvSpPr>
              <p:nvPr/>
            </p:nvSpPr>
            <p:spPr bwMode="auto">
              <a:xfrm>
                <a:off x="1509802" y="4389424"/>
                <a:ext cx="1938337" cy="400079"/>
              </a:xfrm>
              <a:prstGeom prst="rect">
                <a:avLst/>
              </a:prstGeom>
              <a:noFill/>
              <a:ln>
                <a:noFill/>
              </a:ln>
              <a:extLst>
                <a:ext uri="{909E8E84-426E-40DD-AFC4-6F175D3DCCD1}">
                  <a14:hiddenFill xmlns:a14="http://schemas.microsoft.com/office/drawing/2010/main">
                    <a:solidFill>
                      <a:srgbClr val="F08A00"/>
                    </a:solidFill>
                  </a14:hiddenFill>
                </a:ext>
                <a:ext uri="{91240B29-F687-4F45-9708-019B960494DF}">
                  <a14:hiddenLine xmlns:a14="http://schemas.microsoft.com/office/drawing/2010/main" w="9525">
                    <a:solidFill>
                      <a:srgbClr val="000000"/>
                    </a:solidFill>
                    <a:miter lim="800000"/>
                    <a:headEnd/>
                    <a:tailEnd/>
                  </a14:hiddenLine>
                </a:ext>
              </a:extLst>
            </p:spPr>
            <p:txBody>
              <a:bodyPr lIns="91407" tIns="45705" rIns="91407" bIns="45705">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lang="en-US" b="1">
                    <a:solidFill>
                      <a:srgbClr val="7B0663"/>
                    </a:solidFill>
                    <a:cs typeface="Arial" pitchFamily="34" charset="0"/>
                  </a:rPr>
                  <a:t>Platform</a:t>
                </a:r>
              </a:p>
            </p:txBody>
          </p:sp>
          <p:sp>
            <p:nvSpPr>
              <p:cNvPr id="48" name="Freeform 3"/>
              <p:cNvSpPr>
                <a:spLocks noChangeAspect="1" noEditPoints="1"/>
              </p:cNvSpPr>
              <p:nvPr/>
            </p:nvSpPr>
            <p:spPr bwMode="auto">
              <a:xfrm>
                <a:off x="779892" y="4242252"/>
                <a:ext cx="704681" cy="694423"/>
              </a:xfrm>
              <a:custGeom>
                <a:avLst/>
                <a:gdLst>
                  <a:gd name="T0" fmla="*/ 2147483647 w 407"/>
                  <a:gd name="T1" fmla="*/ 2147483647 h 402"/>
                  <a:gd name="T2" fmla="*/ 2147483647 w 407"/>
                  <a:gd name="T3" fmla="*/ 2147483647 h 402"/>
                  <a:gd name="T4" fmla="*/ 2147483647 w 407"/>
                  <a:gd name="T5" fmla="*/ 2147483647 h 402"/>
                  <a:gd name="T6" fmla="*/ 2147483647 w 407"/>
                  <a:gd name="T7" fmla="*/ 2147483647 h 402"/>
                  <a:gd name="T8" fmla="*/ 2147483647 w 407"/>
                  <a:gd name="T9" fmla="*/ 2147483647 h 402"/>
                  <a:gd name="T10" fmla="*/ 2147483647 w 407"/>
                  <a:gd name="T11" fmla="*/ 2147483647 h 402"/>
                  <a:gd name="T12" fmla="*/ 2147483647 w 407"/>
                  <a:gd name="T13" fmla="*/ 2147483647 h 402"/>
                  <a:gd name="T14" fmla="*/ 2147483647 w 407"/>
                  <a:gd name="T15" fmla="*/ 2147483647 h 402"/>
                  <a:gd name="T16" fmla="*/ 2147483647 w 407"/>
                  <a:gd name="T17" fmla="*/ 2147483647 h 402"/>
                  <a:gd name="T18" fmla="*/ 2147483647 w 407"/>
                  <a:gd name="T19" fmla="*/ 2147483647 h 402"/>
                  <a:gd name="T20" fmla="*/ 2147483647 w 407"/>
                  <a:gd name="T21" fmla="*/ 2147483647 h 402"/>
                  <a:gd name="T22" fmla="*/ 2147483647 w 407"/>
                  <a:gd name="T23" fmla="*/ 2147483647 h 402"/>
                  <a:gd name="T24" fmla="*/ 2147483647 w 407"/>
                  <a:gd name="T25" fmla="*/ 2147483647 h 402"/>
                  <a:gd name="T26" fmla="*/ 2147483647 w 407"/>
                  <a:gd name="T27" fmla="*/ 2147483647 h 402"/>
                  <a:gd name="T28" fmla="*/ 2147483647 w 407"/>
                  <a:gd name="T29" fmla="*/ 2147483647 h 402"/>
                  <a:gd name="T30" fmla="*/ 2147483647 w 407"/>
                  <a:gd name="T31" fmla="*/ 2147483647 h 402"/>
                  <a:gd name="T32" fmla="*/ 2147483647 w 407"/>
                  <a:gd name="T33" fmla="*/ 2147483647 h 402"/>
                  <a:gd name="T34" fmla="*/ 2147483647 w 407"/>
                  <a:gd name="T35" fmla="*/ 2147483647 h 402"/>
                  <a:gd name="T36" fmla="*/ 2147483647 w 407"/>
                  <a:gd name="T37" fmla="*/ 2147483647 h 402"/>
                  <a:gd name="T38" fmla="*/ 2147483647 w 407"/>
                  <a:gd name="T39" fmla="*/ 2147483647 h 402"/>
                  <a:gd name="T40" fmla="*/ 2147483647 w 407"/>
                  <a:gd name="T41" fmla="*/ 2147483647 h 402"/>
                  <a:gd name="T42" fmla="*/ 2147483647 w 407"/>
                  <a:gd name="T43" fmla="*/ 2147483647 h 402"/>
                  <a:gd name="T44" fmla="*/ 2147483647 w 407"/>
                  <a:gd name="T45" fmla="*/ 2147483647 h 402"/>
                  <a:gd name="T46" fmla="*/ 2147483647 w 407"/>
                  <a:gd name="T47" fmla="*/ 2147483647 h 402"/>
                  <a:gd name="T48" fmla="*/ 2147483647 w 407"/>
                  <a:gd name="T49" fmla="*/ 2147483647 h 402"/>
                  <a:gd name="T50" fmla="*/ 2147483647 w 407"/>
                  <a:gd name="T51" fmla="*/ 2147483647 h 402"/>
                  <a:gd name="T52" fmla="*/ 2147483647 w 407"/>
                  <a:gd name="T53" fmla="*/ 2147483647 h 402"/>
                  <a:gd name="T54" fmla="*/ 2147483647 w 407"/>
                  <a:gd name="T55" fmla="*/ 2147483647 h 402"/>
                  <a:gd name="T56" fmla="*/ 2147483647 w 407"/>
                  <a:gd name="T57" fmla="*/ 2147483647 h 402"/>
                  <a:gd name="T58" fmla="*/ 2147483647 w 407"/>
                  <a:gd name="T59" fmla="*/ 2147483647 h 402"/>
                  <a:gd name="T60" fmla="*/ 2147483647 w 407"/>
                  <a:gd name="T61" fmla="*/ 2147483647 h 402"/>
                  <a:gd name="T62" fmla="*/ 2147483647 w 407"/>
                  <a:gd name="T63" fmla="*/ 2147483647 h 402"/>
                  <a:gd name="T64" fmla="*/ 2147483647 w 407"/>
                  <a:gd name="T65" fmla="*/ 2147483647 h 402"/>
                  <a:gd name="T66" fmla="*/ 2147483647 w 407"/>
                  <a:gd name="T67" fmla="*/ 2147483647 h 402"/>
                  <a:gd name="T68" fmla="*/ 2147483647 w 407"/>
                  <a:gd name="T69" fmla="*/ 2147483647 h 402"/>
                  <a:gd name="T70" fmla="*/ 2147483647 w 407"/>
                  <a:gd name="T71" fmla="*/ 2147483647 h 402"/>
                  <a:gd name="T72" fmla="*/ 2147483647 w 407"/>
                  <a:gd name="T73" fmla="*/ 2147483647 h 402"/>
                  <a:gd name="T74" fmla="*/ 2147483647 w 407"/>
                  <a:gd name="T75" fmla="*/ 2147483647 h 402"/>
                  <a:gd name="T76" fmla="*/ 2147483647 w 407"/>
                  <a:gd name="T77" fmla="*/ 2147483647 h 402"/>
                  <a:gd name="T78" fmla="*/ 2147483647 w 407"/>
                  <a:gd name="T79" fmla="*/ 2147483647 h 402"/>
                  <a:gd name="T80" fmla="*/ 2147483647 w 407"/>
                  <a:gd name="T81" fmla="*/ 2147483647 h 402"/>
                  <a:gd name="T82" fmla="*/ 2147483647 w 407"/>
                  <a:gd name="T83" fmla="*/ 2147483647 h 402"/>
                  <a:gd name="T84" fmla="*/ 2147483647 w 407"/>
                  <a:gd name="T85" fmla="*/ 2147483647 h 402"/>
                  <a:gd name="T86" fmla="*/ 2147483647 w 407"/>
                  <a:gd name="T87" fmla="*/ 2147483647 h 402"/>
                  <a:gd name="T88" fmla="*/ 2147483647 w 407"/>
                  <a:gd name="T89" fmla="*/ 2147483647 h 402"/>
                  <a:gd name="T90" fmla="*/ 2147483647 w 407"/>
                  <a:gd name="T91" fmla="*/ 2147483647 h 402"/>
                  <a:gd name="T92" fmla="*/ 2147483647 w 407"/>
                  <a:gd name="T93" fmla="*/ 2147483647 h 402"/>
                  <a:gd name="T94" fmla="*/ 2147483647 w 407"/>
                  <a:gd name="T95" fmla="*/ 2147483647 h 402"/>
                  <a:gd name="T96" fmla="*/ 2147483647 w 407"/>
                  <a:gd name="T97" fmla="*/ 2147483647 h 402"/>
                  <a:gd name="T98" fmla="*/ 2147483647 w 407"/>
                  <a:gd name="T99" fmla="*/ 2147483647 h 402"/>
                  <a:gd name="T100" fmla="*/ 2147483647 w 407"/>
                  <a:gd name="T101" fmla="*/ 2147483647 h 402"/>
                  <a:gd name="T102" fmla="*/ 2147483647 w 407"/>
                  <a:gd name="T103" fmla="*/ 2147483647 h 402"/>
                  <a:gd name="T104" fmla="*/ 2147483647 w 407"/>
                  <a:gd name="T105" fmla="*/ 2147483647 h 402"/>
                  <a:gd name="T106" fmla="*/ 2147483647 w 407"/>
                  <a:gd name="T107" fmla="*/ 2147483647 h 402"/>
                  <a:gd name="T108" fmla="*/ 2147483647 w 407"/>
                  <a:gd name="T109" fmla="*/ 2147483647 h 402"/>
                  <a:gd name="T110" fmla="*/ 2147483647 w 407"/>
                  <a:gd name="T111" fmla="*/ 2147483647 h 402"/>
                  <a:gd name="T112" fmla="*/ 2147483647 w 407"/>
                  <a:gd name="T113" fmla="*/ 2147483647 h 40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07" h="402">
                    <a:moveTo>
                      <a:pt x="33" y="156"/>
                    </a:moveTo>
                    <a:cubicBezTo>
                      <a:pt x="33" y="156"/>
                      <a:pt x="34" y="156"/>
                      <a:pt x="35" y="156"/>
                    </a:cubicBezTo>
                    <a:cubicBezTo>
                      <a:pt x="38" y="156"/>
                      <a:pt x="42" y="154"/>
                      <a:pt x="42" y="150"/>
                    </a:cubicBezTo>
                    <a:cubicBezTo>
                      <a:pt x="53" y="106"/>
                      <a:pt x="81" y="68"/>
                      <a:pt x="119" y="45"/>
                    </a:cubicBezTo>
                    <a:cubicBezTo>
                      <a:pt x="114" y="61"/>
                      <a:pt x="114" y="61"/>
                      <a:pt x="114" y="61"/>
                    </a:cubicBezTo>
                    <a:cubicBezTo>
                      <a:pt x="113" y="66"/>
                      <a:pt x="116" y="70"/>
                      <a:pt x="120" y="71"/>
                    </a:cubicBezTo>
                    <a:cubicBezTo>
                      <a:pt x="121" y="72"/>
                      <a:pt x="121" y="72"/>
                      <a:pt x="122" y="72"/>
                    </a:cubicBezTo>
                    <a:cubicBezTo>
                      <a:pt x="126" y="72"/>
                      <a:pt x="129" y="69"/>
                      <a:pt x="130" y="66"/>
                    </a:cubicBezTo>
                    <a:cubicBezTo>
                      <a:pt x="140" y="32"/>
                      <a:pt x="140" y="32"/>
                      <a:pt x="140" y="32"/>
                    </a:cubicBezTo>
                    <a:cubicBezTo>
                      <a:pt x="140" y="30"/>
                      <a:pt x="141" y="29"/>
                      <a:pt x="140" y="28"/>
                    </a:cubicBezTo>
                    <a:cubicBezTo>
                      <a:pt x="140" y="28"/>
                      <a:pt x="140" y="27"/>
                      <a:pt x="140" y="27"/>
                    </a:cubicBezTo>
                    <a:cubicBezTo>
                      <a:pt x="140" y="27"/>
                      <a:pt x="140" y="27"/>
                      <a:pt x="140" y="26"/>
                    </a:cubicBezTo>
                    <a:cubicBezTo>
                      <a:pt x="140" y="26"/>
                      <a:pt x="140" y="26"/>
                      <a:pt x="140" y="25"/>
                    </a:cubicBezTo>
                    <a:cubicBezTo>
                      <a:pt x="140" y="25"/>
                      <a:pt x="140" y="25"/>
                      <a:pt x="140" y="25"/>
                    </a:cubicBezTo>
                    <a:cubicBezTo>
                      <a:pt x="140" y="25"/>
                      <a:pt x="140" y="25"/>
                      <a:pt x="140" y="25"/>
                    </a:cubicBezTo>
                    <a:cubicBezTo>
                      <a:pt x="139" y="23"/>
                      <a:pt x="137" y="21"/>
                      <a:pt x="135" y="21"/>
                    </a:cubicBezTo>
                    <a:cubicBezTo>
                      <a:pt x="100" y="10"/>
                      <a:pt x="100" y="10"/>
                      <a:pt x="100" y="10"/>
                    </a:cubicBezTo>
                    <a:cubicBezTo>
                      <a:pt x="95" y="9"/>
                      <a:pt x="91" y="11"/>
                      <a:pt x="90" y="16"/>
                    </a:cubicBezTo>
                    <a:cubicBezTo>
                      <a:pt x="88" y="20"/>
                      <a:pt x="91" y="24"/>
                      <a:pt x="95" y="26"/>
                    </a:cubicBezTo>
                    <a:cubicBezTo>
                      <a:pt x="112" y="31"/>
                      <a:pt x="112" y="31"/>
                      <a:pt x="112" y="31"/>
                    </a:cubicBezTo>
                    <a:cubicBezTo>
                      <a:pt x="69" y="56"/>
                      <a:pt x="39" y="97"/>
                      <a:pt x="27" y="147"/>
                    </a:cubicBezTo>
                    <a:cubicBezTo>
                      <a:pt x="26" y="151"/>
                      <a:pt x="28" y="155"/>
                      <a:pt x="33" y="156"/>
                    </a:cubicBezTo>
                    <a:close/>
                    <a:moveTo>
                      <a:pt x="192" y="21"/>
                    </a:moveTo>
                    <a:cubicBezTo>
                      <a:pt x="237" y="16"/>
                      <a:pt x="282" y="30"/>
                      <a:pt x="317" y="59"/>
                    </a:cubicBezTo>
                    <a:cubicBezTo>
                      <a:pt x="299" y="60"/>
                      <a:pt x="299" y="60"/>
                      <a:pt x="299" y="60"/>
                    </a:cubicBezTo>
                    <a:cubicBezTo>
                      <a:pt x="295" y="60"/>
                      <a:pt x="291" y="64"/>
                      <a:pt x="292" y="68"/>
                    </a:cubicBezTo>
                    <a:cubicBezTo>
                      <a:pt x="292" y="73"/>
                      <a:pt x="295" y="76"/>
                      <a:pt x="300" y="76"/>
                    </a:cubicBezTo>
                    <a:cubicBezTo>
                      <a:pt x="300" y="76"/>
                      <a:pt x="300" y="76"/>
                      <a:pt x="300" y="76"/>
                    </a:cubicBezTo>
                    <a:cubicBezTo>
                      <a:pt x="335" y="75"/>
                      <a:pt x="335" y="75"/>
                      <a:pt x="335" y="75"/>
                    </a:cubicBezTo>
                    <a:cubicBezTo>
                      <a:pt x="336" y="75"/>
                      <a:pt x="336" y="75"/>
                      <a:pt x="336" y="75"/>
                    </a:cubicBezTo>
                    <a:cubicBezTo>
                      <a:pt x="337" y="75"/>
                      <a:pt x="338" y="74"/>
                      <a:pt x="340" y="74"/>
                    </a:cubicBezTo>
                    <a:cubicBezTo>
                      <a:pt x="340" y="74"/>
                      <a:pt x="340" y="74"/>
                      <a:pt x="340" y="74"/>
                    </a:cubicBezTo>
                    <a:cubicBezTo>
                      <a:pt x="340" y="74"/>
                      <a:pt x="340" y="73"/>
                      <a:pt x="341" y="73"/>
                    </a:cubicBezTo>
                    <a:cubicBezTo>
                      <a:pt x="341" y="73"/>
                      <a:pt x="341" y="73"/>
                      <a:pt x="341" y="73"/>
                    </a:cubicBezTo>
                    <a:cubicBezTo>
                      <a:pt x="342" y="73"/>
                      <a:pt x="342" y="73"/>
                      <a:pt x="342" y="72"/>
                    </a:cubicBezTo>
                    <a:cubicBezTo>
                      <a:pt x="342" y="72"/>
                      <a:pt x="342" y="72"/>
                      <a:pt x="342" y="72"/>
                    </a:cubicBezTo>
                    <a:cubicBezTo>
                      <a:pt x="342" y="72"/>
                      <a:pt x="342" y="72"/>
                      <a:pt x="342" y="72"/>
                    </a:cubicBezTo>
                    <a:cubicBezTo>
                      <a:pt x="344" y="70"/>
                      <a:pt x="344" y="68"/>
                      <a:pt x="344" y="66"/>
                    </a:cubicBezTo>
                    <a:cubicBezTo>
                      <a:pt x="343" y="30"/>
                      <a:pt x="343" y="30"/>
                      <a:pt x="343" y="30"/>
                    </a:cubicBezTo>
                    <a:cubicBezTo>
                      <a:pt x="343" y="25"/>
                      <a:pt x="339" y="22"/>
                      <a:pt x="334" y="22"/>
                    </a:cubicBezTo>
                    <a:cubicBezTo>
                      <a:pt x="330" y="22"/>
                      <a:pt x="327" y="26"/>
                      <a:pt x="327" y="30"/>
                    </a:cubicBezTo>
                    <a:cubicBezTo>
                      <a:pt x="327" y="48"/>
                      <a:pt x="327" y="48"/>
                      <a:pt x="327" y="48"/>
                    </a:cubicBezTo>
                    <a:cubicBezTo>
                      <a:pt x="290" y="16"/>
                      <a:pt x="241" y="0"/>
                      <a:pt x="190" y="5"/>
                    </a:cubicBezTo>
                    <a:cubicBezTo>
                      <a:pt x="186" y="5"/>
                      <a:pt x="183" y="9"/>
                      <a:pt x="183" y="13"/>
                    </a:cubicBezTo>
                    <a:cubicBezTo>
                      <a:pt x="183" y="18"/>
                      <a:pt x="187" y="21"/>
                      <a:pt x="192" y="21"/>
                    </a:cubicBezTo>
                    <a:close/>
                    <a:moveTo>
                      <a:pt x="117" y="334"/>
                    </a:moveTo>
                    <a:cubicBezTo>
                      <a:pt x="79" y="310"/>
                      <a:pt x="52" y="272"/>
                      <a:pt x="42" y="228"/>
                    </a:cubicBezTo>
                    <a:cubicBezTo>
                      <a:pt x="56" y="238"/>
                      <a:pt x="56" y="238"/>
                      <a:pt x="56" y="238"/>
                    </a:cubicBezTo>
                    <a:cubicBezTo>
                      <a:pt x="60" y="240"/>
                      <a:pt x="65" y="240"/>
                      <a:pt x="67" y="236"/>
                    </a:cubicBezTo>
                    <a:cubicBezTo>
                      <a:pt x="70" y="232"/>
                      <a:pt x="69" y="227"/>
                      <a:pt x="65" y="225"/>
                    </a:cubicBezTo>
                    <a:cubicBezTo>
                      <a:pt x="36" y="204"/>
                      <a:pt x="36" y="204"/>
                      <a:pt x="36" y="204"/>
                    </a:cubicBezTo>
                    <a:cubicBezTo>
                      <a:pt x="35" y="203"/>
                      <a:pt x="34" y="203"/>
                      <a:pt x="33" y="202"/>
                    </a:cubicBezTo>
                    <a:cubicBezTo>
                      <a:pt x="32" y="202"/>
                      <a:pt x="32" y="202"/>
                      <a:pt x="32" y="202"/>
                    </a:cubicBezTo>
                    <a:cubicBezTo>
                      <a:pt x="32" y="202"/>
                      <a:pt x="31" y="202"/>
                      <a:pt x="31" y="202"/>
                    </a:cubicBezTo>
                    <a:cubicBezTo>
                      <a:pt x="31" y="202"/>
                      <a:pt x="30" y="202"/>
                      <a:pt x="30" y="202"/>
                    </a:cubicBezTo>
                    <a:cubicBezTo>
                      <a:pt x="30" y="202"/>
                      <a:pt x="30" y="202"/>
                      <a:pt x="30" y="202"/>
                    </a:cubicBezTo>
                    <a:cubicBezTo>
                      <a:pt x="30" y="202"/>
                      <a:pt x="30" y="202"/>
                      <a:pt x="30" y="202"/>
                    </a:cubicBezTo>
                    <a:cubicBezTo>
                      <a:pt x="28" y="203"/>
                      <a:pt x="25" y="204"/>
                      <a:pt x="24" y="206"/>
                    </a:cubicBezTo>
                    <a:cubicBezTo>
                      <a:pt x="3" y="236"/>
                      <a:pt x="3" y="236"/>
                      <a:pt x="3" y="236"/>
                    </a:cubicBezTo>
                    <a:cubicBezTo>
                      <a:pt x="0" y="239"/>
                      <a:pt x="1" y="244"/>
                      <a:pt x="5" y="247"/>
                    </a:cubicBezTo>
                    <a:cubicBezTo>
                      <a:pt x="6" y="248"/>
                      <a:pt x="8" y="248"/>
                      <a:pt x="9" y="248"/>
                    </a:cubicBezTo>
                    <a:cubicBezTo>
                      <a:pt x="12" y="248"/>
                      <a:pt x="14" y="247"/>
                      <a:pt x="16" y="245"/>
                    </a:cubicBezTo>
                    <a:cubicBezTo>
                      <a:pt x="26" y="231"/>
                      <a:pt x="26" y="231"/>
                      <a:pt x="26" y="231"/>
                    </a:cubicBezTo>
                    <a:cubicBezTo>
                      <a:pt x="37" y="279"/>
                      <a:pt x="66" y="321"/>
                      <a:pt x="109" y="348"/>
                    </a:cubicBezTo>
                    <a:cubicBezTo>
                      <a:pt x="110" y="349"/>
                      <a:pt x="112" y="349"/>
                      <a:pt x="113" y="349"/>
                    </a:cubicBezTo>
                    <a:cubicBezTo>
                      <a:pt x="116" y="349"/>
                      <a:pt x="118" y="348"/>
                      <a:pt x="120" y="346"/>
                    </a:cubicBezTo>
                    <a:cubicBezTo>
                      <a:pt x="122" y="342"/>
                      <a:pt x="121" y="337"/>
                      <a:pt x="117" y="334"/>
                    </a:cubicBezTo>
                    <a:close/>
                    <a:moveTo>
                      <a:pt x="406" y="262"/>
                    </a:moveTo>
                    <a:cubicBezTo>
                      <a:pt x="404" y="257"/>
                      <a:pt x="400" y="255"/>
                      <a:pt x="395" y="257"/>
                    </a:cubicBezTo>
                    <a:cubicBezTo>
                      <a:pt x="379" y="263"/>
                      <a:pt x="379" y="263"/>
                      <a:pt x="379" y="263"/>
                    </a:cubicBezTo>
                    <a:cubicBezTo>
                      <a:pt x="398" y="217"/>
                      <a:pt x="399" y="166"/>
                      <a:pt x="380" y="119"/>
                    </a:cubicBezTo>
                    <a:cubicBezTo>
                      <a:pt x="378" y="115"/>
                      <a:pt x="374" y="113"/>
                      <a:pt x="369" y="114"/>
                    </a:cubicBezTo>
                    <a:cubicBezTo>
                      <a:pt x="365" y="116"/>
                      <a:pt x="363" y="121"/>
                      <a:pt x="365" y="125"/>
                    </a:cubicBezTo>
                    <a:cubicBezTo>
                      <a:pt x="382" y="167"/>
                      <a:pt x="382" y="214"/>
                      <a:pt x="365" y="256"/>
                    </a:cubicBezTo>
                    <a:cubicBezTo>
                      <a:pt x="359" y="239"/>
                      <a:pt x="359" y="239"/>
                      <a:pt x="359" y="239"/>
                    </a:cubicBezTo>
                    <a:cubicBezTo>
                      <a:pt x="357" y="235"/>
                      <a:pt x="353" y="233"/>
                      <a:pt x="349" y="234"/>
                    </a:cubicBezTo>
                    <a:cubicBezTo>
                      <a:pt x="344" y="236"/>
                      <a:pt x="342" y="240"/>
                      <a:pt x="344" y="244"/>
                    </a:cubicBezTo>
                    <a:cubicBezTo>
                      <a:pt x="355" y="278"/>
                      <a:pt x="355" y="278"/>
                      <a:pt x="355" y="278"/>
                    </a:cubicBezTo>
                    <a:cubicBezTo>
                      <a:pt x="356" y="279"/>
                      <a:pt x="356" y="281"/>
                      <a:pt x="357" y="282"/>
                    </a:cubicBezTo>
                    <a:cubicBezTo>
                      <a:pt x="357" y="282"/>
                      <a:pt x="357" y="282"/>
                      <a:pt x="357" y="282"/>
                    </a:cubicBezTo>
                    <a:cubicBezTo>
                      <a:pt x="358" y="282"/>
                      <a:pt x="358" y="282"/>
                      <a:pt x="358" y="283"/>
                    </a:cubicBezTo>
                    <a:cubicBezTo>
                      <a:pt x="359" y="283"/>
                      <a:pt x="359" y="283"/>
                      <a:pt x="359" y="283"/>
                    </a:cubicBezTo>
                    <a:cubicBezTo>
                      <a:pt x="359" y="283"/>
                      <a:pt x="359" y="283"/>
                      <a:pt x="359" y="283"/>
                    </a:cubicBezTo>
                    <a:cubicBezTo>
                      <a:pt x="359" y="283"/>
                      <a:pt x="359" y="283"/>
                      <a:pt x="359" y="283"/>
                    </a:cubicBezTo>
                    <a:cubicBezTo>
                      <a:pt x="360" y="284"/>
                      <a:pt x="360" y="284"/>
                      <a:pt x="360" y="284"/>
                    </a:cubicBezTo>
                    <a:cubicBezTo>
                      <a:pt x="361" y="284"/>
                      <a:pt x="362" y="284"/>
                      <a:pt x="363" y="284"/>
                    </a:cubicBezTo>
                    <a:cubicBezTo>
                      <a:pt x="364" y="284"/>
                      <a:pt x="365" y="284"/>
                      <a:pt x="366" y="284"/>
                    </a:cubicBezTo>
                    <a:cubicBezTo>
                      <a:pt x="401" y="272"/>
                      <a:pt x="401" y="272"/>
                      <a:pt x="401" y="272"/>
                    </a:cubicBezTo>
                    <a:cubicBezTo>
                      <a:pt x="405" y="270"/>
                      <a:pt x="407" y="266"/>
                      <a:pt x="406" y="262"/>
                    </a:cubicBezTo>
                    <a:close/>
                    <a:moveTo>
                      <a:pt x="313" y="151"/>
                    </a:moveTo>
                    <a:cubicBezTo>
                      <a:pt x="305" y="151"/>
                      <a:pt x="298" y="156"/>
                      <a:pt x="293" y="160"/>
                    </a:cubicBezTo>
                    <a:cubicBezTo>
                      <a:pt x="290" y="162"/>
                      <a:pt x="286" y="164"/>
                      <a:pt x="284" y="165"/>
                    </a:cubicBezTo>
                    <a:cubicBezTo>
                      <a:pt x="284" y="165"/>
                      <a:pt x="284" y="165"/>
                      <a:pt x="284" y="164"/>
                    </a:cubicBezTo>
                    <a:cubicBezTo>
                      <a:pt x="284" y="155"/>
                      <a:pt x="284" y="155"/>
                      <a:pt x="284" y="155"/>
                    </a:cubicBezTo>
                    <a:cubicBezTo>
                      <a:pt x="284" y="129"/>
                      <a:pt x="292" y="113"/>
                      <a:pt x="292" y="113"/>
                    </a:cubicBezTo>
                    <a:cubicBezTo>
                      <a:pt x="293" y="111"/>
                      <a:pt x="293" y="108"/>
                      <a:pt x="293" y="106"/>
                    </a:cubicBezTo>
                    <a:cubicBezTo>
                      <a:pt x="292" y="104"/>
                      <a:pt x="290" y="102"/>
                      <a:pt x="288" y="102"/>
                    </a:cubicBezTo>
                    <a:cubicBezTo>
                      <a:pt x="288" y="101"/>
                      <a:pt x="288" y="101"/>
                      <a:pt x="288" y="101"/>
                    </a:cubicBezTo>
                    <a:cubicBezTo>
                      <a:pt x="272" y="95"/>
                      <a:pt x="256" y="92"/>
                      <a:pt x="238" y="92"/>
                    </a:cubicBezTo>
                    <a:cubicBezTo>
                      <a:pt x="227" y="92"/>
                      <a:pt x="227" y="92"/>
                      <a:pt x="227" y="92"/>
                    </a:cubicBezTo>
                    <a:cubicBezTo>
                      <a:pt x="227" y="92"/>
                      <a:pt x="226" y="92"/>
                      <a:pt x="225" y="93"/>
                    </a:cubicBezTo>
                    <a:cubicBezTo>
                      <a:pt x="217" y="95"/>
                      <a:pt x="213" y="101"/>
                      <a:pt x="213" y="108"/>
                    </a:cubicBezTo>
                    <a:cubicBezTo>
                      <a:pt x="213" y="116"/>
                      <a:pt x="217" y="121"/>
                      <a:pt x="221" y="126"/>
                    </a:cubicBezTo>
                    <a:cubicBezTo>
                      <a:pt x="223" y="130"/>
                      <a:pt x="226" y="134"/>
                      <a:pt x="226" y="137"/>
                    </a:cubicBezTo>
                    <a:cubicBezTo>
                      <a:pt x="226" y="150"/>
                      <a:pt x="206" y="150"/>
                      <a:pt x="206" y="150"/>
                    </a:cubicBezTo>
                    <a:cubicBezTo>
                      <a:pt x="205" y="150"/>
                      <a:pt x="185" y="150"/>
                      <a:pt x="185" y="137"/>
                    </a:cubicBezTo>
                    <a:cubicBezTo>
                      <a:pt x="185" y="134"/>
                      <a:pt x="188" y="130"/>
                      <a:pt x="190" y="126"/>
                    </a:cubicBezTo>
                    <a:cubicBezTo>
                      <a:pt x="194" y="121"/>
                      <a:pt x="198" y="116"/>
                      <a:pt x="198" y="108"/>
                    </a:cubicBezTo>
                    <a:cubicBezTo>
                      <a:pt x="198" y="101"/>
                      <a:pt x="194" y="95"/>
                      <a:pt x="186" y="93"/>
                    </a:cubicBezTo>
                    <a:cubicBezTo>
                      <a:pt x="186" y="92"/>
                      <a:pt x="185" y="92"/>
                      <a:pt x="184" y="92"/>
                    </a:cubicBezTo>
                    <a:cubicBezTo>
                      <a:pt x="173" y="92"/>
                      <a:pt x="173" y="92"/>
                      <a:pt x="173" y="92"/>
                    </a:cubicBezTo>
                    <a:cubicBezTo>
                      <a:pt x="155" y="92"/>
                      <a:pt x="139" y="95"/>
                      <a:pt x="124" y="101"/>
                    </a:cubicBezTo>
                    <a:cubicBezTo>
                      <a:pt x="123" y="102"/>
                      <a:pt x="123" y="102"/>
                      <a:pt x="123" y="102"/>
                    </a:cubicBezTo>
                    <a:cubicBezTo>
                      <a:pt x="121" y="102"/>
                      <a:pt x="119" y="104"/>
                      <a:pt x="119" y="106"/>
                    </a:cubicBezTo>
                    <a:cubicBezTo>
                      <a:pt x="118" y="108"/>
                      <a:pt x="118" y="111"/>
                      <a:pt x="119" y="113"/>
                    </a:cubicBezTo>
                    <a:cubicBezTo>
                      <a:pt x="119" y="113"/>
                      <a:pt x="127" y="129"/>
                      <a:pt x="127" y="155"/>
                    </a:cubicBezTo>
                    <a:cubicBezTo>
                      <a:pt x="127" y="164"/>
                      <a:pt x="127" y="164"/>
                      <a:pt x="127" y="164"/>
                    </a:cubicBezTo>
                    <a:cubicBezTo>
                      <a:pt x="127" y="165"/>
                      <a:pt x="127" y="165"/>
                      <a:pt x="127" y="165"/>
                    </a:cubicBezTo>
                    <a:cubicBezTo>
                      <a:pt x="125" y="165"/>
                      <a:pt x="122" y="162"/>
                      <a:pt x="118" y="160"/>
                    </a:cubicBezTo>
                    <a:cubicBezTo>
                      <a:pt x="113" y="156"/>
                      <a:pt x="107" y="151"/>
                      <a:pt x="98" y="151"/>
                    </a:cubicBezTo>
                    <a:cubicBezTo>
                      <a:pt x="77" y="151"/>
                      <a:pt x="69" y="173"/>
                      <a:pt x="69" y="188"/>
                    </a:cubicBezTo>
                    <a:cubicBezTo>
                      <a:pt x="69" y="203"/>
                      <a:pt x="77" y="225"/>
                      <a:pt x="98" y="225"/>
                    </a:cubicBezTo>
                    <a:cubicBezTo>
                      <a:pt x="107" y="225"/>
                      <a:pt x="113" y="220"/>
                      <a:pt x="118" y="216"/>
                    </a:cubicBezTo>
                    <a:cubicBezTo>
                      <a:pt x="121" y="214"/>
                      <a:pt x="125" y="211"/>
                      <a:pt x="127" y="211"/>
                    </a:cubicBezTo>
                    <a:cubicBezTo>
                      <a:pt x="127" y="211"/>
                      <a:pt x="127" y="211"/>
                      <a:pt x="127" y="211"/>
                    </a:cubicBezTo>
                    <a:cubicBezTo>
                      <a:pt x="127" y="221"/>
                      <a:pt x="127" y="221"/>
                      <a:pt x="127" y="221"/>
                    </a:cubicBezTo>
                    <a:cubicBezTo>
                      <a:pt x="127" y="247"/>
                      <a:pt x="119" y="263"/>
                      <a:pt x="119" y="263"/>
                    </a:cubicBezTo>
                    <a:cubicBezTo>
                      <a:pt x="118" y="265"/>
                      <a:pt x="118" y="267"/>
                      <a:pt x="119" y="269"/>
                    </a:cubicBezTo>
                    <a:cubicBezTo>
                      <a:pt x="119" y="271"/>
                      <a:pt x="121" y="273"/>
                      <a:pt x="123" y="274"/>
                    </a:cubicBezTo>
                    <a:cubicBezTo>
                      <a:pt x="124" y="274"/>
                      <a:pt x="124" y="274"/>
                      <a:pt x="124" y="274"/>
                    </a:cubicBezTo>
                    <a:cubicBezTo>
                      <a:pt x="139" y="280"/>
                      <a:pt x="155" y="283"/>
                      <a:pt x="173" y="283"/>
                    </a:cubicBezTo>
                    <a:cubicBezTo>
                      <a:pt x="184" y="283"/>
                      <a:pt x="184" y="283"/>
                      <a:pt x="184" y="283"/>
                    </a:cubicBezTo>
                    <a:cubicBezTo>
                      <a:pt x="185" y="283"/>
                      <a:pt x="186" y="283"/>
                      <a:pt x="186" y="283"/>
                    </a:cubicBezTo>
                    <a:cubicBezTo>
                      <a:pt x="194" y="280"/>
                      <a:pt x="198" y="275"/>
                      <a:pt x="198" y="267"/>
                    </a:cubicBezTo>
                    <a:cubicBezTo>
                      <a:pt x="198" y="260"/>
                      <a:pt x="194" y="254"/>
                      <a:pt x="190" y="249"/>
                    </a:cubicBezTo>
                    <a:cubicBezTo>
                      <a:pt x="188" y="246"/>
                      <a:pt x="185" y="242"/>
                      <a:pt x="185" y="239"/>
                    </a:cubicBezTo>
                    <a:cubicBezTo>
                      <a:pt x="185" y="226"/>
                      <a:pt x="205" y="225"/>
                      <a:pt x="206" y="225"/>
                    </a:cubicBezTo>
                    <a:cubicBezTo>
                      <a:pt x="206" y="225"/>
                      <a:pt x="226" y="226"/>
                      <a:pt x="226" y="239"/>
                    </a:cubicBezTo>
                    <a:cubicBezTo>
                      <a:pt x="226" y="242"/>
                      <a:pt x="223" y="246"/>
                      <a:pt x="221" y="249"/>
                    </a:cubicBezTo>
                    <a:cubicBezTo>
                      <a:pt x="217" y="254"/>
                      <a:pt x="213" y="260"/>
                      <a:pt x="213" y="267"/>
                    </a:cubicBezTo>
                    <a:cubicBezTo>
                      <a:pt x="213" y="275"/>
                      <a:pt x="217" y="280"/>
                      <a:pt x="225" y="283"/>
                    </a:cubicBezTo>
                    <a:cubicBezTo>
                      <a:pt x="226" y="283"/>
                      <a:pt x="227" y="283"/>
                      <a:pt x="227" y="283"/>
                    </a:cubicBezTo>
                    <a:cubicBezTo>
                      <a:pt x="238" y="283"/>
                      <a:pt x="238" y="283"/>
                      <a:pt x="238" y="283"/>
                    </a:cubicBezTo>
                    <a:cubicBezTo>
                      <a:pt x="256" y="283"/>
                      <a:pt x="272" y="280"/>
                      <a:pt x="288" y="274"/>
                    </a:cubicBezTo>
                    <a:cubicBezTo>
                      <a:pt x="288" y="274"/>
                      <a:pt x="288" y="274"/>
                      <a:pt x="288" y="274"/>
                    </a:cubicBezTo>
                    <a:cubicBezTo>
                      <a:pt x="290" y="273"/>
                      <a:pt x="292" y="271"/>
                      <a:pt x="293" y="269"/>
                    </a:cubicBezTo>
                    <a:cubicBezTo>
                      <a:pt x="293" y="267"/>
                      <a:pt x="293" y="265"/>
                      <a:pt x="292" y="263"/>
                    </a:cubicBezTo>
                    <a:cubicBezTo>
                      <a:pt x="292" y="263"/>
                      <a:pt x="284" y="247"/>
                      <a:pt x="284" y="221"/>
                    </a:cubicBezTo>
                    <a:cubicBezTo>
                      <a:pt x="284" y="211"/>
                      <a:pt x="284" y="211"/>
                      <a:pt x="284" y="211"/>
                    </a:cubicBezTo>
                    <a:cubicBezTo>
                      <a:pt x="284" y="211"/>
                      <a:pt x="284" y="211"/>
                      <a:pt x="284" y="211"/>
                    </a:cubicBezTo>
                    <a:cubicBezTo>
                      <a:pt x="286" y="211"/>
                      <a:pt x="290" y="214"/>
                      <a:pt x="293" y="216"/>
                    </a:cubicBezTo>
                    <a:cubicBezTo>
                      <a:pt x="298" y="220"/>
                      <a:pt x="305" y="225"/>
                      <a:pt x="313" y="225"/>
                    </a:cubicBezTo>
                    <a:cubicBezTo>
                      <a:pt x="334" y="225"/>
                      <a:pt x="342" y="203"/>
                      <a:pt x="342" y="188"/>
                    </a:cubicBezTo>
                    <a:cubicBezTo>
                      <a:pt x="342" y="173"/>
                      <a:pt x="334" y="151"/>
                      <a:pt x="313" y="151"/>
                    </a:cubicBezTo>
                    <a:close/>
                    <a:moveTo>
                      <a:pt x="313" y="209"/>
                    </a:moveTo>
                    <a:cubicBezTo>
                      <a:pt x="310" y="209"/>
                      <a:pt x="306" y="206"/>
                      <a:pt x="302" y="203"/>
                    </a:cubicBezTo>
                    <a:cubicBezTo>
                      <a:pt x="297" y="199"/>
                      <a:pt x="291" y="195"/>
                      <a:pt x="284" y="195"/>
                    </a:cubicBezTo>
                    <a:cubicBezTo>
                      <a:pt x="277" y="195"/>
                      <a:pt x="271" y="199"/>
                      <a:pt x="268" y="207"/>
                    </a:cubicBezTo>
                    <a:cubicBezTo>
                      <a:pt x="268" y="208"/>
                      <a:pt x="268" y="209"/>
                      <a:pt x="268" y="210"/>
                    </a:cubicBezTo>
                    <a:cubicBezTo>
                      <a:pt x="268" y="221"/>
                      <a:pt x="268" y="221"/>
                      <a:pt x="268" y="221"/>
                    </a:cubicBezTo>
                    <a:cubicBezTo>
                      <a:pt x="268" y="239"/>
                      <a:pt x="272" y="254"/>
                      <a:pt x="275" y="262"/>
                    </a:cubicBezTo>
                    <a:cubicBezTo>
                      <a:pt x="263" y="266"/>
                      <a:pt x="251" y="267"/>
                      <a:pt x="238" y="267"/>
                    </a:cubicBezTo>
                    <a:cubicBezTo>
                      <a:pt x="229" y="267"/>
                      <a:pt x="229" y="267"/>
                      <a:pt x="229" y="267"/>
                    </a:cubicBezTo>
                    <a:cubicBezTo>
                      <a:pt x="229" y="267"/>
                      <a:pt x="229" y="267"/>
                      <a:pt x="229" y="267"/>
                    </a:cubicBezTo>
                    <a:cubicBezTo>
                      <a:pt x="229" y="265"/>
                      <a:pt x="231" y="262"/>
                      <a:pt x="234" y="259"/>
                    </a:cubicBezTo>
                    <a:cubicBezTo>
                      <a:pt x="238" y="253"/>
                      <a:pt x="242" y="247"/>
                      <a:pt x="242" y="239"/>
                    </a:cubicBezTo>
                    <a:cubicBezTo>
                      <a:pt x="242" y="217"/>
                      <a:pt x="220" y="209"/>
                      <a:pt x="206" y="209"/>
                    </a:cubicBezTo>
                    <a:cubicBezTo>
                      <a:pt x="191" y="209"/>
                      <a:pt x="169" y="217"/>
                      <a:pt x="169" y="239"/>
                    </a:cubicBezTo>
                    <a:cubicBezTo>
                      <a:pt x="169" y="247"/>
                      <a:pt x="174" y="253"/>
                      <a:pt x="178" y="259"/>
                    </a:cubicBezTo>
                    <a:cubicBezTo>
                      <a:pt x="180" y="262"/>
                      <a:pt x="182" y="265"/>
                      <a:pt x="182" y="267"/>
                    </a:cubicBezTo>
                    <a:cubicBezTo>
                      <a:pt x="182" y="267"/>
                      <a:pt x="182" y="267"/>
                      <a:pt x="182" y="267"/>
                    </a:cubicBezTo>
                    <a:cubicBezTo>
                      <a:pt x="173" y="267"/>
                      <a:pt x="173" y="267"/>
                      <a:pt x="173" y="267"/>
                    </a:cubicBezTo>
                    <a:cubicBezTo>
                      <a:pt x="160" y="267"/>
                      <a:pt x="148" y="266"/>
                      <a:pt x="137" y="262"/>
                    </a:cubicBezTo>
                    <a:cubicBezTo>
                      <a:pt x="140" y="254"/>
                      <a:pt x="143" y="239"/>
                      <a:pt x="143" y="221"/>
                    </a:cubicBezTo>
                    <a:cubicBezTo>
                      <a:pt x="143" y="210"/>
                      <a:pt x="143" y="210"/>
                      <a:pt x="143" y="210"/>
                    </a:cubicBezTo>
                    <a:cubicBezTo>
                      <a:pt x="143" y="209"/>
                      <a:pt x="143" y="208"/>
                      <a:pt x="143" y="207"/>
                    </a:cubicBezTo>
                    <a:cubicBezTo>
                      <a:pt x="140" y="199"/>
                      <a:pt x="135" y="195"/>
                      <a:pt x="127" y="195"/>
                    </a:cubicBezTo>
                    <a:cubicBezTo>
                      <a:pt x="120" y="195"/>
                      <a:pt x="114" y="199"/>
                      <a:pt x="109" y="203"/>
                    </a:cubicBezTo>
                    <a:cubicBezTo>
                      <a:pt x="105" y="206"/>
                      <a:pt x="101" y="209"/>
                      <a:pt x="98" y="209"/>
                    </a:cubicBezTo>
                    <a:cubicBezTo>
                      <a:pt x="85" y="209"/>
                      <a:pt x="85" y="188"/>
                      <a:pt x="85" y="188"/>
                    </a:cubicBezTo>
                    <a:cubicBezTo>
                      <a:pt x="85" y="188"/>
                      <a:pt x="85" y="167"/>
                      <a:pt x="98" y="167"/>
                    </a:cubicBezTo>
                    <a:cubicBezTo>
                      <a:pt x="101" y="167"/>
                      <a:pt x="105" y="170"/>
                      <a:pt x="109" y="173"/>
                    </a:cubicBezTo>
                    <a:cubicBezTo>
                      <a:pt x="114" y="176"/>
                      <a:pt x="120" y="181"/>
                      <a:pt x="127" y="181"/>
                    </a:cubicBezTo>
                    <a:cubicBezTo>
                      <a:pt x="135" y="181"/>
                      <a:pt x="140" y="176"/>
                      <a:pt x="143" y="169"/>
                    </a:cubicBezTo>
                    <a:cubicBezTo>
                      <a:pt x="143" y="168"/>
                      <a:pt x="143" y="167"/>
                      <a:pt x="143" y="166"/>
                    </a:cubicBezTo>
                    <a:cubicBezTo>
                      <a:pt x="143" y="155"/>
                      <a:pt x="143" y="155"/>
                      <a:pt x="143" y="155"/>
                    </a:cubicBezTo>
                    <a:cubicBezTo>
                      <a:pt x="143" y="136"/>
                      <a:pt x="140" y="122"/>
                      <a:pt x="137" y="114"/>
                    </a:cubicBezTo>
                    <a:cubicBezTo>
                      <a:pt x="148" y="110"/>
                      <a:pt x="160" y="108"/>
                      <a:pt x="173" y="108"/>
                    </a:cubicBezTo>
                    <a:cubicBezTo>
                      <a:pt x="182" y="108"/>
                      <a:pt x="182" y="108"/>
                      <a:pt x="182" y="108"/>
                    </a:cubicBezTo>
                    <a:cubicBezTo>
                      <a:pt x="182" y="108"/>
                      <a:pt x="182" y="108"/>
                      <a:pt x="182" y="108"/>
                    </a:cubicBezTo>
                    <a:cubicBezTo>
                      <a:pt x="182" y="110"/>
                      <a:pt x="180" y="114"/>
                      <a:pt x="178" y="117"/>
                    </a:cubicBezTo>
                    <a:cubicBezTo>
                      <a:pt x="174" y="122"/>
                      <a:pt x="169" y="129"/>
                      <a:pt x="169" y="137"/>
                    </a:cubicBezTo>
                    <a:cubicBezTo>
                      <a:pt x="169" y="159"/>
                      <a:pt x="191" y="166"/>
                      <a:pt x="206" y="166"/>
                    </a:cubicBezTo>
                    <a:cubicBezTo>
                      <a:pt x="220" y="166"/>
                      <a:pt x="242" y="159"/>
                      <a:pt x="242" y="137"/>
                    </a:cubicBezTo>
                    <a:cubicBezTo>
                      <a:pt x="242" y="129"/>
                      <a:pt x="238" y="122"/>
                      <a:pt x="234" y="117"/>
                    </a:cubicBezTo>
                    <a:cubicBezTo>
                      <a:pt x="231" y="114"/>
                      <a:pt x="229" y="111"/>
                      <a:pt x="229" y="108"/>
                    </a:cubicBezTo>
                    <a:cubicBezTo>
                      <a:pt x="229" y="108"/>
                      <a:pt x="229" y="108"/>
                      <a:pt x="229" y="108"/>
                    </a:cubicBezTo>
                    <a:cubicBezTo>
                      <a:pt x="238" y="108"/>
                      <a:pt x="238" y="108"/>
                      <a:pt x="238" y="108"/>
                    </a:cubicBezTo>
                    <a:cubicBezTo>
                      <a:pt x="251" y="108"/>
                      <a:pt x="263" y="110"/>
                      <a:pt x="275" y="114"/>
                    </a:cubicBezTo>
                    <a:cubicBezTo>
                      <a:pt x="272" y="122"/>
                      <a:pt x="268" y="136"/>
                      <a:pt x="268" y="155"/>
                    </a:cubicBezTo>
                    <a:cubicBezTo>
                      <a:pt x="268" y="166"/>
                      <a:pt x="268" y="166"/>
                      <a:pt x="268" y="166"/>
                    </a:cubicBezTo>
                    <a:cubicBezTo>
                      <a:pt x="268" y="167"/>
                      <a:pt x="268" y="168"/>
                      <a:pt x="268" y="169"/>
                    </a:cubicBezTo>
                    <a:cubicBezTo>
                      <a:pt x="271" y="176"/>
                      <a:pt x="277" y="181"/>
                      <a:pt x="284" y="181"/>
                    </a:cubicBezTo>
                    <a:cubicBezTo>
                      <a:pt x="291" y="181"/>
                      <a:pt x="297" y="176"/>
                      <a:pt x="302" y="173"/>
                    </a:cubicBezTo>
                    <a:cubicBezTo>
                      <a:pt x="306" y="170"/>
                      <a:pt x="310" y="167"/>
                      <a:pt x="313" y="167"/>
                    </a:cubicBezTo>
                    <a:cubicBezTo>
                      <a:pt x="326" y="167"/>
                      <a:pt x="326" y="188"/>
                      <a:pt x="326" y="188"/>
                    </a:cubicBezTo>
                    <a:cubicBezTo>
                      <a:pt x="326" y="188"/>
                      <a:pt x="326" y="209"/>
                      <a:pt x="313" y="209"/>
                    </a:cubicBezTo>
                    <a:close/>
                    <a:moveTo>
                      <a:pt x="317" y="320"/>
                    </a:moveTo>
                    <a:cubicBezTo>
                      <a:pt x="282" y="350"/>
                      <a:pt x="237" y="364"/>
                      <a:pt x="192" y="359"/>
                    </a:cubicBezTo>
                    <a:cubicBezTo>
                      <a:pt x="206" y="349"/>
                      <a:pt x="206" y="349"/>
                      <a:pt x="206" y="349"/>
                    </a:cubicBezTo>
                    <a:cubicBezTo>
                      <a:pt x="210" y="346"/>
                      <a:pt x="210" y="341"/>
                      <a:pt x="208" y="338"/>
                    </a:cubicBezTo>
                    <a:cubicBezTo>
                      <a:pt x="205" y="334"/>
                      <a:pt x="200" y="333"/>
                      <a:pt x="197" y="336"/>
                    </a:cubicBezTo>
                    <a:cubicBezTo>
                      <a:pt x="168" y="358"/>
                      <a:pt x="168" y="358"/>
                      <a:pt x="168" y="358"/>
                    </a:cubicBezTo>
                    <a:cubicBezTo>
                      <a:pt x="167" y="358"/>
                      <a:pt x="166" y="359"/>
                      <a:pt x="165" y="361"/>
                    </a:cubicBezTo>
                    <a:cubicBezTo>
                      <a:pt x="165" y="361"/>
                      <a:pt x="165" y="361"/>
                      <a:pt x="165" y="361"/>
                    </a:cubicBezTo>
                    <a:cubicBezTo>
                      <a:pt x="165" y="361"/>
                      <a:pt x="165" y="361"/>
                      <a:pt x="165" y="362"/>
                    </a:cubicBezTo>
                    <a:cubicBezTo>
                      <a:pt x="164" y="362"/>
                      <a:pt x="164" y="362"/>
                      <a:pt x="164" y="363"/>
                    </a:cubicBezTo>
                    <a:cubicBezTo>
                      <a:pt x="164" y="363"/>
                      <a:pt x="164" y="363"/>
                      <a:pt x="164" y="363"/>
                    </a:cubicBezTo>
                    <a:cubicBezTo>
                      <a:pt x="164" y="363"/>
                      <a:pt x="164" y="363"/>
                      <a:pt x="164" y="363"/>
                    </a:cubicBezTo>
                    <a:cubicBezTo>
                      <a:pt x="164" y="363"/>
                      <a:pt x="164" y="363"/>
                      <a:pt x="164" y="364"/>
                    </a:cubicBezTo>
                    <a:cubicBezTo>
                      <a:pt x="164" y="366"/>
                      <a:pt x="164" y="368"/>
                      <a:pt x="166" y="369"/>
                    </a:cubicBezTo>
                    <a:cubicBezTo>
                      <a:pt x="188" y="399"/>
                      <a:pt x="188" y="399"/>
                      <a:pt x="188" y="399"/>
                    </a:cubicBezTo>
                    <a:cubicBezTo>
                      <a:pt x="189" y="401"/>
                      <a:pt x="192" y="402"/>
                      <a:pt x="194" y="402"/>
                    </a:cubicBezTo>
                    <a:cubicBezTo>
                      <a:pt x="196" y="402"/>
                      <a:pt x="197" y="401"/>
                      <a:pt x="199" y="400"/>
                    </a:cubicBezTo>
                    <a:cubicBezTo>
                      <a:pt x="202" y="398"/>
                      <a:pt x="203" y="393"/>
                      <a:pt x="200" y="389"/>
                    </a:cubicBezTo>
                    <a:cubicBezTo>
                      <a:pt x="190" y="375"/>
                      <a:pt x="190" y="375"/>
                      <a:pt x="190" y="375"/>
                    </a:cubicBezTo>
                    <a:cubicBezTo>
                      <a:pt x="196" y="376"/>
                      <a:pt x="202" y="376"/>
                      <a:pt x="208" y="376"/>
                    </a:cubicBezTo>
                    <a:cubicBezTo>
                      <a:pt x="251" y="376"/>
                      <a:pt x="293" y="361"/>
                      <a:pt x="327" y="333"/>
                    </a:cubicBezTo>
                    <a:cubicBezTo>
                      <a:pt x="331" y="330"/>
                      <a:pt x="331" y="325"/>
                      <a:pt x="328" y="321"/>
                    </a:cubicBezTo>
                    <a:cubicBezTo>
                      <a:pt x="325" y="318"/>
                      <a:pt x="320" y="318"/>
                      <a:pt x="317" y="320"/>
                    </a:cubicBezTo>
                    <a:close/>
                  </a:path>
                </a:pathLst>
              </a:custGeom>
              <a:solidFill>
                <a:srgbClr val="7B06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Tree>
    <p:extLst>
      <p:ext uri="{BB962C8B-B14F-4D97-AF65-F5344CB8AC3E}">
        <p14:creationId xmlns:p14="http://schemas.microsoft.com/office/powerpoint/2010/main" val="1682789193"/>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Content Placeholder 3"/>
          <p:cNvSpPr>
            <a:spLocks noGrp="1"/>
          </p:cNvSpPr>
          <p:nvPr>
            <p:ph idx="1"/>
          </p:nvPr>
        </p:nvSpPr>
        <p:spPr>
          <a:xfrm>
            <a:off x="396478" y="1800226"/>
            <a:ext cx="8352234" cy="3851275"/>
          </a:xfrm>
        </p:spPr>
        <p:txBody>
          <a:bodyPr/>
          <a:lstStyle/>
          <a:p>
            <a:r>
              <a:rPr lang="en-US" dirty="0" smtClean="0"/>
              <a:t>We are planning first formal OSS-wide User Group</a:t>
            </a:r>
          </a:p>
          <a:p>
            <a:pPr lvl="1"/>
            <a:r>
              <a:rPr lang="en-US" dirty="0" smtClean="0"/>
              <a:t>Nice, France </a:t>
            </a:r>
          </a:p>
          <a:p>
            <a:pPr lvl="1"/>
            <a:r>
              <a:rPr lang="en-US" dirty="0" smtClean="0"/>
              <a:t>June 4-5 2015</a:t>
            </a:r>
          </a:p>
          <a:p>
            <a:pPr lvl="1"/>
            <a:r>
              <a:rPr lang="en-US" dirty="0" smtClean="0"/>
              <a:t>Immediately following</a:t>
            </a:r>
            <a:br>
              <a:rPr lang="en-US" dirty="0" smtClean="0"/>
            </a:br>
            <a:r>
              <a:rPr lang="en-US" dirty="0" smtClean="0"/>
              <a:t>TM </a:t>
            </a:r>
            <a:r>
              <a:rPr lang="en-US" dirty="0"/>
              <a:t>Forum Live </a:t>
            </a:r>
            <a:r>
              <a:rPr lang="en-US" dirty="0" smtClean="0"/>
              <a:t>2015</a:t>
            </a:r>
            <a:endParaRPr lang="en-US" dirty="0"/>
          </a:p>
          <a:p>
            <a:r>
              <a:rPr lang="en-US" dirty="0" smtClean="0"/>
              <a:t>An “operator run” event</a:t>
            </a:r>
          </a:p>
          <a:p>
            <a:r>
              <a:rPr lang="en-US" dirty="0" smtClean="0"/>
              <a:t>Modelled on our successful</a:t>
            </a:r>
            <a:br>
              <a:rPr lang="en-US" dirty="0" smtClean="0"/>
            </a:br>
            <a:r>
              <a:rPr lang="en-US" dirty="0" smtClean="0"/>
              <a:t>BSS</a:t>
            </a:r>
            <a:r>
              <a:rPr lang="en-US" dirty="0"/>
              <a:t> </a:t>
            </a:r>
            <a:r>
              <a:rPr lang="en-US" dirty="0" smtClean="0"/>
              <a:t>User Group</a:t>
            </a:r>
          </a:p>
          <a:p>
            <a:r>
              <a:rPr lang="en-US" dirty="0" smtClean="0"/>
              <a:t>We will be communicating</a:t>
            </a:r>
            <a:br>
              <a:rPr lang="en-US" dirty="0" smtClean="0"/>
            </a:br>
            <a:r>
              <a:rPr lang="en-US" dirty="0" smtClean="0"/>
              <a:t>more details over the next</a:t>
            </a:r>
            <a:br>
              <a:rPr lang="en-US" dirty="0" smtClean="0"/>
            </a:br>
            <a:r>
              <a:rPr lang="en-US" dirty="0" smtClean="0"/>
              <a:t>few months</a:t>
            </a:r>
          </a:p>
        </p:txBody>
      </p:sp>
      <p:sp>
        <p:nvSpPr>
          <p:cNvPr id="13315" name="Title 2"/>
          <p:cNvSpPr>
            <a:spLocks noGrp="1"/>
          </p:cNvSpPr>
          <p:nvPr>
            <p:ph type="title"/>
          </p:nvPr>
        </p:nvSpPr>
        <p:spPr>
          <a:xfrm>
            <a:off x="394098" y="239713"/>
            <a:ext cx="7493794" cy="1085850"/>
          </a:xfrm>
        </p:spPr>
        <p:txBody>
          <a:bodyPr/>
          <a:lstStyle/>
          <a:p>
            <a:r>
              <a:rPr lang="en-US" dirty="0" smtClean="0">
                <a:latin typeface="Ericsson Capital TT" pitchFamily="2" charset="0"/>
              </a:rPr>
              <a:t>1</a:t>
            </a:r>
            <a:r>
              <a:rPr lang="en-US" baseline="30000" dirty="0" smtClean="0">
                <a:latin typeface="Ericsson Capital TT" pitchFamily="2" charset="0"/>
              </a:rPr>
              <a:t>st</a:t>
            </a:r>
            <a:r>
              <a:rPr lang="en-US" dirty="0" smtClean="0">
                <a:latin typeface="Ericsson Capital TT" pitchFamily="2" charset="0"/>
              </a:rPr>
              <a:t> </a:t>
            </a:r>
            <a:r>
              <a:rPr lang="en-US" dirty="0">
                <a:latin typeface="Ericsson Capital TT" pitchFamily="2" charset="0"/>
              </a:rPr>
              <a:t>ERICSSON</a:t>
            </a:r>
            <a:br>
              <a:rPr lang="en-US" dirty="0">
                <a:latin typeface="Ericsson Capital TT" pitchFamily="2" charset="0"/>
              </a:rPr>
            </a:br>
            <a:r>
              <a:rPr lang="en-US" dirty="0" smtClean="0">
                <a:latin typeface="Ericsson Capital TT" pitchFamily="2" charset="0"/>
              </a:rPr>
              <a:t>OSS User Group</a:t>
            </a:r>
          </a:p>
        </p:txBody>
      </p:sp>
      <p:pic>
        <p:nvPicPr>
          <p:cNvPr id="13316" name="Picture 5" descr="http://en.nicetourisme.com/resources/block/c6/thumbs/684_0_4d8afa00aaa18_1a23d591e87a23c3f823b9057173e0307b744b29.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31518" y="2982686"/>
            <a:ext cx="4217194" cy="2886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6677699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394098" y="239713"/>
            <a:ext cx="7493794" cy="1085850"/>
          </a:xfrm>
        </p:spPr>
        <p:txBody>
          <a:bodyPr/>
          <a:lstStyle/>
          <a:p>
            <a:r>
              <a:rPr lang="en-US" smtClean="0">
                <a:latin typeface="Ericsson Capital TT" pitchFamily="2" charset="0"/>
              </a:rPr>
              <a:t>Release status Conventions</a:t>
            </a:r>
          </a:p>
        </p:txBody>
      </p:sp>
      <p:graphicFrame>
        <p:nvGraphicFramePr>
          <p:cNvPr id="770051" name="Group 3"/>
          <p:cNvGraphicFramePr>
            <a:graphicFrameLocks noGrp="1"/>
          </p:cNvGraphicFramePr>
          <p:nvPr>
            <p:extLst>
              <p:ext uri="{D42A27DB-BD31-4B8C-83A1-F6EECF244321}">
                <p14:modId xmlns:p14="http://schemas.microsoft.com/office/powerpoint/2010/main" val="3600874451"/>
              </p:ext>
            </p:extLst>
          </p:nvPr>
        </p:nvGraphicFramePr>
        <p:xfrm>
          <a:off x="320278" y="1449388"/>
          <a:ext cx="8471297" cy="2971800"/>
        </p:xfrm>
        <a:graphic>
          <a:graphicData uri="http://schemas.openxmlformats.org/drawingml/2006/table">
            <a:tbl>
              <a:tblPr/>
              <a:tblGrid>
                <a:gridCol w="1898739"/>
                <a:gridCol w="6572558"/>
              </a:tblGrid>
              <a:tr h="990600">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pitchFamily="34" charset="0"/>
                        <a:buNone/>
                        <a:tabLst/>
                      </a:pPr>
                      <a:r>
                        <a:rPr kumimoji="0" lang="en-US" sz="2000" b="1" i="0" u="none" strike="noStrike" cap="none" normalizeH="0" baseline="0" dirty="0" smtClean="0">
                          <a:ln>
                            <a:noFill/>
                          </a:ln>
                          <a:solidFill>
                            <a:schemeClr val="bg1"/>
                          </a:solidFill>
                          <a:effectLst/>
                          <a:latin typeface="Arial" pitchFamily="34" charset="0"/>
                        </a:rPr>
                        <a:t>Released</a:t>
                      </a:r>
                    </a:p>
                  </a:txBody>
                  <a:tcPr marL="38102" marR="91445" anchor="ctr" anchorCtr="1" horzOverflow="overflow">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a:noFill/>
                    </a:lnTlToBr>
                    <a:lnBlToTr>
                      <a:noFill/>
                    </a:lnBlToTr>
                    <a:solidFill>
                      <a:srgbClr val="89BA17"/>
                    </a:solidFill>
                  </a:tcPr>
                </a:tc>
                <a:tc>
                  <a:txBody>
                    <a:bodyPr/>
                    <a:lstStyle/>
                    <a:p>
                      <a:pPr marL="0" marR="0" lvl="0" indent="0" algn="l" defTabSz="914400" rtl="0" eaLnBrk="1" fontAlgn="base" latinLnBrk="0" hangingPunct="1">
                        <a:lnSpc>
                          <a:spcPct val="100000"/>
                        </a:lnSpc>
                        <a:spcBef>
                          <a:spcPct val="0"/>
                        </a:spcBef>
                        <a:spcAft>
                          <a:spcPct val="0"/>
                        </a:spcAft>
                        <a:buClr>
                          <a:schemeClr val="bg1"/>
                        </a:buClr>
                        <a:buSzTx/>
                        <a:buFontTx/>
                        <a:buNone/>
                        <a:tabLst/>
                      </a:pPr>
                      <a:r>
                        <a:rPr kumimoji="0" lang="en-US" sz="1600" b="0" i="0" u="none" strike="noStrike" cap="none" normalizeH="0" baseline="0" dirty="0" smtClean="0">
                          <a:ln>
                            <a:noFill/>
                          </a:ln>
                          <a:solidFill>
                            <a:schemeClr val="tx1"/>
                          </a:solidFill>
                          <a:effectLst/>
                          <a:latin typeface="Arial" pitchFamily="34" charset="0"/>
                          <a:cs typeface="Times New Roman" pitchFamily="18" charset="0"/>
                        </a:rPr>
                        <a:t>Released Product or Feature. Products available for unrestricted global delivery (GA status) are defined as released products. There may be more than one (1) release in a product line available on the market.</a:t>
                      </a:r>
                    </a:p>
                  </a:txBody>
                  <a:tcPr marL="76204" marR="91445" anchor="ctr" horzOverflow="overflow">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a:noFill/>
                    </a:lnTlToBr>
                    <a:lnBlToTr>
                      <a:noFill/>
                    </a:lnBlToTr>
                    <a:noFill/>
                  </a:tcPr>
                </a:tc>
              </a:tr>
              <a:tr h="990600">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pitchFamily="34" charset="0"/>
                        <a:buNone/>
                        <a:tabLst/>
                      </a:pPr>
                      <a:r>
                        <a:rPr kumimoji="0" lang="en-US" sz="2000" b="1" i="0" u="none" strike="noStrike" cap="none" normalizeH="0" baseline="0" dirty="0" smtClean="0">
                          <a:ln>
                            <a:noFill/>
                          </a:ln>
                          <a:solidFill>
                            <a:schemeClr val="bg1"/>
                          </a:solidFill>
                          <a:effectLst/>
                          <a:latin typeface="Arial" pitchFamily="34" charset="0"/>
                        </a:rPr>
                        <a:t>Indicative</a:t>
                      </a:r>
                    </a:p>
                  </a:txBody>
                  <a:tcPr marL="38102" marR="91445" anchor="ctr" anchorCtr="1" horzOverflow="overflow">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a:noFill/>
                    </a:lnTlToBr>
                    <a:lnBlToTr>
                      <a:noFill/>
                    </a:lnBlToTr>
                    <a:solidFill>
                      <a:srgbClr val="5B6592"/>
                    </a:solidFill>
                  </a:tcPr>
                </a:tc>
                <a:tc>
                  <a:txBody>
                    <a:bodyPr/>
                    <a:lstStyle/>
                    <a:p>
                      <a:pPr marL="0" marR="0" lvl="0" indent="0" algn="l" defTabSz="914400" rtl="0" eaLnBrk="1" fontAlgn="base" latinLnBrk="0" hangingPunct="1">
                        <a:lnSpc>
                          <a:spcPct val="100000"/>
                        </a:lnSpc>
                        <a:spcBef>
                          <a:spcPct val="0"/>
                        </a:spcBef>
                        <a:spcAft>
                          <a:spcPct val="0"/>
                        </a:spcAft>
                        <a:buClr>
                          <a:schemeClr val="bg1"/>
                        </a:buClr>
                        <a:buSzTx/>
                        <a:buFontTx/>
                        <a:buNone/>
                        <a:tabLst/>
                      </a:pPr>
                      <a:r>
                        <a:rPr kumimoji="0" lang="en-US" sz="1600" b="0" i="0" u="none" strike="noStrike" cap="none" normalizeH="0" baseline="0" dirty="0" smtClean="0">
                          <a:ln>
                            <a:noFill/>
                          </a:ln>
                          <a:solidFill>
                            <a:schemeClr val="tx1"/>
                          </a:solidFill>
                          <a:effectLst/>
                          <a:latin typeface="Arial" pitchFamily="34" charset="0"/>
                          <a:cs typeface="Times New Roman" pitchFamily="18" charset="0"/>
                        </a:rPr>
                        <a:t>Future products or features where release intent has been defined and development has started for some objects. Release scope and the GA date may change.</a:t>
                      </a:r>
                      <a:endParaRPr kumimoji="0" lang="en-US" sz="1600" b="0" i="0" u="none" strike="noStrike" cap="none" normalizeH="0" baseline="0" dirty="0" smtClean="0">
                        <a:ln>
                          <a:noFill/>
                        </a:ln>
                        <a:solidFill>
                          <a:schemeClr val="tx1"/>
                        </a:solidFill>
                        <a:effectLst/>
                        <a:latin typeface="Arial" pitchFamily="34" charset="0"/>
                      </a:endParaRPr>
                    </a:p>
                  </a:txBody>
                  <a:tcPr marL="76204" marR="91445" anchor="ctr" horzOverflow="overflow">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a:noFill/>
                    </a:lnTlToBr>
                    <a:lnBlToTr>
                      <a:noFill/>
                    </a:lnBlToTr>
                    <a:noFill/>
                  </a:tcPr>
                </a:tc>
              </a:tr>
              <a:tr h="990600">
                <a:tc>
                  <a:txBody>
                    <a:bodyPr/>
                    <a:lstStyle/>
                    <a:p>
                      <a:pPr marL="0" marR="0" lvl="0" indent="0" algn="ctr" defTabSz="914400" rtl="0" eaLnBrk="1" fontAlgn="base" latinLnBrk="0" hangingPunct="1">
                        <a:lnSpc>
                          <a:spcPct val="100000"/>
                        </a:lnSpc>
                        <a:spcBef>
                          <a:spcPct val="20000"/>
                        </a:spcBef>
                        <a:spcAft>
                          <a:spcPct val="0"/>
                        </a:spcAft>
                        <a:buClr>
                          <a:srgbClr val="00A9D4"/>
                        </a:buClr>
                        <a:buSzTx/>
                        <a:buFont typeface="Arial" pitchFamily="34" charset="0"/>
                        <a:buNone/>
                        <a:tabLst/>
                      </a:pPr>
                      <a:r>
                        <a:rPr kumimoji="0" lang="en-US" sz="2000" b="1" i="0" u="none" strike="noStrike" cap="none" normalizeH="0" baseline="0" dirty="0" smtClean="0">
                          <a:ln>
                            <a:noFill/>
                          </a:ln>
                          <a:solidFill>
                            <a:schemeClr val="bg1"/>
                          </a:solidFill>
                          <a:effectLst/>
                          <a:latin typeface="Arial" pitchFamily="34" charset="0"/>
                        </a:rPr>
                        <a:t>Candidate</a:t>
                      </a:r>
                    </a:p>
                  </a:txBody>
                  <a:tcPr marL="38102" marR="91445" anchor="ctr" anchorCtr="1" horzOverflow="overflow">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a:noFill/>
                    </a:lnTlToBr>
                    <a:lnBlToTr>
                      <a:noFill/>
                    </a:lnBlToTr>
                    <a:solidFill>
                      <a:srgbClr val="92CCE5"/>
                    </a:solidFill>
                  </a:tcPr>
                </a:tc>
                <a:tc>
                  <a:txBody>
                    <a:bodyPr/>
                    <a:lstStyle/>
                    <a:p>
                      <a:pPr marL="0" marR="0" lvl="0" indent="0" algn="l" defTabSz="914400" rtl="0" eaLnBrk="1" fontAlgn="base" latinLnBrk="0" hangingPunct="1">
                        <a:lnSpc>
                          <a:spcPct val="100000"/>
                        </a:lnSpc>
                        <a:spcBef>
                          <a:spcPct val="0"/>
                        </a:spcBef>
                        <a:spcAft>
                          <a:spcPct val="0"/>
                        </a:spcAft>
                        <a:buClr>
                          <a:schemeClr val="bg1"/>
                        </a:buClr>
                        <a:buSzTx/>
                        <a:buFontTx/>
                        <a:buNone/>
                        <a:tabLst/>
                      </a:pPr>
                      <a:r>
                        <a:rPr kumimoji="0" lang="en-US" sz="1600" b="0" i="0" u="none" strike="noStrike" cap="none" normalizeH="0" baseline="0" dirty="0" smtClean="0">
                          <a:ln>
                            <a:noFill/>
                          </a:ln>
                          <a:solidFill>
                            <a:schemeClr val="tx1"/>
                          </a:solidFill>
                          <a:effectLst/>
                          <a:latin typeface="Arial" pitchFamily="34" charset="0"/>
                          <a:cs typeface="Times New Roman" pitchFamily="18" charset="0"/>
                        </a:rPr>
                        <a:t>Potential products or features where implementation has not started. Candidates for scope are suggested. Release scope, functions and GA date may change. </a:t>
                      </a:r>
                      <a:endParaRPr kumimoji="0" lang="en-US" sz="1600" b="0" i="0" u="none" strike="noStrike" cap="none" normalizeH="0" baseline="0" dirty="0" smtClean="0">
                        <a:ln>
                          <a:noFill/>
                        </a:ln>
                        <a:solidFill>
                          <a:schemeClr val="tx1"/>
                        </a:solidFill>
                        <a:effectLst/>
                        <a:latin typeface="Arial" pitchFamily="34" charset="0"/>
                      </a:endParaRPr>
                    </a:p>
                  </a:txBody>
                  <a:tcPr marL="76204" marR="91445" anchor="ctr" horzOverflow="overflow">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a:noFill/>
                    </a:lnTlToBr>
                    <a:lnBlToTr>
                      <a:noFill/>
                    </a:lnBlToTr>
                    <a:noFill/>
                  </a:tcPr>
                </a:tc>
              </a:tr>
            </a:tbl>
          </a:graphicData>
        </a:graphic>
      </p:graphicFrame>
      <p:sp>
        <p:nvSpPr>
          <p:cNvPr id="4" name="Content Placeholder 2"/>
          <p:cNvSpPr txBox="1">
            <a:spLocks/>
          </p:cNvSpPr>
          <p:nvPr/>
        </p:nvSpPr>
        <p:spPr bwMode="auto">
          <a:xfrm>
            <a:off x="394098" y="4724401"/>
            <a:ext cx="8264127"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26000" bIns="0" numCol="1" anchor="t" anchorCtr="0" compatLnSpc="1">
            <a:prstTxWarp prst="textNoShape">
              <a:avLst/>
            </a:prstTxWarp>
          </a:bodyPr>
          <a:lstStyle>
            <a:lvl1pPr marL="176213" indent="-176213" algn="l" rtl="0" eaLnBrk="0" fontAlgn="base" hangingPunct="0">
              <a:spcBef>
                <a:spcPct val="20000"/>
              </a:spcBef>
              <a:spcAft>
                <a:spcPct val="0"/>
              </a:spcAft>
              <a:buClr>
                <a:srgbClr val="00A9D4"/>
              </a:buClr>
              <a:buFont typeface="Arial" pitchFamily="34" charset="0"/>
              <a:buChar char="›"/>
              <a:defRPr sz="2400">
                <a:solidFill>
                  <a:schemeClr val="tx1"/>
                </a:solidFill>
                <a:latin typeface="+mn-lt"/>
                <a:ea typeface="+mn-ea"/>
                <a:cs typeface="+mn-cs"/>
              </a:defRPr>
            </a:lvl1pPr>
            <a:lvl2pPr marL="533400" indent="-177800"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0" fontAlgn="base" hangingPunct="0">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just" eaLnBrk="1" hangingPunct="1">
              <a:spcBef>
                <a:spcPct val="30000"/>
              </a:spcBef>
              <a:buFont typeface="Arial" pitchFamily="34" charset="0"/>
              <a:buNone/>
            </a:pPr>
            <a:r>
              <a:rPr lang="en-GB" sz="1100" dirty="0" smtClean="0"/>
              <a:t>Disclaimer: Ericsson (the Company) does not  guarantee that the assumptions underlying any forward-looking statements are free from errors nor do they accept any responsibility for the future accuracy of the opinions expressed in this document or the actual occurrence of the forecasted developments. </a:t>
            </a:r>
          </a:p>
          <a:p>
            <a:pPr marL="0" indent="0" algn="just" eaLnBrk="1" hangingPunct="1">
              <a:spcBef>
                <a:spcPct val="30000"/>
              </a:spcBef>
              <a:buFont typeface="Arial" pitchFamily="34" charset="0"/>
              <a:buNone/>
            </a:pPr>
            <a:r>
              <a:rPr lang="en-GB" sz="1100" dirty="0" smtClean="0"/>
              <a:t>Neither the delivery of this document nor any further discussions of the Company with any of the recipients shall, under any circumstances, create any implication that there has been no change in the affairs of the Company since such date. The Company is under no obligation to update or keep current the information contained in this material or in the presentation to which they relate and any opinions expressed in them are subject to change without notice. No representation or warranty (express or implied) is made as to, and no reliance should be placed on, the fairness, accuracy or completeness of the information contained herein and, accordingly, that neither the Company nor any of such person’s officers, directors or employees accepts any liability whatsoever arising directly or indirectly from the use of this document.</a:t>
            </a:r>
            <a:endParaRPr lang="de-DE" sz="1100" dirty="0" smtClean="0"/>
          </a:p>
        </p:txBody>
      </p:sp>
    </p:spTree>
    <p:extLst>
      <p:ext uri="{BB962C8B-B14F-4D97-AF65-F5344CB8AC3E}">
        <p14:creationId xmlns:p14="http://schemas.microsoft.com/office/powerpoint/2010/main" val="1972721890"/>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Title 1"/>
          <p:cNvSpPr>
            <a:spLocks noGrp="1"/>
          </p:cNvSpPr>
          <p:nvPr>
            <p:ph type="title"/>
          </p:nvPr>
        </p:nvSpPr>
        <p:spPr/>
        <p:txBody>
          <a:bodyPr/>
          <a:lstStyle/>
          <a:p>
            <a:r>
              <a:rPr lang="en-US" smtClean="0">
                <a:latin typeface="Ericsson Capital TT" pitchFamily="2" charset="0"/>
              </a:rPr>
              <a:t>Today’s Agenda</a:t>
            </a:r>
          </a:p>
        </p:txBody>
      </p:sp>
      <p:sp>
        <p:nvSpPr>
          <p:cNvPr id="6" name="Freeform 4"/>
          <p:cNvSpPr>
            <a:spLocks noChangeAspect="1" noEditPoints="1"/>
          </p:cNvSpPr>
          <p:nvPr/>
        </p:nvSpPr>
        <p:spPr bwMode="auto">
          <a:xfrm>
            <a:off x="527050" y="2150905"/>
            <a:ext cx="4741636" cy="3497800"/>
          </a:xfrm>
          <a:custGeom>
            <a:avLst/>
            <a:gdLst>
              <a:gd name="T0" fmla="*/ 2147483647 w 305"/>
              <a:gd name="T1" fmla="*/ 2147483647 h 300"/>
              <a:gd name="T2" fmla="*/ 2147483647 w 305"/>
              <a:gd name="T3" fmla="*/ 2147483647 h 300"/>
              <a:gd name="T4" fmla="*/ 2147483647 w 305"/>
              <a:gd name="T5" fmla="*/ 0 h 300"/>
              <a:gd name="T6" fmla="*/ 2147483647 w 305"/>
              <a:gd name="T7" fmla="*/ 2147483647 h 300"/>
              <a:gd name="T8" fmla="*/ 2147483647 w 305"/>
              <a:gd name="T9" fmla="*/ 2147483647 h 300"/>
              <a:gd name="T10" fmla="*/ 2147483647 w 305"/>
              <a:gd name="T11" fmla="*/ 2147483647 h 300"/>
              <a:gd name="T12" fmla="*/ 2147483647 w 305"/>
              <a:gd name="T13" fmla="*/ 2147483647 h 300"/>
              <a:gd name="T14" fmla="*/ 2147483647 w 305"/>
              <a:gd name="T15" fmla="*/ 2147483647 h 300"/>
              <a:gd name="T16" fmla="*/ 2147483647 w 305"/>
              <a:gd name="T17" fmla="*/ 2147483647 h 300"/>
              <a:gd name="T18" fmla="*/ 2147483647 w 305"/>
              <a:gd name="T19" fmla="*/ 2147483647 h 300"/>
              <a:gd name="T20" fmla="*/ 2147483647 w 305"/>
              <a:gd name="T21" fmla="*/ 2147483647 h 300"/>
              <a:gd name="T22" fmla="*/ 2147483647 w 305"/>
              <a:gd name="T23" fmla="*/ 2147483647 h 300"/>
              <a:gd name="T24" fmla="*/ 2147483647 w 305"/>
              <a:gd name="T25" fmla="*/ 2147483647 h 300"/>
              <a:gd name="T26" fmla="*/ 2147483647 w 305"/>
              <a:gd name="T27" fmla="*/ 2147483647 h 300"/>
              <a:gd name="T28" fmla="*/ 2147483647 w 305"/>
              <a:gd name="T29" fmla="*/ 2147483647 h 300"/>
              <a:gd name="T30" fmla="*/ 2147483647 w 305"/>
              <a:gd name="T31" fmla="*/ 2147483647 h 300"/>
              <a:gd name="T32" fmla="*/ 2147483647 w 305"/>
              <a:gd name="T33" fmla="*/ 2147483647 h 300"/>
              <a:gd name="T34" fmla="*/ 2147483647 w 305"/>
              <a:gd name="T35" fmla="*/ 2147483647 h 300"/>
              <a:gd name="T36" fmla="*/ 2147483647 w 305"/>
              <a:gd name="T37" fmla="*/ 2147483647 h 300"/>
              <a:gd name="T38" fmla="*/ 2147483647 w 305"/>
              <a:gd name="T39" fmla="*/ 2147483647 h 300"/>
              <a:gd name="T40" fmla="*/ 2147483647 w 305"/>
              <a:gd name="T41" fmla="*/ 2147483647 h 300"/>
              <a:gd name="T42" fmla="*/ 2147483647 w 305"/>
              <a:gd name="T43" fmla="*/ 2147483647 h 300"/>
              <a:gd name="T44" fmla="*/ 2147483647 w 305"/>
              <a:gd name="T45" fmla="*/ 2147483647 h 300"/>
              <a:gd name="T46" fmla="*/ 2147483647 w 305"/>
              <a:gd name="T47" fmla="*/ 2147483647 h 300"/>
              <a:gd name="T48" fmla="*/ 2147483647 w 305"/>
              <a:gd name="T49" fmla="*/ 2147483647 h 300"/>
              <a:gd name="T50" fmla="*/ 2147483647 w 305"/>
              <a:gd name="T51" fmla="*/ 2147483647 h 300"/>
              <a:gd name="T52" fmla="*/ 2147483647 w 305"/>
              <a:gd name="T53" fmla="*/ 2147483647 h 300"/>
              <a:gd name="T54" fmla="*/ 2147483647 w 305"/>
              <a:gd name="T55" fmla="*/ 2147483647 h 300"/>
              <a:gd name="T56" fmla="*/ 2147483647 w 305"/>
              <a:gd name="T57" fmla="*/ 2147483647 h 300"/>
              <a:gd name="T58" fmla="*/ 2147483647 w 305"/>
              <a:gd name="T59" fmla="*/ 2147483647 h 300"/>
              <a:gd name="T60" fmla="*/ 2147483647 w 305"/>
              <a:gd name="T61" fmla="*/ 2147483647 h 300"/>
              <a:gd name="T62" fmla="*/ 2147483647 w 305"/>
              <a:gd name="T63" fmla="*/ 2147483647 h 300"/>
              <a:gd name="T64" fmla="*/ 2147483647 w 305"/>
              <a:gd name="T65" fmla="*/ 2147483647 h 300"/>
              <a:gd name="T66" fmla="*/ 2147483647 w 305"/>
              <a:gd name="T67" fmla="*/ 2147483647 h 300"/>
              <a:gd name="T68" fmla="*/ 2147483647 w 305"/>
              <a:gd name="T69" fmla="*/ 2147483647 h 300"/>
              <a:gd name="T70" fmla="*/ 2147483647 w 305"/>
              <a:gd name="T71" fmla="*/ 2147483647 h 300"/>
              <a:gd name="T72" fmla="*/ 2147483647 w 305"/>
              <a:gd name="T73" fmla="*/ 2147483647 h 300"/>
              <a:gd name="T74" fmla="*/ 2147483647 w 305"/>
              <a:gd name="T75" fmla="*/ 2147483647 h 300"/>
              <a:gd name="T76" fmla="*/ 2147483647 w 305"/>
              <a:gd name="T77" fmla="*/ 2147483647 h 300"/>
              <a:gd name="T78" fmla="*/ 2147483647 w 305"/>
              <a:gd name="T79" fmla="*/ 2147483647 h 300"/>
              <a:gd name="T80" fmla="*/ 2147483647 w 305"/>
              <a:gd name="T81" fmla="*/ 2147483647 h 300"/>
              <a:gd name="T82" fmla="*/ 2147483647 w 305"/>
              <a:gd name="T83" fmla="*/ 2147483647 h 300"/>
              <a:gd name="T84" fmla="*/ 2147483647 w 305"/>
              <a:gd name="T85" fmla="*/ 2147483647 h 300"/>
              <a:gd name="T86" fmla="*/ 2147483647 w 305"/>
              <a:gd name="T87" fmla="*/ 2147483647 h 300"/>
              <a:gd name="T88" fmla="*/ 2147483647 w 305"/>
              <a:gd name="T89" fmla="*/ 2147483647 h 300"/>
              <a:gd name="T90" fmla="*/ 2147483647 w 305"/>
              <a:gd name="T91" fmla="*/ 2147483647 h 300"/>
              <a:gd name="T92" fmla="*/ 2147483647 w 305"/>
              <a:gd name="T93" fmla="*/ 2147483647 h 3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05"/>
              <a:gd name="T142" fmla="*/ 0 h 300"/>
              <a:gd name="T143" fmla="*/ 305 w 305"/>
              <a:gd name="T144" fmla="*/ 300 h 3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05" h="300">
                <a:moveTo>
                  <a:pt x="289" y="26"/>
                </a:moveTo>
                <a:cubicBezTo>
                  <a:pt x="287" y="26"/>
                  <a:pt x="286" y="27"/>
                  <a:pt x="284" y="27"/>
                </a:cubicBezTo>
                <a:cubicBezTo>
                  <a:pt x="284" y="27"/>
                  <a:pt x="267" y="34"/>
                  <a:pt x="243" y="43"/>
                </a:cubicBezTo>
                <a:cubicBezTo>
                  <a:pt x="240" y="18"/>
                  <a:pt x="240" y="18"/>
                  <a:pt x="240" y="18"/>
                </a:cubicBezTo>
                <a:cubicBezTo>
                  <a:pt x="240" y="13"/>
                  <a:pt x="238" y="10"/>
                  <a:pt x="236" y="6"/>
                </a:cubicBezTo>
                <a:cubicBezTo>
                  <a:pt x="233" y="3"/>
                  <a:pt x="229" y="0"/>
                  <a:pt x="224" y="0"/>
                </a:cubicBezTo>
                <a:cubicBezTo>
                  <a:pt x="222" y="0"/>
                  <a:pt x="221" y="0"/>
                  <a:pt x="219" y="1"/>
                </a:cubicBezTo>
                <a:cubicBezTo>
                  <a:pt x="219" y="1"/>
                  <a:pt x="196" y="9"/>
                  <a:pt x="171" y="19"/>
                </a:cubicBezTo>
                <a:cubicBezTo>
                  <a:pt x="147" y="28"/>
                  <a:pt x="121" y="38"/>
                  <a:pt x="114" y="40"/>
                </a:cubicBezTo>
                <a:cubicBezTo>
                  <a:pt x="114" y="40"/>
                  <a:pt x="114" y="40"/>
                  <a:pt x="114" y="40"/>
                </a:cubicBezTo>
                <a:cubicBezTo>
                  <a:pt x="113" y="39"/>
                  <a:pt x="112" y="35"/>
                  <a:pt x="110" y="31"/>
                </a:cubicBezTo>
                <a:cubicBezTo>
                  <a:pt x="109" y="29"/>
                  <a:pt x="108" y="27"/>
                  <a:pt x="105" y="25"/>
                </a:cubicBezTo>
                <a:cubicBezTo>
                  <a:pt x="103" y="22"/>
                  <a:pt x="99" y="21"/>
                  <a:pt x="96" y="21"/>
                </a:cubicBezTo>
                <a:cubicBezTo>
                  <a:pt x="93" y="21"/>
                  <a:pt x="90" y="22"/>
                  <a:pt x="88" y="23"/>
                </a:cubicBezTo>
                <a:cubicBezTo>
                  <a:pt x="69" y="30"/>
                  <a:pt x="18" y="49"/>
                  <a:pt x="18" y="49"/>
                </a:cubicBezTo>
                <a:cubicBezTo>
                  <a:pt x="13" y="50"/>
                  <a:pt x="9" y="52"/>
                  <a:pt x="5" y="56"/>
                </a:cubicBezTo>
                <a:cubicBezTo>
                  <a:pt x="2" y="60"/>
                  <a:pt x="0" y="66"/>
                  <a:pt x="0" y="72"/>
                </a:cubicBezTo>
                <a:cubicBezTo>
                  <a:pt x="0" y="73"/>
                  <a:pt x="0" y="75"/>
                  <a:pt x="1" y="77"/>
                </a:cubicBezTo>
                <a:cubicBezTo>
                  <a:pt x="1" y="77"/>
                  <a:pt x="1" y="77"/>
                  <a:pt x="1" y="77"/>
                </a:cubicBezTo>
                <a:cubicBezTo>
                  <a:pt x="30" y="285"/>
                  <a:pt x="30" y="285"/>
                  <a:pt x="30" y="285"/>
                </a:cubicBezTo>
                <a:cubicBezTo>
                  <a:pt x="30" y="285"/>
                  <a:pt x="30" y="285"/>
                  <a:pt x="30" y="285"/>
                </a:cubicBezTo>
                <a:cubicBezTo>
                  <a:pt x="30" y="286"/>
                  <a:pt x="31" y="287"/>
                  <a:pt x="31" y="288"/>
                </a:cubicBezTo>
                <a:cubicBezTo>
                  <a:pt x="32" y="291"/>
                  <a:pt x="34" y="294"/>
                  <a:pt x="36" y="296"/>
                </a:cubicBezTo>
                <a:cubicBezTo>
                  <a:pt x="39" y="299"/>
                  <a:pt x="44" y="300"/>
                  <a:pt x="48" y="300"/>
                </a:cubicBezTo>
                <a:cubicBezTo>
                  <a:pt x="51" y="300"/>
                  <a:pt x="54" y="300"/>
                  <a:pt x="56" y="299"/>
                </a:cubicBezTo>
                <a:cubicBezTo>
                  <a:pt x="204" y="243"/>
                  <a:pt x="204" y="243"/>
                  <a:pt x="204" y="243"/>
                </a:cubicBezTo>
                <a:cubicBezTo>
                  <a:pt x="208" y="241"/>
                  <a:pt x="210" y="237"/>
                  <a:pt x="209" y="233"/>
                </a:cubicBezTo>
                <a:cubicBezTo>
                  <a:pt x="207" y="228"/>
                  <a:pt x="202" y="226"/>
                  <a:pt x="198" y="228"/>
                </a:cubicBezTo>
                <a:cubicBezTo>
                  <a:pt x="51" y="284"/>
                  <a:pt x="51" y="284"/>
                  <a:pt x="51" y="284"/>
                </a:cubicBezTo>
                <a:cubicBezTo>
                  <a:pt x="50" y="284"/>
                  <a:pt x="49" y="284"/>
                  <a:pt x="48" y="284"/>
                </a:cubicBezTo>
                <a:cubicBezTo>
                  <a:pt x="47" y="284"/>
                  <a:pt x="47" y="284"/>
                  <a:pt x="46" y="284"/>
                </a:cubicBezTo>
                <a:cubicBezTo>
                  <a:pt x="46" y="284"/>
                  <a:pt x="46" y="284"/>
                  <a:pt x="46" y="284"/>
                </a:cubicBezTo>
                <a:cubicBezTo>
                  <a:pt x="46" y="283"/>
                  <a:pt x="46" y="283"/>
                  <a:pt x="46" y="283"/>
                </a:cubicBezTo>
                <a:cubicBezTo>
                  <a:pt x="46" y="283"/>
                  <a:pt x="46" y="283"/>
                  <a:pt x="46" y="283"/>
                </a:cubicBezTo>
                <a:cubicBezTo>
                  <a:pt x="46" y="283"/>
                  <a:pt x="46" y="283"/>
                  <a:pt x="46" y="283"/>
                </a:cubicBezTo>
                <a:cubicBezTo>
                  <a:pt x="46" y="283"/>
                  <a:pt x="46" y="283"/>
                  <a:pt x="46" y="283"/>
                </a:cubicBezTo>
                <a:cubicBezTo>
                  <a:pt x="79" y="123"/>
                  <a:pt x="79" y="123"/>
                  <a:pt x="79" y="123"/>
                </a:cubicBezTo>
                <a:cubicBezTo>
                  <a:pt x="79" y="123"/>
                  <a:pt x="80" y="123"/>
                  <a:pt x="80" y="122"/>
                </a:cubicBezTo>
                <a:cubicBezTo>
                  <a:pt x="80" y="122"/>
                  <a:pt x="80" y="122"/>
                  <a:pt x="80" y="122"/>
                </a:cubicBezTo>
                <a:cubicBezTo>
                  <a:pt x="80" y="122"/>
                  <a:pt x="80" y="121"/>
                  <a:pt x="81" y="121"/>
                </a:cubicBezTo>
                <a:cubicBezTo>
                  <a:pt x="81" y="121"/>
                  <a:pt x="81" y="121"/>
                  <a:pt x="81" y="121"/>
                </a:cubicBezTo>
                <a:cubicBezTo>
                  <a:pt x="81" y="120"/>
                  <a:pt x="82" y="120"/>
                  <a:pt x="84" y="119"/>
                </a:cubicBezTo>
                <a:cubicBezTo>
                  <a:pt x="84" y="119"/>
                  <a:pt x="84" y="119"/>
                  <a:pt x="84" y="119"/>
                </a:cubicBezTo>
                <a:cubicBezTo>
                  <a:pt x="84" y="119"/>
                  <a:pt x="84" y="119"/>
                  <a:pt x="84" y="119"/>
                </a:cubicBezTo>
                <a:cubicBezTo>
                  <a:pt x="84" y="119"/>
                  <a:pt x="123" y="104"/>
                  <a:pt x="163" y="89"/>
                </a:cubicBezTo>
                <a:cubicBezTo>
                  <a:pt x="211" y="72"/>
                  <a:pt x="282" y="45"/>
                  <a:pt x="289" y="43"/>
                </a:cubicBezTo>
                <a:cubicBezTo>
                  <a:pt x="289" y="43"/>
                  <a:pt x="289" y="43"/>
                  <a:pt x="289" y="43"/>
                </a:cubicBezTo>
                <a:cubicBezTo>
                  <a:pt x="289" y="43"/>
                  <a:pt x="289" y="43"/>
                  <a:pt x="289" y="43"/>
                </a:cubicBezTo>
                <a:cubicBezTo>
                  <a:pt x="253" y="203"/>
                  <a:pt x="253" y="203"/>
                  <a:pt x="253" y="203"/>
                </a:cubicBezTo>
                <a:cubicBezTo>
                  <a:pt x="252" y="205"/>
                  <a:pt x="251" y="207"/>
                  <a:pt x="251" y="207"/>
                </a:cubicBezTo>
                <a:cubicBezTo>
                  <a:pt x="250" y="208"/>
                  <a:pt x="250" y="208"/>
                  <a:pt x="248" y="209"/>
                </a:cubicBezTo>
                <a:cubicBezTo>
                  <a:pt x="248" y="209"/>
                  <a:pt x="248" y="209"/>
                  <a:pt x="248" y="209"/>
                </a:cubicBezTo>
                <a:cubicBezTo>
                  <a:pt x="226" y="217"/>
                  <a:pt x="226" y="217"/>
                  <a:pt x="226" y="217"/>
                </a:cubicBezTo>
                <a:cubicBezTo>
                  <a:pt x="222" y="219"/>
                  <a:pt x="219" y="224"/>
                  <a:pt x="221" y="228"/>
                </a:cubicBezTo>
                <a:cubicBezTo>
                  <a:pt x="223" y="232"/>
                  <a:pt x="227" y="234"/>
                  <a:pt x="231" y="232"/>
                </a:cubicBezTo>
                <a:cubicBezTo>
                  <a:pt x="231" y="232"/>
                  <a:pt x="231" y="232"/>
                  <a:pt x="231" y="232"/>
                </a:cubicBezTo>
                <a:cubicBezTo>
                  <a:pt x="253" y="224"/>
                  <a:pt x="253" y="224"/>
                  <a:pt x="253" y="224"/>
                </a:cubicBezTo>
                <a:cubicBezTo>
                  <a:pt x="257" y="223"/>
                  <a:pt x="261" y="220"/>
                  <a:pt x="263" y="217"/>
                </a:cubicBezTo>
                <a:cubicBezTo>
                  <a:pt x="266" y="214"/>
                  <a:pt x="267" y="211"/>
                  <a:pt x="268" y="208"/>
                </a:cubicBezTo>
                <a:cubicBezTo>
                  <a:pt x="268" y="208"/>
                  <a:pt x="268" y="208"/>
                  <a:pt x="268" y="208"/>
                </a:cubicBezTo>
                <a:cubicBezTo>
                  <a:pt x="305" y="47"/>
                  <a:pt x="305" y="47"/>
                  <a:pt x="305" y="47"/>
                </a:cubicBezTo>
                <a:cubicBezTo>
                  <a:pt x="305" y="45"/>
                  <a:pt x="305" y="44"/>
                  <a:pt x="305" y="43"/>
                </a:cubicBezTo>
                <a:cubicBezTo>
                  <a:pt x="305" y="34"/>
                  <a:pt x="298" y="27"/>
                  <a:pt x="289" y="26"/>
                </a:cubicBezTo>
                <a:close/>
                <a:moveTo>
                  <a:pt x="16" y="75"/>
                </a:moveTo>
                <a:cubicBezTo>
                  <a:pt x="16" y="74"/>
                  <a:pt x="16" y="73"/>
                  <a:pt x="16" y="72"/>
                </a:cubicBezTo>
                <a:cubicBezTo>
                  <a:pt x="16" y="68"/>
                  <a:pt x="17" y="67"/>
                  <a:pt x="17" y="67"/>
                </a:cubicBezTo>
                <a:cubicBezTo>
                  <a:pt x="18" y="66"/>
                  <a:pt x="19" y="65"/>
                  <a:pt x="23" y="64"/>
                </a:cubicBezTo>
                <a:cubicBezTo>
                  <a:pt x="23" y="64"/>
                  <a:pt x="23" y="64"/>
                  <a:pt x="23" y="64"/>
                </a:cubicBezTo>
                <a:cubicBezTo>
                  <a:pt x="23" y="64"/>
                  <a:pt x="23" y="64"/>
                  <a:pt x="23" y="64"/>
                </a:cubicBezTo>
                <a:cubicBezTo>
                  <a:pt x="23" y="64"/>
                  <a:pt x="75" y="44"/>
                  <a:pt x="93" y="38"/>
                </a:cubicBezTo>
                <a:cubicBezTo>
                  <a:pt x="94" y="37"/>
                  <a:pt x="95" y="37"/>
                  <a:pt x="95" y="37"/>
                </a:cubicBezTo>
                <a:cubicBezTo>
                  <a:pt x="96" y="37"/>
                  <a:pt x="96" y="38"/>
                  <a:pt x="96" y="39"/>
                </a:cubicBezTo>
                <a:cubicBezTo>
                  <a:pt x="97" y="41"/>
                  <a:pt x="98" y="44"/>
                  <a:pt x="100" y="48"/>
                </a:cubicBezTo>
                <a:cubicBezTo>
                  <a:pt x="102" y="51"/>
                  <a:pt x="107" y="56"/>
                  <a:pt x="114" y="56"/>
                </a:cubicBezTo>
                <a:cubicBezTo>
                  <a:pt x="116" y="56"/>
                  <a:pt x="118" y="56"/>
                  <a:pt x="119" y="55"/>
                </a:cubicBezTo>
                <a:cubicBezTo>
                  <a:pt x="132" y="51"/>
                  <a:pt x="211" y="21"/>
                  <a:pt x="223" y="16"/>
                </a:cubicBezTo>
                <a:cubicBezTo>
                  <a:pt x="223" y="17"/>
                  <a:pt x="224" y="18"/>
                  <a:pt x="224" y="18"/>
                </a:cubicBezTo>
                <a:cubicBezTo>
                  <a:pt x="224" y="19"/>
                  <a:pt x="224" y="19"/>
                  <a:pt x="224" y="19"/>
                </a:cubicBezTo>
                <a:cubicBezTo>
                  <a:pt x="224" y="19"/>
                  <a:pt x="224" y="19"/>
                  <a:pt x="224" y="19"/>
                </a:cubicBezTo>
                <a:cubicBezTo>
                  <a:pt x="228" y="48"/>
                  <a:pt x="228" y="48"/>
                  <a:pt x="228" y="48"/>
                </a:cubicBezTo>
                <a:cubicBezTo>
                  <a:pt x="195" y="61"/>
                  <a:pt x="155" y="75"/>
                  <a:pt x="133" y="84"/>
                </a:cubicBezTo>
                <a:cubicBezTo>
                  <a:pt x="113" y="91"/>
                  <a:pt x="113" y="91"/>
                  <a:pt x="113" y="91"/>
                </a:cubicBezTo>
                <a:cubicBezTo>
                  <a:pt x="100" y="96"/>
                  <a:pt x="100" y="96"/>
                  <a:pt x="100" y="96"/>
                </a:cubicBezTo>
                <a:cubicBezTo>
                  <a:pt x="88" y="100"/>
                  <a:pt x="81" y="103"/>
                  <a:pt x="79" y="104"/>
                </a:cubicBezTo>
                <a:cubicBezTo>
                  <a:pt x="74" y="105"/>
                  <a:pt x="70" y="108"/>
                  <a:pt x="67" y="112"/>
                </a:cubicBezTo>
                <a:cubicBezTo>
                  <a:pt x="67" y="113"/>
                  <a:pt x="67" y="113"/>
                  <a:pt x="66" y="114"/>
                </a:cubicBezTo>
                <a:cubicBezTo>
                  <a:pt x="66" y="114"/>
                  <a:pt x="66" y="114"/>
                  <a:pt x="66" y="114"/>
                </a:cubicBezTo>
                <a:cubicBezTo>
                  <a:pt x="66" y="115"/>
                  <a:pt x="65" y="115"/>
                  <a:pt x="65" y="116"/>
                </a:cubicBezTo>
                <a:cubicBezTo>
                  <a:pt x="65" y="116"/>
                  <a:pt x="65" y="116"/>
                  <a:pt x="65" y="117"/>
                </a:cubicBezTo>
                <a:cubicBezTo>
                  <a:pt x="65" y="117"/>
                  <a:pt x="65" y="117"/>
                  <a:pt x="65" y="117"/>
                </a:cubicBezTo>
                <a:cubicBezTo>
                  <a:pt x="64" y="118"/>
                  <a:pt x="64" y="119"/>
                  <a:pt x="64" y="119"/>
                </a:cubicBezTo>
                <a:cubicBezTo>
                  <a:pt x="64" y="119"/>
                  <a:pt x="64" y="119"/>
                  <a:pt x="64" y="119"/>
                </a:cubicBezTo>
                <a:cubicBezTo>
                  <a:pt x="64" y="120"/>
                  <a:pt x="64" y="120"/>
                  <a:pt x="64" y="120"/>
                </a:cubicBezTo>
                <a:cubicBezTo>
                  <a:pt x="39" y="237"/>
                  <a:pt x="39" y="237"/>
                  <a:pt x="39" y="237"/>
                </a:cubicBezTo>
                <a:lnTo>
                  <a:pt x="16" y="75"/>
                </a:lnTo>
                <a:close/>
              </a:path>
            </a:pathLst>
          </a:custGeom>
          <a:solidFill>
            <a:srgbClr val="E1E2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 name="Rectangle 4"/>
          <p:cNvSpPr>
            <a:spLocks noChangeArrowheads="1"/>
          </p:cNvSpPr>
          <p:nvPr/>
        </p:nvSpPr>
        <p:spPr bwMode="gray">
          <a:xfrm>
            <a:off x="2971799" y="1716311"/>
            <a:ext cx="5827373" cy="705404"/>
          </a:xfrm>
          <a:prstGeom prst="roundRect">
            <a:avLst>
              <a:gd name="adj" fmla="val 16667"/>
            </a:avLst>
          </a:prstGeom>
          <a:blipFill dpi="0" rotWithShape="1">
            <a:blip r:embed="rId3"/>
            <a:srcRect/>
            <a:stretch>
              <a:fillRect/>
            </a:stretch>
          </a:blipFill>
          <a:ln>
            <a:noFill/>
          </a:ln>
          <a:extLst>
            <a:ext uri="{91240B29-F687-4F45-9708-019B960494DF}">
              <a14:hiddenLine xmlns:a14="http://schemas.microsoft.com/office/drawing/2010/main" w="9525" algn="ctr">
                <a:solidFill>
                  <a:srgbClr val="000000"/>
                </a:solidFill>
                <a:round/>
                <a:headEnd/>
                <a:tailEnd/>
              </a14:hiddenLine>
            </a:ext>
          </a:extLst>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pPr>
            <a:r>
              <a:rPr lang="en-US" sz="1800" dirty="0" smtClean="0">
                <a:solidFill>
                  <a:schemeClr val="bg1"/>
                </a:solidFill>
              </a:rPr>
              <a:t>ERICSSON VISION AND STRATEGY</a:t>
            </a:r>
            <a:endParaRPr lang="en-US" sz="1800" dirty="0">
              <a:solidFill>
                <a:schemeClr val="bg1"/>
              </a:solidFill>
            </a:endParaRPr>
          </a:p>
        </p:txBody>
      </p:sp>
      <p:sp>
        <p:nvSpPr>
          <p:cNvPr id="8" name="Rectangle 4"/>
          <p:cNvSpPr>
            <a:spLocks noChangeArrowheads="1"/>
          </p:cNvSpPr>
          <p:nvPr/>
        </p:nvSpPr>
        <p:spPr bwMode="gray">
          <a:xfrm>
            <a:off x="2971799" y="2596328"/>
            <a:ext cx="5827373" cy="705404"/>
          </a:xfrm>
          <a:prstGeom prst="roundRect">
            <a:avLst>
              <a:gd name="adj" fmla="val 16667"/>
            </a:avLst>
          </a:prstGeom>
          <a:blipFill>
            <a:blip r:embed="rId4" cstate="print"/>
            <a:stretch>
              <a:fillRect/>
            </a:stretch>
          </a:blipFill>
          <a:ln>
            <a:noFill/>
          </a:ln>
          <a:extLst/>
        </p:spPr>
        <p:txBody>
          <a:bodyPr lIns="72009" tIns="72009" rIns="72009" bIns="72009" anchor="ctr"/>
          <a:lstStyle/>
          <a:p>
            <a:pPr marL="228600" indent="-228600" algn="l" eaLnBrk="0" hangingPunct="0">
              <a:lnSpc>
                <a:spcPct val="90000"/>
              </a:lnSpc>
              <a:spcAft>
                <a:spcPct val="70000"/>
              </a:spcAft>
              <a:buClr>
                <a:schemeClr val="hlink"/>
              </a:buClr>
              <a:buFont typeface="Ericsson Capital TT" pitchFamily="2" charset="0"/>
              <a:buNone/>
              <a:tabLst>
                <a:tab pos="1701800" algn="l"/>
              </a:tabLst>
            </a:pPr>
            <a:r>
              <a:rPr lang="en-US" sz="1800" dirty="0" smtClean="0">
                <a:solidFill>
                  <a:schemeClr val="bg1"/>
                </a:solidFill>
                <a:cs typeface="Arial" charset="0"/>
              </a:rPr>
              <a:t>ERICSSON CATALOG MANAGER</a:t>
            </a:r>
            <a:br>
              <a:rPr lang="en-US" sz="1800" dirty="0" smtClean="0">
                <a:solidFill>
                  <a:schemeClr val="bg1"/>
                </a:solidFill>
                <a:cs typeface="Arial" charset="0"/>
              </a:rPr>
            </a:br>
            <a:r>
              <a:rPr lang="en-US" sz="1800" dirty="0" smtClean="0">
                <a:solidFill>
                  <a:schemeClr val="bg1"/>
                </a:solidFill>
                <a:cs typeface="Arial" charset="0"/>
              </a:rPr>
              <a:t>RELEASE 14 ENHANCEMENTS AND ROADMAP</a:t>
            </a:r>
            <a:endParaRPr lang="en-US" sz="1800" dirty="0">
              <a:solidFill>
                <a:schemeClr val="bg1"/>
              </a:solidFill>
              <a:cs typeface="Arial" charset="0"/>
            </a:endParaRPr>
          </a:p>
        </p:txBody>
      </p:sp>
      <p:sp>
        <p:nvSpPr>
          <p:cNvPr id="9" name="Rectangle 4"/>
          <p:cNvSpPr>
            <a:spLocks noChangeArrowheads="1"/>
          </p:cNvSpPr>
          <p:nvPr/>
        </p:nvSpPr>
        <p:spPr bwMode="gray">
          <a:xfrm>
            <a:off x="2971799" y="3476345"/>
            <a:ext cx="5827373" cy="705404"/>
          </a:xfrm>
          <a:prstGeom prst="roundRect">
            <a:avLst>
              <a:gd name="adj" fmla="val 16667"/>
            </a:avLst>
          </a:prstGeom>
          <a:blipFill dpi="0" rotWithShape="1">
            <a:blip r:embed="rId5"/>
            <a:srcRect/>
            <a:stretch>
              <a:fillRect/>
            </a:stretch>
          </a:blipFill>
          <a:ln>
            <a:noFill/>
          </a:ln>
          <a:extLst>
            <a:ext uri="{91240B29-F687-4F45-9708-019B960494DF}">
              <a14:hiddenLine xmlns:a14="http://schemas.microsoft.com/office/drawing/2010/main" w="9525" algn="ctr">
                <a:solidFill>
                  <a:srgbClr val="000000"/>
                </a:solidFill>
                <a:round/>
                <a:headEnd/>
                <a:tailEnd/>
              </a14:hiddenLine>
            </a:ext>
          </a:extLst>
        </p:spPr>
        <p:txBody>
          <a:bodyPr lIns="72009" tIns="72009" rIns="72009" bIns="72009" anchor="ctr"/>
          <a:lstStyle/>
          <a:p>
            <a:pPr marL="228600" indent="-228600" algn="l" eaLnBrk="0" hangingPunct="0">
              <a:lnSpc>
                <a:spcPct val="90000"/>
              </a:lnSpc>
              <a:spcAft>
                <a:spcPct val="70000"/>
              </a:spcAft>
              <a:buClr>
                <a:schemeClr val="hlink"/>
              </a:buClr>
              <a:buFont typeface="Ericsson Capital TT" pitchFamily="2" charset="0"/>
              <a:buNone/>
              <a:tabLst>
                <a:tab pos="1701800" algn="l"/>
              </a:tabLst>
            </a:pPr>
            <a:r>
              <a:rPr lang="en-US" sz="1800" dirty="0" smtClean="0">
                <a:solidFill>
                  <a:schemeClr val="bg1"/>
                </a:solidFill>
              </a:rPr>
              <a:t>ERICSSON ORDER CARE</a:t>
            </a:r>
            <a:br>
              <a:rPr lang="en-US" sz="1800" dirty="0" smtClean="0">
                <a:solidFill>
                  <a:schemeClr val="bg1"/>
                </a:solidFill>
              </a:rPr>
            </a:br>
            <a:r>
              <a:rPr lang="en-US" sz="1800" dirty="0" smtClean="0">
                <a:solidFill>
                  <a:schemeClr val="bg1"/>
                </a:solidFill>
              </a:rPr>
              <a:t>RELEASE 14 ENHANCEMENTS AND ROADMAP</a:t>
            </a:r>
            <a:endParaRPr lang="en-US" sz="1800" dirty="0">
              <a:solidFill>
                <a:schemeClr val="bg1"/>
              </a:solidFill>
            </a:endParaRPr>
          </a:p>
        </p:txBody>
      </p:sp>
      <p:sp>
        <p:nvSpPr>
          <p:cNvPr id="10" name="Rectangle 4"/>
          <p:cNvSpPr>
            <a:spLocks noChangeArrowheads="1"/>
          </p:cNvSpPr>
          <p:nvPr/>
        </p:nvSpPr>
        <p:spPr bwMode="gray">
          <a:xfrm>
            <a:off x="2971799" y="4356362"/>
            <a:ext cx="5827373" cy="705404"/>
          </a:xfrm>
          <a:prstGeom prst="roundRect">
            <a:avLst>
              <a:gd name="adj" fmla="val 16667"/>
            </a:avLst>
          </a:prstGeom>
          <a:blipFill dpi="0" rotWithShape="1">
            <a:blip r:embed="rId6"/>
            <a:srcRect/>
            <a:stretch>
              <a:fillRect/>
            </a:stretch>
          </a:blipFill>
          <a:ln>
            <a:noFill/>
          </a:ln>
          <a:extLst/>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defRPr/>
            </a:pPr>
            <a:r>
              <a:rPr lang="en-US" sz="1800" dirty="0" smtClean="0">
                <a:solidFill>
                  <a:schemeClr val="bg1"/>
                </a:solidFill>
                <a:latin typeface="Arial" charset="0"/>
                <a:cs typeface="Arial" charset="0"/>
              </a:rPr>
              <a:t>BEST PRACTICES FOR UPGRADING TO 14.X</a:t>
            </a:r>
            <a:endParaRPr lang="en-US" sz="1800" dirty="0">
              <a:solidFill>
                <a:schemeClr val="bg1"/>
              </a:solidFill>
              <a:latin typeface="Arial" charset="0"/>
              <a:cs typeface="Arial" charset="0"/>
            </a:endParaRPr>
          </a:p>
        </p:txBody>
      </p:sp>
      <p:sp>
        <p:nvSpPr>
          <p:cNvPr id="19" name="Rectangle 4"/>
          <p:cNvSpPr>
            <a:spLocks noChangeArrowheads="1"/>
          </p:cNvSpPr>
          <p:nvPr/>
        </p:nvSpPr>
        <p:spPr bwMode="gray">
          <a:xfrm>
            <a:off x="2971799" y="5236378"/>
            <a:ext cx="5827373" cy="705404"/>
          </a:xfrm>
          <a:prstGeom prst="roundRect">
            <a:avLst>
              <a:gd name="adj" fmla="val 16667"/>
            </a:avLst>
          </a:prstGeom>
          <a:blipFill dpi="0" rotWithShape="1">
            <a:blip r:embed="rId7"/>
            <a:srcRect/>
            <a:stretch>
              <a:fillRect/>
            </a:stretch>
          </a:blipFill>
          <a:ln>
            <a:noFill/>
          </a:ln>
          <a:extLst/>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defRPr/>
            </a:pPr>
            <a:r>
              <a:rPr lang="en-US" sz="1800" dirty="0" smtClean="0">
                <a:solidFill>
                  <a:schemeClr val="bg1"/>
                </a:solidFill>
                <a:latin typeface="Arial" charset="0"/>
                <a:cs typeface="Arial" charset="0"/>
              </a:rPr>
              <a:t>WRAP-UP AND Q&amp;A</a:t>
            </a:r>
            <a:endParaRPr lang="en-US" sz="1800" dirty="0">
              <a:solidFill>
                <a:schemeClr val="bg1"/>
              </a:solidFill>
              <a:latin typeface="Arial" charset="0"/>
              <a:cs typeface="Arial" charset="0"/>
            </a:endParaRPr>
          </a:p>
        </p:txBody>
      </p:sp>
      <p:sp>
        <p:nvSpPr>
          <p:cNvPr id="12" name="Freeform 8"/>
          <p:cNvSpPr>
            <a:spLocks noChangeAspect="1"/>
          </p:cNvSpPr>
          <p:nvPr/>
        </p:nvSpPr>
        <p:spPr bwMode="auto">
          <a:xfrm>
            <a:off x="1901819" y="2526919"/>
            <a:ext cx="996049" cy="847719"/>
          </a:xfrm>
          <a:custGeom>
            <a:avLst/>
            <a:gdLst>
              <a:gd name="T0" fmla="*/ 2147483647 w 529"/>
              <a:gd name="T1" fmla="*/ 2147483647 h 450"/>
              <a:gd name="T2" fmla="*/ 2147483647 w 529"/>
              <a:gd name="T3" fmla="*/ 2147483647 h 450"/>
              <a:gd name="T4" fmla="*/ 2147483647 w 529"/>
              <a:gd name="T5" fmla="*/ 2147483647 h 450"/>
              <a:gd name="T6" fmla="*/ 2147483647 w 529"/>
              <a:gd name="T7" fmla="*/ 2147483647 h 450"/>
              <a:gd name="T8" fmla="*/ 2147483647 w 529"/>
              <a:gd name="T9" fmla="*/ 2147483647 h 450"/>
              <a:gd name="T10" fmla="*/ 2147483647 w 529"/>
              <a:gd name="T11" fmla="*/ 2147483647 h 450"/>
              <a:gd name="T12" fmla="*/ 2147483647 w 529"/>
              <a:gd name="T13" fmla="*/ 2147483647 h 450"/>
              <a:gd name="T14" fmla="*/ 0 w 529"/>
              <a:gd name="T15" fmla="*/ 2147483647 h 450"/>
              <a:gd name="T16" fmla="*/ 0 w 529"/>
              <a:gd name="T17" fmla="*/ 2147483647 h 450"/>
              <a:gd name="T18" fmla="*/ 2147483647 w 529"/>
              <a:gd name="T19" fmla="*/ 2147483647 h 450"/>
              <a:gd name="T20" fmla="*/ 2147483647 w 529"/>
              <a:gd name="T21" fmla="*/ 2147483647 h 450"/>
              <a:gd name="T22" fmla="*/ 2147483647 w 529"/>
              <a:gd name="T23" fmla="*/ 2147483647 h 450"/>
              <a:gd name="T24" fmla="*/ 2147483647 w 529"/>
              <a:gd name="T25" fmla="*/ 2147483647 h 450"/>
              <a:gd name="T26" fmla="*/ 2147483647 w 529"/>
              <a:gd name="T27" fmla="*/ 2147483647 h 4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9"/>
              <a:gd name="T43" fmla="*/ 0 h 450"/>
              <a:gd name="T44" fmla="*/ 529 w 529"/>
              <a:gd name="T45" fmla="*/ 450 h 4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9" h="450">
                <a:moveTo>
                  <a:pt x="524" y="241"/>
                </a:moveTo>
                <a:cubicBezTo>
                  <a:pt x="528" y="232"/>
                  <a:pt x="529" y="231"/>
                  <a:pt x="529" y="225"/>
                </a:cubicBezTo>
                <a:cubicBezTo>
                  <a:pt x="529" y="218"/>
                  <a:pt x="529" y="217"/>
                  <a:pt x="524" y="208"/>
                </a:cubicBezTo>
                <a:cubicBezTo>
                  <a:pt x="519" y="198"/>
                  <a:pt x="425" y="27"/>
                  <a:pt x="418" y="14"/>
                </a:cubicBezTo>
                <a:cubicBezTo>
                  <a:pt x="410" y="0"/>
                  <a:pt x="391" y="3"/>
                  <a:pt x="390" y="23"/>
                </a:cubicBezTo>
                <a:cubicBezTo>
                  <a:pt x="390" y="27"/>
                  <a:pt x="390" y="33"/>
                  <a:pt x="390" y="40"/>
                </a:cubicBezTo>
                <a:cubicBezTo>
                  <a:pt x="14" y="40"/>
                  <a:pt x="14" y="40"/>
                  <a:pt x="14" y="40"/>
                </a:cubicBezTo>
                <a:cubicBezTo>
                  <a:pt x="6" y="40"/>
                  <a:pt x="0" y="46"/>
                  <a:pt x="0" y="54"/>
                </a:cubicBezTo>
                <a:cubicBezTo>
                  <a:pt x="0" y="396"/>
                  <a:pt x="0" y="396"/>
                  <a:pt x="0" y="396"/>
                </a:cubicBezTo>
                <a:cubicBezTo>
                  <a:pt x="0" y="403"/>
                  <a:pt x="6" y="409"/>
                  <a:pt x="14" y="409"/>
                </a:cubicBezTo>
                <a:cubicBezTo>
                  <a:pt x="390" y="409"/>
                  <a:pt x="390" y="409"/>
                  <a:pt x="390" y="409"/>
                </a:cubicBezTo>
                <a:cubicBezTo>
                  <a:pt x="390" y="416"/>
                  <a:pt x="390" y="422"/>
                  <a:pt x="390" y="426"/>
                </a:cubicBezTo>
                <a:cubicBezTo>
                  <a:pt x="391" y="446"/>
                  <a:pt x="409" y="450"/>
                  <a:pt x="417" y="437"/>
                </a:cubicBezTo>
                <a:cubicBezTo>
                  <a:pt x="429" y="415"/>
                  <a:pt x="521" y="248"/>
                  <a:pt x="524" y="241"/>
                </a:cubicBezTo>
                <a:close/>
              </a:path>
            </a:pathLst>
          </a:custGeom>
          <a:blipFill>
            <a:blip r:embed="rId4" cstate="print"/>
            <a:stretch>
              <a:fillRect/>
            </a:stretch>
          </a:blipFill>
          <a:ln>
            <a:noFill/>
          </a:ln>
        </p:spPr>
        <p:txBody>
          <a:bodyPr lIns="72009" tIns="72009" rIns="72009" bIns="72009" anchor="ctr"/>
          <a:lstStyle/>
          <a:p>
            <a:pPr marL="228600" indent="-228600" algn="l" eaLnBrk="0" hangingPunct="0">
              <a:lnSpc>
                <a:spcPct val="90000"/>
              </a:lnSpc>
              <a:spcAft>
                <a:spcPct val="70000"/>
              </a:spcAft>
              <a:buClr>
                <a:schemeClr val="hlink"/>
              </a:buClr>
              <a:buFont typeface="Ericsson Capital TT" pitchFamily="2" charset="0"/>
              <a:buNone/>
              <a:tabLst>
                <a:tab pos="1701800" algn="l"/>
              </a:tabLst>
            </a:pPr>
            <a:endParaRPr lang="en-US" sz="1800" dirty="0">
              <a:solidFill>
                <a:schemeClr val="bg1"/>
              </a:solidFill>
              <a:cs typeface="Arial" charset="0"/>
            </a:endParaRPr>
          </a:p>
        </p:txBody>
      </p:sp>
    </p:spTree>
    <p:extLst>
      <p:ext uri="{BB962C8B-B14F-4D97-AF65-F5344CB8AC3E}">
        <p14:creationId xmlns:p14="http://schemas.microsoft.com/office/powerpoint/2010/main" val="20077611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2"/>
          <p:cNvSpPr>
            <a:spLocks noGrp="1"/>
          </p:cNvSpPr>
          <p:nvPr>
            <p:ph type="title"/>
          </p:nvPr>
        </p:nvSpPr>
        <p:spPr>
          <a:xfrm>
            <a:off x="393700" y="239713"/>
            <a:ext cx="7988300" cy="1085850"/>
          </a:xfrm>
        </p:spPr>
        <p:txBody>
          <a:bodyPr/>
          <a:lstStyle/>
          <a:p>
            <a:pPr>
              <a:defRPr/>
            </a:pPr>
            <a:r>
              <a:rPr lang="en-US" sz="3800" kern="1200" dirty="0" smtClean="0">
                <a:solidFill>
                  <a:srgbClr val="00A9D4"/>
                </a:solidFill>
                <a:latin typeface="Ericsson Capital TT" pitchFamily="2" charset="0"/>
                <a:ea typeface="+mn-ea"/>
                <a:cs typeface="Arial" charset="0"/>
              </a:rPr>
              <a:t>Ericsson Catalog Manager</a:t>
            </a:r>
            <a:endParaRPr lang="en-US" sz="2800" dirty="0">
              <a:latin typeface="Ericsson Capital TT" pitchFamily="2" charset="0"/>
              <a:ea typeface="ＭＳ Ｐゴシック" pitchFamily="34" charset="-128"/>
            </a:endParaRPr>
          </a:p>
        </p:txBody>
      </p:sp>
      <p:grpSp>
        <p:nvGrpSpPr>
          <p:cNvPr id="2" name="Group 1"/>
          <p:cNvGrpSpPr/>
          <p:nvPr/>
        </p:nvGrpSpPr>
        <p:grpSpPr>
          <a:xfrm>
            <a:off x="619817" y="1271820"/>
            <a:ext cx="7370325" cy="5369499"/>
            <a:chOff x="543617" y="1358908"/>
            <a:chExt cx="6862751" cy="4999717"/>
          </a:xfrm>
        </p:grpSpPr>
        <p:sp>
          <p:nvSpPr>
            <p:cNvPr id="20" name="Freeform 14"/>
            <p:cNvSpPr>
              <a:spLocks noChangeAspect="1"/>
            </p:cNvSpPr>
            <p:nvPr/>
          </p:nvSpPr>
          <p:spPr bwMode="auto">
            <a:xfrm>
              <a:off x="3683004" y="1358908"/>
              <a:ext cx="1801813" cy="1585913"/>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lIns="91440" rIns="91440" anchor="ctr"/>
            <a:lstStyle/>
            <a:p>
              <a:pPr fontAlgn="auto">
                <a:lnSpc>
                  <a:spcPct val="95000"/>
                </a:lnSpc>
                <a:spcBef>
                  <a:spcPts val="0"/>
                </a:spcBef>
                <a:spcAft>
                  <a:spcPts val="0"/>
                </a:spcAft>
                <a:defRPr/>
              </a:pPr>
              <a:r>
                <a:rPr lang="en-US" sz="1500" b="1" kern="0" dirty="0" smtClean="0">
                  <a:solidFill>
                    <a:srgbClr val="FFFFFF"/>
                  </a:solidFill>
                  <a:latin typeface="Arial" charset="0"/>
                  <a:cs typeface="Arial" charset="0"/>
                </a:rPr>
                <a:t>ERICSSON</a:t>
              </a:r>
            </a:p>
            <a:p>
              <a:pPr fontAlgn="auto">
                <a:lnSpc>
                  <a:spcPct val="95000"/>
                </a:lnSpc>
                <a:spcBef>
                  <a:spcPts val="0"/>
                </a:spcBef>
                <a:spcAft>
                  <a:spcPts val="0"/>
                </a:spcAft>
                <a:defRPr/>
              </a:pPr>
              <a:r>
                <a:rPr lang="en-US" sz="1500" b="1" kern="0" dirty="0" smtClean="0">
                  <a:solidFill>
                    <a:srgbClr val="FFFFFF"/>
                  </a:solidFill>
                  <a:latin typeface="Arial" charset="0"/>
                  <a:cs typeface="Arial" charset="0"/>
                </a:rPr>
                <a:t>SERVICE</a:t>
              </a:r>
            </a:p>
            <a:p>
              <a:pPr fontAlgn="auto">
                <a:lnSpc>
                  <a:spcPct val="95000"/>
                </a:lnSpc>
                <a:spcBef>
                  <a:spcPts val="0"/>
                </a:spcBef>
                <a:spcAft>
                  <a:spcPts val="0"/>
                </a:spcAft>
                <a:defRPr/>
              </a:pPr>
              <a:r>
                <a:rPr lang="en-US" sz="1500" b="1" kern="0" dirty="0" smtClean="0">
                  <a:solidFill>
                    <a:srgbClr val="FFFFFF"/>
                  </a:solidFill>
                  <a:latin typeface="Arial" charset="0"/>
                  <a:cs typeface="Arial" charset="0"/>
                </a:rPr>
                <a:t>INNOVATION</a:t>
              </a:r>
            </a:p>
            <a:p>
              <a:pPr fontAlgn="auto">
                <a:lnSpc>
                  <a:spcPct val="95000"/>
                </a:lnSpc>
                <a:spcBef>
                  <a:spcPts val="0"/>
                </a:spcBef>
                <a:spcAft>
                  <a:spcPts val="0"/>
                </a:spcAft>
                <a:defRPr/>
              </a:pPr>
              <a:r>
                <a:rPr lang="en-US" sz="1500" b="1" kern="0" dirty="0" smtClean="0">
                  <a:solidFill>
                    <a:srgbClr val="FFFFFF"/>
                  </a:solidFill>
                  <a:latin typeface="Arial" charset="0"/>
                  <a:cs typeface="Arial" charset="0"/>
                </a:rPr>
                <a:t>FRAMEWORK</a:t>
              </a:r>
              <a:endParaRPr lang="en-US" sz="1500" b="1" kern="0" dirty="0">
                <a:solidFill>
                  <a:srgbClr val="FFFFFF"/>
                </a:solidFill>
                <a:latin typeface="Arial" charset="0"/>
                <a:cs typeface="Arial" charset="0"/>
              </a:endParaRPr>
            </a:p>
          </p:txBody>
        </p:sp>
        <p:sp>
          <p:nvSpPr>
            <p:cNvPr id="14" name="Freeform 14"/>
            <p:cNvSpPr>
              <a:spLocks noChangeAspect="1"/>
            </p:cNvSpPr>
            <p:nvPr/>
          </p:nvSpPr>
          <p:spPr bwMode="auto">
            <a:xfrm>
              <a:off x="5122863" y="2192338"/>
              <a:ext cx="1801812" cy="1585912"/>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lIns="91440" rIns="91440" anchor="ctr"/>
            <a:lstStyle/>
            <a:p>
              <a:pPr fontAlgn="auto">
                <a:lnSpc>
                  <a:spcPct val="95000"/>
                </a:lnSpc>
                <a:spcBef>
                  <a:spcPts val="0"/>
                </a:spcBef>
                <a:spcAft>
                  <a:spcPts val="0"/>
                </a:spcAft>
                <a:defRPr/>
              </a:pPr>
              <a:r>
                <a:rPr lang="en-US" sz="1500" b="1" kern="0" dirty="0" smtClean="0">
                  <a:solidFill>
                    <a:srgbClr val="FFFFFF"/>
                  </a:solidFill>
                  <a:latin typeface="Arial" charset="0"/>
                  <a:cs typeface="Arial" charset="0"/>
                </a:rPr>
                <a:t>AGILITY IN SERVICE CREATION &amp; DELIVERY</a:t>
              </a:r>
              <a:endParaRPr lang="en-US" sz="1500" b="1" kern="0" dirty="0">
                <a:solidFill>
                  <a:srgbClr val="FFFFFF"/>
                </a:solidFill>
                <a:latin typeface="Arial" charset="0"/>
                <a:cs typeface="Arial" charset="0"/>
              </a:endParaRPr>
            </a:p>
          </p:txBody>
        </p:sp>
        <p:sp>
          <p:nvSpPr>
            <p:cNvPr id="15" name="Freeform 14"/>
            <p:cNvSpPr>
              <a:spLocks noChangeAspect="1"/>
            </p:cNvSpPr>
            <p:nvPr/>
          </p:nvSpPr>
          <p:spPr bwMode="auto">
            <a:xfrm>
              <a:off x="2239965" y="2192346"/>
              <a:ext cx="1803400" cy="1584325"/>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lIns="91440" rIns="91440" anchor="ctr"/>
            <a:lstStyle/>
            <a:p>
              <a:pPr>
                <a:spcBef>
                  <a:spcPts val="300"/>
                </a:spcBef>
              </a:pPr>
              <a:r>
                <a:rPr lang="en-US" sz="1500" b="1" dirty="0">
                  <a:solidFill>
                    <a:schemeClr val="bg1"/>
                  </a:solidFill>
                </a:rPr>
                <a:t> </a:t>
              </a:r>
              <a:r>
                <a:rPr lang="en-US" sz="1500" b="1" dirty="0" smtClean="0">
                  <a:solidFill>
                    <a:schemeClr val="bg1"/>
                  </a:solidFill>
                </a:rPr>
                <a:t>ROLE BASED </a:t>
              </a:r>
            </a:p>
            <a:p>
              <a:pPr>
                <a:spcBef>
                  <a:spcPts val="300"/>
                </a:spcBef>
              </a:pPr>
              <a:r>
                <a:rPr lang="en-US" sz="1500" b="1" dirty="0" smtClean="0">
                  <a:solidFill>
                    <a:schemeClr val="bg1"/>
                  </a:solidFill>
                </a:rPr>
                <a:t>WIZARDS </a:t>
              </a:r>
            </a:p>
            <a:p>
              <a:pPr>
                <a:spcBef>
                  <a:spcPts val="300"/>
                </a:spcBef>
              </a:pPr>
              <a:r>
                <a:rPr lang="en-US" sz="1500" b="1" dirty="0" smtClean="0">
                  <a:solidFill>
                    <a:schemeClr val="bg1"/>
                  </a:solidFill>
                </a:rPr>
                <a:t>PLM</a:t>
              </a:r>
              <a:endParaRPr lang="en-US" sz="1500" b="1" dirty="0">
                <a:solidFill>
                  <a:schemeClr val="bg1"/>
                </a:solidFill>
              </a:endParaRPr>
            </a:p>
          </p:txBody>
        </p:sp>
        <p:sp>
          <p:nvSpPr>
            <p:cNvPr id="16" name="Freeform 14"/>
            <p:cNvSpPr>
              <a:spLocks noChangeAspect="1"/>
            </p:cNvSpPr>
            <p:nvPr/>
          </p:nvSpPr>
          <p:spPr bwMode="auto">
            <a:xfrm>
              <a:off x="2239965" y="3860808"/>
              <a:ext cx="1803400" cy="1585913"/>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lIns="91440" rIns="91440" anchor="ctr"/>
            <a:lstStyle/>
            <a:p>
              <a:pPr fontAlgn="auto">
                <a:lnSpc>
                  <a:spcPct val="95000"/>
                </a:lnSpc>
                <a:spcBef>
                  <a:spcPts val="0"/>
                </a:spcBef>
                <a:spcAft>
                  <a:spcPts val="0"/>
                </a:spcAft>
                <a:defRPr/>
              </a:pPr>
              <a:r>
                <a:rPr lang="en-US" sz="1500" b="1" dirty="0" smtClean="0">
                  <a:solidFill>
                    <a:schemeClr val="bg1"/>
                  </a:solidFill>
                </a:rPr>
                <a:t>LOGICAL</a:t>
              </a:r>
            </a:p>
            <a:p>
              <a:pPr fontAlgn="auto">
                <a:lnSpc>
                  <a:spcPct val="95000"/>
                </a:lnSpc>
                <a:spcBef>
                  <a:spcPts val="0"/>
                </a:spcBef>
                <a:spcAft>
                  <a:spcPts val="0"/>
                </a:spcAft>
                <a:defRPr/>
              </a:pPr>
              <a:r>
                <a:rPr lang="en-US" sz="1500" b="1" kern="0" dirty="0" smtClean="0">
                  <a:solidFill>
                    <a:schemeClr val="bg1"/>
                  </a:solidFill>
                  <a:latin typeface="Arial" charset="0"/>
                  <a:cs typeface="Arial" charset="0"/>
                </a:rPr>
                <a:t>CATALOG</a:t>
              </a:r>
            </a:p>
            <a:p>
              <a:pPr fontAlgn="auto">
                <a:lnSpc>
                  <a:spcPct val="95000"/>
                </a:lnSpc>
                <a:spcBef>
                  <a:spcPts val="0"/>
                </a:spcBef>
                <a:spcAft>
                  <a:spcPts val="0"/>
                </a:spcAft>
                <a:defRPr/>
              </a:pPr>
              <a:r>
                <a:rPr lang="en-US" sz="1500" b="1" kern="0" dirty="0" smtClean="0">
                  <a:solidFill>
                    <a:schemeClr val="bg1"/>
                  </a:solidFill>
                  <a:latin typeface="Arial" charset="0"/>
                  <a:cs typeface="Arial" charset="0"/>
                </a:rPr>
                <a:t>MODEL</a:t>
              </a:r>
              <a:endParaRPr lang="en-US" sz="1500" b="1" kern="0" dirty="0">
                <a:solidFill>
                  <a:srgbClr val="FFFFFF"/>
                </a:solidFill>
                <a:latin typeface="Arial" charset="0"/>
                <a:cs typeface="Arial" charset="0"/>
              </a:endParaRPr>
            </a:p>
          </p:txBody>
        </p:sp>
        <p:sp>
          <p:nvSpPr>
            <p:cNvPr id="17" name="Freeform 16"/>
            <p:cNvSpPr>
              <a:spLocks noChangeAspect="1"/>
            </p:cNvSpPr>
            <p:nvPr/>
          </p:nvSpPr>
          <p:spPr bwMode="auto">
            <a:xfrm>
              <a:off x="3683001" y="4678363"/>
              <a:ext cx="1803400" cy="1585912"/>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lIns="91440" rIns="91440" anchor="ctr"/>
            <a:lstStyle/>
            <a:p>
              <a:pPr fontAlgn="auto">
                <a:lnSpc>
                  <a:spcPct val="95000"/>
                </a:lnSpc>
                <a:spcBef>
                  <a:spcPts val="0"/>
                </a:spcBef>
                <a:spcAft>
                  <a:spcPts val="0"/>
                </a:spcAft>
                <a:defRPr/>
              </a:pPr>
              <a:r>
                <a:rPr lang="en-US" sz="1500" b="1" kern="0" dirty="0" smtClean="0">
                  <a:solidFill>
                    <a:srgbClr val="FFFFFF"/>
                  </a:solidFill>
                  <a:latin typeface="Arial" charset="0"/>
                  <a:cs typeface="Arial" charset="0"/>
                </a:rPr>
                <a:t>CLOUD-READY</a:t>
              </a:r>
            </a:p>
            <a:p>
              <a:pPr fontAlgn="auto">
                <a:lnSpc>
                  <a:spcPct val="95000"/>
                </a:lnSpc>
                <a:spcBef>
                  <a:spcPts val="0"/>
                </a:spcBef>
                <a:spcAft>
                  <a:spcPts val="0"/>
                </a:spcAft>
                <a:defRPr/>
              </a:pPr>
              <a:r>
                <a:rPr lang="en-US" sz="1500" b="1" kern="0" dirty="0" smtClean="0">
                  <a:solidFill>
                    <a:srgbClr val="FFFFFF"/>
                  </a:solidFill>
                  <a:latin typeface="Arial" charset="0"/>
                  <a:cs typeface="Arial" charset="0"/>
                </a:rPr>
                <a:t>SAAS</a:t>
              </a:r>
            </a:p>
          </p:txBody>
        </p:sp>
        <p:sp>
          <p:nvSpPr>
            <p:cNvPr id="18" name="Freeform 14"/>
            <p:cNvSpPr>
              <a:spLocks noChangeAspect="1"/>
            </p:cNvSpPr>
            <p:nvPr/>
          </p:nvSpPr>
          <p:spPr bwMode="auto">
            <a:xfrm>
              <a:off x="5121276" y="3860808"/>
              <a:ext cx="1803400" cy="1585913"/>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lIns="91440" rIns="91440" anchor="ctr"/>
            <a:lstStyle/>
            <a:p>
              <a:pPr fontAlgn="auto">
                <a:lnSpc>
                  <a:spcPct val="95000"/>
                </a:lnSpc>
                <a:spcBef>
                  <a:spcPts val="0"/>
                </a:spcBef>
                <a:spcAft>
                  <a:spcPts val="0"/>
                </a:spcAft>
                <a:defRPr/>
              </a:pPr>
              <a:r>
                <a:rPr lang="en-US" sz="1500" b="1" kern="0" dirty="0" smtClean="0">
                  <a:solidFill>
                    <a:srgbClr val="FFFFFF"/>
                  </a:solidFill>
                  <a:latin typeface="Arial" charset="0"/>
                  <a:cs typeface="Arial" charset="0"/>
                </a:rPr>
                <a:t>CATALOG</a:t>
              </a:r>
              <a:br>
                <a:rPr lang="en-US" sz="1500" b="1" kern="0" dirty="0" smtClean="0">
                  <a:solidFill>
                    <a:srgbClr val="FFFFFF"/>
                  </a:solidFill>
                  <a:latin typeface="Arial" charset="0"/>
                  <a:cs typeface="Arial" charset="0"/>
                </a:rPr>
              </a:br>
              <a:r>
                <a:rPr lang="en-US" sz="1500" b="1" kern="0" dirty="0" smtClean="0">
                  <a:solidFill>
                    <a:srgbClr val="FFFFFF"/>
                  </a:solidFill>
                  <a:latin typeface="Arial" charset="0"/>
                  <a:cs typeface="Arial" charset="0"/>
                </a:rPr>
                <a:t>DRIVEN</a:t>
              </a:r>
            </a:p>
            <a:p>
              <a:pPr fontAlgn="auto">
                <a:lnSpc>
                  <a:spcPct val="95000"/>
                </a:lnSpc>
                <a:spcBef>
                  <a:spcPts val="0"/>
                </a:spcBef>
                <a:spcAft>
                  <a:spcPts val="0"/>
                </a:spcAft>
                <a:defRPr/>
              </a:pPr>
              <a:r>
                <a:rPr lang="en-US" sz="1500" b="1" kern="0" dirty="0" smtClean="0">
                  <a:solidFill>
                    <a:srgbClr val="FFFFFF"/>
                  </a:solidFill>
                  <a:latin typeface="Arial" charset="0"/>
                  <a:cs typeface="Arial" charset="0"/>
                </a:rPr>
                <a:t>OSS/BSS</a:t>
              </a:r>
            </a:p>
          </p:txBody>
        </p:sp>
        <p:sp>
          <p:nvSpPr>
            <p:cNvPr id="15368" name="Freeform 14"/>
            <p:cNvSpPr>
              <a:spLocks noChangeAspect="1"/>
            </p:cNvSpPr>
            <p:nvPr/>
          </p:nvSpPr>
          <p:spPr bwMode="auto">
            <a:xfrm>
              <a:off x="3681414" y="3022605"/>
              <a:ext cx="1803400" cy="1584325"/>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nSpc>
                  <a:spcPct val="95000"/>
                </a:lnSpc>
              </a:pPr>
              <a:r>
                <a:rPr lang="en-US" b="1" dirty="0">
                  <a:solidFill>
                    <a:srgbClr val="00285F"/>
                  </a:solidFill>
                </a:rPr>
                <a:t>ERICSSON </a:t>
              </a:r>
              <a:r>
                <a:rPr lang="en-US" b="1" dirty="0" smtClean="0">
                  <a:solidFill>
                    <a:srgbClr val="00285F"/>
                  </a:solidFill>
                </a:rPr>
                <a:t>CATALOG</a:t>
              </a:r>
            </a:p>
            <a:p>
              <a:pPr>
                <a:lnSpc>
                  <a:spcPct val="95000"/>
                </a:lnSpc>
              </a:pPr>
              <a:r>
                <a:rPr lang="en-US" b="1" dirty="0" smtClean="0">
                  <a:solidFill>
                    <a:srgbClr val="00285F"/>
                  </a:solidFill>
                </a:rPr>
                <a:t>MANAGER</a:t>
              </a:r>
              <a:endParaRPr lang="en-US" b="1" dirty="0">
                <a:solidFill>
                  <a:srgbClr val="00285F"/>
                </a:solidFill>
              </a:endParaRPr>
            </a:p>
          </p:txBody>
        </p:sp>
        <p:sp>
          <p:nvSpPr>
            <p:cNvPr id="15370" name="Rectangle 51"/>
            <p:cNvSpPr>
              <a:spLocks noChangeArrowheads="1"/>
            </p:cNvSpPr>
            <p:nvPr/>
          </p:nvSpPr>
          <p:spPr bwMode="auto">
            <a:xfrm>
              <a:off x="4937806" y="5739500"/>
              <a:ext cx="2468562"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p>
              <a:pPr>
                <a:lnSpc>
                  <a:spcPct val="90000"/>
                </a:lnSpc>
              </a:pPr>
              <a:r>
                <a:rPr lang="en-US" dirty="0" smtClean="0">
                  <a:solidFill>
                    <a:srgbClr val="89BA17"/>
                  </a:solidFill>
                  <a:ea typeface="MS PGothic" pitchFamily="34" charset="-128"/>
                </a:rPr>
                <a:t>INNOVATION</a:t>
              </a:r>
              <a:endParaRPr lang="en-US" dirty="0">
                <a:solidFill>
                  <a:srgbClr val="89BA17"/>
                </a:solidFill>
                <a:ea typeface="MS PGothic" pitchFamily="34" charset="-128"/>
              </a:endParaRPr>
            </a:p>
          </p:txBody>
        </p:sp>
        <p:sp>
          <p:nvSpPr>
            <p:cNvPr id="15371" name="Rectangle 51"/>
            <p:cNvSpPr>
              <a:spLocks noChangeArrowheads="1"/>
            </p:cNvSpPr>
            <p:nvPr/>
          </p:nvSpPr>
          <p:spPr bwMode="auto">
            <a:xfrm>
              <a:off x="543617" y="3551244"/>
              <a:ext cx="2471737"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p>
              <a:pPr>
                <a:lnSpc>
                  <a:spcPct val="90000"/>
                </a:lnSpc>
              </a:pPr>
              <a:r>
                <a:rPr lang="en-US" dirty="0" smtClean="0">
                  <a:solidFill>
                    <a:srgbClr val="00B0F0"/>
                  </a:solidFill>
                  <a:ea typeface="MS PGothic" pitchFamily="34" charset="-128"/>
                </a:rPr>
                <a:t>EXPERIENCE</a:t>
              </a:r>
            </a:p>
            <a:p>
              <a:pPr>
                <a:lnSpc>
                  <a:spcPct val="90000"/>
                </a:lnSpc>
              </a:pPr>
              <a:r>
                <a:rPr lang="en-US" dirty="0" smtClean="0">
                  <a:solidFill>
                    <a:srgbClr val="00B0F0"/>
                  </a:solidFill>
                  <a:ea typeface="MS PGothic" pitchFamily="34" charset="-128"/>
                </a:rPr>
                <a:t>EVOLUTION</a:t>
              </a:r>
              <a:endParaRPr lang="en-US" dirty="0">
                <a:solidFill>
                  <a:srgbClr val="00B0F0"/>
                </a:solidFill>
                <a:ea typeface="MS PGothic" pitchFamily="34" charset="-128"/>
              </a:endParaRPr>
            </a:p>
          </p:txBody>
        </p:sp>
      </p:grpSp>
      <p:sp>
        <p:nvSpPr>
          <p:cNvPr id="15372" name="Rectangle 51"/>
          <p:cNvSpPr>
            <a:spLocks noChangeArrowheads="1"/>
          </p:cNvSpPr>
          <p:nvPr/>
        </p:nvSpPr>
        <p:spPr bwMode="auto">
          <a:xfrm>
            <a:off x="5391397" y="1165014"/>
            <a:ext cx="250825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p>
            <a:pPr>
              <a:lnSpc>
                <a:spcPct val="90000"/>
              </a:lnSpc>
            </a:pPr>
            <a:r>
              <a:rPr lang="en-US" dirty="0" smtClean="0">
                <a:solidFill>
                  <a:srgbClr val="F08A00"/>
                </a:solidFill>
                <a:ea typeface="MS PGothic" pitchFamily="34" charset="-128"/>
              </a:rPr>
              <a:t>OSS/BSS </a:t>
            </a:r>
          </a:p>
          <a:p>
            <a:pPr>
              <a:lnSpc>
                <a:spcPct val="90000"/>
              </a:lnSpc>
            </a:pPr>
            <a:r>
              <a:rPr lang="en-US" dirty="0" smtClean="0">
                <a:solidFill>
                  <a:srgbClr val="F08A00"/>
                </a:solidFill>
                <a:ea typeface="MS PGothic" pitchFamily="34" charset="-128"/>
              </a:rPr>
              <a:t>SOLUTION SUPPORT</a:t>
            </a:r>
            <a:endParaRPr lang="en-US" dirty="0">
              <a:solidFill>
                <a:srgbClr val="F08A00"/>
              </a:solidFill>
              <a:ea typeface="MS PGothic" pitchFamily="34" charset="-128"/>
            </a:endParaRPr>
          </a:p>
        </p:txBody>
      </p:sp>
      <p:sp>
        <p:nvSpPr>
          <p:cNvPr id="4" name="Rectangle 3"/>
          <p:cNvSpPr/>
          <p:nvPr/>
        </p:nvSpPr>
        <p:spPr>
          <a:xfrm>
            <a:off x="420040" y="1150494"/>
            <a:ext cx="3317575" cy="461665"/>
          </a:xfrm>
          <a:prstGeom prst="rect">
            <a:avLst/>
          </a:prstGeom>
        </p:spPr>
        <p:txBody>
          <a:bodyPr wrap="none">
            <a:spAutoFit/>
          </a:bodyPr>
          <a:lstStyle/>
          <a:p>
            <a:r>
              <a:rPr lang="en-US" sz="2400" dirty="0"/>
              <a:t>Roadmap Focus Areas</a:t>
            </a:r>
          </a:p>
        </p:txBody>
      </p:sp>
    </p:spTree>
    <p:extLst>
      <p:ext uri="{BB962C8B-B14F-4D97-AF65-F5344CB8AC3E}">
        <p14:creationId xmlns:p14="http://schemas.microsoft.com/office/powerpoint/2010/main" val="11704598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295276" y="239713"/>
            <a:ext cx="8012906" cy="1085850"/>
          </a:xfrm>
        </p:spPr>
        <p:txBody>
          <a:bodyPr/>
          <a:lstStyle/>
          <a:p>
            <a:r>
              <a:rPr lang="en-CA" dirty="0" smtClean="0">
                <a:solidFill>
                  <a:srgbClr val="00A9D4"/>
                </a:solidFill>
              </a:rPr>
              <a:t>Ericsson </a:t>
            </a:r>
            <a:r>
              <a:rPr lang="en-US" dirty="0" smtClean="0">
                <a:solidFill>
                  <a:srgbClr val="00A9D4"/>
                </a:solidFill>
              </a:rPr>
              <a:t>CATALOG MANAGER Portfolio</a:t>
            </a:r>
            <a:endParaRPr lang="en-US" dirty="0" smtClean="0">
              <a:solidFill>
                <a:srgbClr val="00A9D4"/>
              </a:solidFill>
              <a:latin typeface="Ericsson Capital TT" pitchFamily="2" charset="0"/>
              <a:ea typeface="ＭＳ Ｐゴシック" pitchFamily="34" charset="-128"/>
            </a:endParaRPr>
          </a:p>
        </p:txBody>
      </p:sp>
      <p:sp>
        <p:nvSpPr>
          <p:cNvPr id="31" name="Content Placeholder 3"/>
          <p:cNvSpPr txBox="1">
            <a:spLocks/>
          </p:cNvSpPr>
          <p:nvPr/>
        </p:nvSpPr>
        <p:spPr>
          <a:xfrm>
            <a:off x="4645025" y="1627824"/>
            <a:ext cx="4100513" cy="4284662"/>
          </a:xfrm>
          <a:prstGeom prst="rect">
            <a:avLst/>
          </a:prstGeom>
        </p:spPr>
        <p:txBody>
          <a:bodyPr/>
          <a:lstStyle>
            <a:lvl1pPr marL="176213" indent="-176213" algn="l" rtl="0" eaLnBrk="0" fontAlgn="base" hangingPunct="0">
              <a:spcBef>
                <a:spcPct val="20000"/>
              </a:spcBef>
              <a:spcAft>
                <a:spcPct val="0"/>
              </a:spcAft>
              <a:buClr>
                <a:srgbClr val="00A9D4"/>
              </a:buClr>
              <a:buFont typeface="Arial" pitchFamily="34" charset="0"/>
              <a:buChar char="›"/>
              <a:defRPr sz="2400">
                <a:solidFill>
                  <a:schemeClr val="tx1"/>
                </a:solidFill>
                <a:latin typeface="+mn-lt"/>
                <a:ea typeface="+mn-ea"/>
                <a:cs typeface="+mn-cs"/>
              </a:defRPr>
            </a:lvl1pPr>
            <a:lvl2pPr marL="533400" indent="-177800"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0" fontAlgn="base" hangingPunct="0">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dirty="0" smtClean="0"/>
              <a:t>Supported Solutions</a:t>
            </a:r>
          </a:p>
          <a:p>
            <a:pPr lvl="1"/>
            <a:r>
              <a:rPr lang="en-US" dirty="0" smtClean="0"/>
              <a:t>Ericsson Service Innovation Framework</a:t>
            </a:r>
          </a:p>
          <a:p>
            <a:pPr lvl="1"/>
            <a:r>
              <a:rPr lang="en-US" dirty="0" smtClean="0"/>
              <a:t>Ericsson Mobile Order Management</a:t>
            </a:r>
            <a:endParaRPr lang="it-IT" dirty="0"/>
          </a:p>
          <a:p>
            <a:pPr lvl="1"/>
            <a:endParaRPr lang="en-US" dirty="0" smtClean="0"/>
          </a:p>
          <a:p>
            <a:pPr lvl="1"/>
            <a:endParaRPr lang="en-US" dirty="0"/>
          </a:p>
        </p:txBody>
      </p:sp>
      <p:sp>
        <p:nvSpPr>
          <p:cNvPr id="32" name="Content Placeholder 2"/>
          <p:cNvSpPr txBox="1">
            <a:spLocks/>
          </p:cNvSpPr>
          <p:nvPr/>
        </p:nvSpPr>
        <p:spPr>
          <a:xfrm>
            <a:off x="393700" y="1627823"/>
            <a:ext cx="4098925" cy="4284662"/>
          </a:xfrm>
          <a:prstGeom prst="rect">
            <a:avLst/>
          </a:prstGeom>
        </p:spPr>
        <p:txBody>
          <a:bodyPr/>
          <a:lstStyle>
            <a:lvl1pPr marL="176213" indent="-176213" algn="l" rtl="0" eaLnBrk="0" fontAlgn="base" hangingPunct="0">
              <a:spcBef>
                <a:spcPct val="20000"/>
              </a:spcBef>
              <a:spcAft>
                <a:spcPct val="0"/>
              </a:spcAft>
              <a:buClr>
                <a:srgbClr val="00A9D4"/>
              </a:buClr>
              <a:buFont typeface="Arial" pitchFamily="34" charset="0"/>
              <a:buChar char="›"/>
              <a:defRPr sz="2400">
                <a:solidFill>
                  <a:schemeClr val="tx1"/>
                </a:solidFill>
                <a:latin typeface="+mn-lt"/>
                <a:ea typeface="+mn-ea"/>
                <a:cs typeface="+mn-cs"/>
              </a:defRPr>
            </a:lvl1pPr>
            <a:lvl2pPr marL="533400" indent="-177800"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0" fontAlgn="base" hangingPunct="0">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dirty="0" smtClean="0"/>
              <a:t>Product Components</a:t>
            </a:r>
            <a:endParaRPr lang="en-US" dirty="0"/>
          </a:p>
        </p:txBody>
      </p:sp>
      <p:pic>
        <p:nvPicPr>
          <p:cNvPr id="64" name="Picture 63"/>
          <p:cNvPicPr>
            <a:picLocks noChangeAspect="1"/>
          </p:cNvPicPr>
          <p:nvPr/>
        </p:nvPicPr>
        <p:blipFill>
          <a:blip r:embed="rId3"/>
          <a:stretch>
            <a:fillRect/>
          </a:stretch>
        </p:blipFill>
        <p:spPr>
          <a:xfrm>
            <a:off x="-6786337" y="1068520"/>
            <a:ext cx="903873" cy="562072"/>
          </a:xfrm>
          <a:prstGeom prst="rect">
            <a:avLst/>
          </a:prstGeom>
        </p:spPr>
      </p:pic>
      <p:pic>
        <p:nvPicPr>
          <p:cNvPr id="67" name="Picture 66"/>
          <p:cNvPicPr>
            <a:picLocks noChangeAspect="1"/>
          </p:cNvPicPr>
          <p:nvPr/>
        </p:nvPicPr>
        <p:blipFill>
          <a:blip r:embed="rId4"/>
          <a:stretch>
            <a:fillRect/>
          </a:stretch>
        </p:blipFill>
        <p:spPr>
          <a:xfrm>
            <a:off x="-6525986" y="3197016"/>
            <a:ext cx="592454" cy="554476"/>
          </a:xfrm>
          <a:prstGeom prst="rect">
            <a:avLst/>
          </a:prstGeom>
        </p:spPr>
      </p:pic>
      <p:sp>
        <p:nvSpPr>
          <p:cNvPr id="71" name="TextBox 70"/>
          <p:cNvSpPr txBox="1"/>
          <p:nvPr/>
        </p:nvSpPr>
        <p:spPr>
          <a:xfrm>
            <a:off x="-6983187" y="1916571"/>
            <a:ext cx="1139335" cy="523220"/>
          </a:xfrm>
          <a:prstGeom prst="rect">
            <a:avLst/>
          </a:prstGeom>
          <a:noFill/>
        </p:spPr>
        <p:txBody>
          <a:bodyPr wrap="square" rtlCol="0">
            <a:spAutoFit/>
          </a:bodyPr>
          <a:lstStyle/>
          <a:p>
            <a:pPr algn="ctr"/>
            <a:r>
              <a:rPr lang="en-US" sz="1400" dirty="0" smtClean="0">
                <a:latin typeface="Ericsson Sans Regular"/>
                <a:cs typeface="Ericsson Sans Regular"/>
              </a:rPr>
              <a:t>Product</a:t>
            </a:r>
            <a:br>
              <a:rPr lang="en-US" sz="1400" dirty="0" smtClean="0">
                <a:latin typeface="Ericsson Sans Regular"/>
                <a:cs typeface="Ericsson Sans Regular"/>
              </a:rPr>
            </a:br>
            <a:r>
              <a:rPr lang="en-US" sz="1400" dirty="0" smtClean="0">
                <a:latin typeface="Ericsson Sans Regular"/>
                <a:cs typeface="Ericsson Sans Regular"/>
              </a:rPr>
              <a:t>Catalog</a:t>
            </a:r>
            <a:endParaRPr lang="en-US" sz="1400" dirty="0">
              <a:latin typeface="Ericsson Sans Regular"/>
              <a:cs typeface="Ericsson Sans Regular"/>
            </a:endParaRPr>
          </a:p>
        </p:txBody>
      </p:sp>
      <p:sp>
        <p:nvSpPr>
          <p:cNvPr id="74" name="TextBox 73"/>
          <p:cNvSpPr txBox="1"/>
          <p:nvPr/>
        </p:nvSpPr>
        <p:spPr>
          <a:xfrm>
            <a:off x="-6983186" y="4115633"/>
            <a:ext cx="1139336" cy="738664"/>
          </a:xfrm>
          <a:prstGeom prst="rect">
            <a:avLst/>
          </a:prstGeom>
          <a:noFill/>
        </p:spPr>
        <p:txBody>
          <a:bodyPr wrap="square" rtlCol="0">
            <a:spAutoFit/>
          </a:bodyPr>
          <a:lstStyle/>
          <a:p>
            <a:pPr algn="ctr"/>
            <a:r>
              <a:rPr lang="en-US" sz="1400" dirty="0" smtClean="0">
                <a:latin typeface="Ericsson Sans Regular"/>
                <a:cs typeface="Ericsson Sans Regular"/>
              </a:rPr>
              <a:t>Product</a:t>
            </a:r>
          </a:p>
          <a:p>
            <a:pPr algn="ctr"/>
            <a:r>
              <a:rPr lang="en-US" sz="1400" dirty="0" smtClean="0">
                <a:latin typeface="Ericsson Sans Regular"/>
                <a:cs typeface="Ericsson Sans Regular"/>
              </a:rPr>
              <a:t>Lifecycle</a:t>
            </a:r>
          </a:p>
          <a:p>
            <a:pPr algn="ctr"/>
            <a:r>
              <a:rPr lang="en-US" sz="1400" dirty="0" smtClean="0">
                <a:latin typeface="Ericsson Sans Regular"/>
                <a:cs typeface="Ericsson Sans Regular"/>
              </a:rPr>
              <a:t>Designer</a:t>
            </a:r>
            <a:endParaRPr lang="en-US" sz="1400" dirty="0">
              <a:latin typeface="Ericsson Sans Regular"/>
              <a:cs typeface="Ericsson Sans Regular"/>
            </a:endParaRPr>
          </a:p>
        </p:txBody>
      </p:sp>
      <p:sp>
        <p:nvSpPr>
          <p:cNvPr id="85" name="TextBox 1"/>
          <p:cNvSpPr txBox="1">
            <a:spLocks noChangeArrowheads="1"/>
          </p:cNvSpPr>
          <p:nvPr/>
        </p:nvSpPr>
        <p:spPr bwMode="auto">
          <a:xfrm>
            <a:off x="5364446" y="6135500"/>
            <a:ext cx="360810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marL="114300" indent="-114300" algn="l" eaLnBrk="1" hangingPunct="1"/>
            <a:r>
              <a:rPr lang="en-US" sz="1200" dirty="0">
                <a:cs typeface="Arial" charset="0"/>
              </a:rPr>
              <a:t>* Roadmap item; not available for tendering</a:t>
            </a:r>
          </a:p>
        </p:txBody>
      </p:sp>
      <p:pic>
        <p:nvPicPr>
          <p:cNvPr id="3891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3700" y="2116724"/>
            <a:ext cx="3933825" cy="429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10663975"/>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85" name="Title 1"/>
          <p:cNvSpPr>
            <a:spLocks noGrp="1"/>
          </p:cNvSpPr>
          <p:nvPr>
            <p:ph type="title"/>
          </p:nvPr>
        </p:nvSpPr>
        <p:spPr>
          <a:xfrm>
            <a:off x="394098" y="239713"/>
            <a:ext cx="7493794" cy="1085850"/>
          </a:xfrm>
        </p:spPr>
        <p:txBody>
          <a:bodyPr/>
          <a:lstStyle/>
          <a:p>
            <a:pPr>
              <a:defRPr/>
            </a:pPr>
            <a:r>
              <a:rPr lang="en-US" sz="3600" cap="all" dirty="0" smtClean="0">
                <a:solidFill>
                  <a:srgbClr val="007B78"/>
                </a:solidFill>
              </a:rPr>
              <a:t>ERICSSON catalog manager Roadmap</a:t>
            </a:r>
            <a:endParaRPr lang="en-US" sz="3200" b="1" dirty="0">
              <a:solidFill>
                <a:srgbClr val="007B78"/>
              </a:solidFill>
            </a:endParaRPr>
          </a:p>
        </p:txBody>
      </p:sp>
      <p:grpSp>
        <p:nvGrpSpPr>
          <p:cNvPr id="9219" name="Group 5"/>
          <p:cNvGrpSpPr>
            <a:grpSpLocks/>
          </p:cNvGrpSpPr>
          <p:nvPr/>
        </p:nvGrpSpPr>
        <p:grpSpPr bwMode="auto">
          <a:xfrm>
            <a:off x="8156963" y="5703890"/>
            <a:ext cx="849431" cy="741044"/>
            <a:chOff x="10796690" y="5803732"/>
            <a:chExt cx="1132490" cy="741154"/>
          </a:xfrm>
        </p:grpSpPr>
        <p:sp>
          <p:nvSpPr>
            <p:cNvPr id="9306" name="Rounded Rectangle 305"/>
            <p:cNvSpPr>
              <a:spLocks noChangeArrowheads="1"/>
            </p:cNvSpPr>
            <p:nvPr/>
          </p:nvSpPr>
          <p:spPr bwMode="auto">
            <a:xfrm>
              <a:off x="10796690" y="5833593"/>
              <a:ext cx="187325" cy="192024"/>
            </a:xfrm>
            <a:prstGeom prst="roundRect">
              <a:avLst>
                <a:gd name="adj" fmla="val 12648"/>
              </a:avLst>
            </a:pr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wrap="none" lIns="72000" rIns="72000"/>
            <a:lstStyle/>
            <a:p>
              <a:pPr>
                <a:spcBef>
                  <a:spcPct val="50000"/>
                </a:spcBef>
              </a:pPr>
              <a:endParaRPr lang="sv-SE" sz="1200"/>
            </a:p>
          </p:txBody>
        </p:sp>
        <p:sp>
          <p:nvSpPr>
            <p:cNvPr id="9307" name="Rounded Rectangle 305"/>
            <p:cNvSpPr>
              <a:spLocks noChangeArrowheads="1"/>
            </p:cNvSpPr>
            <p:nvPr/>
          </p:nvSpPr>
          <p:spPr bwMode="auto">
            <a:xfrm>
              <a:off x="10796690" y="6093228"/>
              <a:ext cx="187325" cy="192024"/>
            </a:xfrm>
            <a:prstGeom prst="roundRect">
              <a:avLst>
                <a:gd name="adj" fmla="val 12648"/>
              </a:avLst>
            </a:pr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wrap="none" lIns="72000" rIns="72000"/>
            <a:lstStyle/>
            <a:p>
              <a:pPr>
                <a:spcBef>
                  <a:spcPct val="50000"/>
                </a:spcBef>
              </a:pPr>
              <a:endParaRPr lang="sv-SE" sz="1200"/>
            </a:p>
          </p:txBody>
        </p:sp>
        <p:sp>
          <p:nvSpPr>
            <p:cNvPr id="9308" name="Rounded Rectangle 305"/>
            <p:cNvSpPr>
              <a:spLocks noChangeArrowheads="1"/>
            </p:cNvSpPr>
            <p:nvPr/>
          </p:nvSpPr>
          <p:spPr bwMode="auto">
            <a:xfrm>
              <a:off x="10796690" y="6352862"/>
              <a:ext cx="187325" cy="192024"/>
            </a:xfrm>
            <a:prstGeom prst="roundRect">
              <a:avLst>
                <a:gd name="adj" fmla="val 12648"/>
              </a:avLst>
            </a:prstGeom>
            <a:solidFill>
              <a:srgbClr val="92CCE5"/>
            </a:solidFill>
            <a:ln>
              <a:noFill/>
            </a:ln>
            <a:extLst>
              <a:ext uri="{91240B29-F687-4F45-9708-019B960494DF}">
                <a14:hiddenLine xmlns:a14="http://schemas.microsoft.com/office/drawing/2010/main" w="9525">
                  <a:solidFill>
                    <a:srgbClr val="000000"/>
                  </a:solidFill>
                  <a:round/>
                  <a:headEnd/>
                  <a:tailEnd/>
                </a14:hiddenLine>
              </a:ext>
            </a:extLst>
          </p:spPr>
          <p:txBody>
            <a:bodyPr wrap="none" lIns="72000" rIns="72000"/>
            <a:lstStyle/>
            <a:p>
              <a:pPr>
                <a:spcBef>
                  <a:spcPct val="50000"/>
                </a:spcBef>
              </a:pPr>
              <a:endParaRPr lang="sv-SE" sz="1200"/>
            </a:p>
          </p:txBody>
        </p:sp>
        <p:sp>
          <p:nvSpPr>
            <p:cNvPr id="9309" name="Text Box 85"/>
            <p:cNvSpPr txBox="1">
              <a:spLocks noChangeArrowheads="1"/>
            </p:cNvSpPr>
            <p:nvPr/>
          </p:nvSpPr>
          <p:spPr bwMode="auto">
            <a:xfrm>
              <a:off x="10909319" y="5803732"/>
              <a:ext cx="1019861" cy="707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ts val="600"/>
                </a:spcBef>
              </a:pPr>
              <a:r>
                <a:rPr lang="sv-SE" sz="1000">
                  <a:cs typeface="Times New Roman" pitchFamily="18" charset="0"/>
                </a:rPr>
                <a:t>Released</a:t>
              </a:r>
            </a:p>
            <a:p>
              <a:pPr eaLnBrk="1" hangingPunct="1">
                <a:spcBef>
                  <a:spcPts val="600"/>
                </a:spcBef>
              </a:pPr>
              <a:r>
                <a:rPr lang="sv-SE" sz="1000">
                  <a:cs typeface="Times New Roman" pitchFamily="18" charset="0"/>
                </a:rPr>
                <a:t>Indicative</a:t>
              </a:r>
            </a:p>
            <a:p>
              <a:pPr eaLnBrk="1" hangingPunct="1">
                <a:spcBef>
                  <a:spcPts val="600"/>
                </a:spcBef>
              </a:pPr>
              <a:r>
                <a:rPr lang="sv-SE" sz="1000">
                  <a:cs typeface="Times New Roman" pitchFamily="18" charset="0"/>
                </a:rPr>
                <a:t>Candidate</a:t>
              </a:r>
            </a:p>
          </p:txBody>
        </p:sp>
      </p:grpSp>
      <p:sp>
        <p:nvSpPr>
          <p:cNvPr id="9239" name="Freeform 5" descr="bpct-blend2"/>
          <p:cNvSpPr>
            <a:spLocks noChangeAspect="1"/>
          </p:cNvSpPr>
          <p:nvPr/>
        </p:nvSpPr>
        <p:spPr bwMode="auto">
          <a:xfrm>
            <a:off x="1447800" y="5848359"/>
            <a:ext cx="6525816" cy="819150"/>
          </a:xfrm>
          <a:custGeom>
            <a:avLst/>
            <a:gdLst>
              <a:gd name="T0" fmla="*/ 2147483647 w 2033"/>
              <a:gd name="T1" fmla="*/ 2147483647 h 218"/>
              <a:gd name="T2" fmla="*/ 2147483647 w 2033"/>
              <a:gd name="T3" fmla="*/ 2147483647 h 218"/>
              <a:gd name="T4" fmla="*/ 2147483647 w 2033"/>
              <a:gd name="T5" fmla="*/ 2147483647 h 218"/>
              <a:gd name="T6" fmla="*/ 2147483647 w 2033"/>
              <a:gd name="T7" fmla="*/ 2147483647 h 218"/>
              <a:gd name="T8" fmla="*/ 0 w 2033"/>
              <a:gd name="T9" fmla="*/ 2147483647 h 218"/>
              <a:gd name="T10" fmla="*/ 0 w 2033"/>
              <a:gd name="T11" fmla="*/ 2147483647 h 218"/>
              <a:gd name="T12" fmla="*/ 2147483647 w 2033"/>
              <a:gd name="T13" fmla="*/ 2147483647 h 218"/>
              <a:gd name="T14" fmla="*/ 2147483647 w 2033"/>
              <a:gd name="T15" fmla="*/ 2147483647 h 218"/>
              <a:gd name="T16" fmla="*/ 2147483647 w 2033"/>
              <a:gd name="T17" fmla="*/ 2147483647 h 218"/>
              <a:gd name="T18" fmla="*/ 2147483647 w 2033"/>
              <a:gd name="T19" fmla="*/ 2147483647 h 218"/>
              <a:gd name="T20" fmla="*/ 2147483647 w 2033"/>
              <a:gd name="T21" fmla="*/ 2147483647 h 218"/>
              <a:gd name="T22" fmla="*/ 2147483647 w 2033"/>
              <a:gd name="T23" fmla="*/ 2147483647 h 218"/>
              <a:gd name="T24" fmla="*/ 2147483647 w 2033"/>
              <a:gd name="T25" fmla="*/ 2147483647 h 218"/>
              <a:gd name="T26" fmla="*/ 2147483647 w 2033"/>
              <a:gd name="T27" fmla="*/ 2147483647 h 2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33"/>
              <a:gd name="T43" fmla="*/ 0 h 218"/>
              <a:gd name="T44" fmla="*/ 2033 w 2033"/>
              <a:gd name="T45" fmla="*/ 218 h 2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33" h="218">
                <a:moveTo>
                  <a:pt x="1920" y="9"/>
                </a:moveTo>
                <a:cubicBezTo>
                  <a:pt x="1906" y="0"/>
                  <a:pt x="1894" y="2"/>
                  <a:pt x="1894" y="22"/>
                </a:cubicBezTo>
                <a:cubicBezTo>
                  <a:pt x="1894" y="26"/>
                  <a:pt x="1894" y="32"/>
                  <a:pt x="1894" y="39"/>
                </a:cubicBezTo>
                <a:cubicBezTo>
                  <a:pt x="14" y="39"/>
                  <a:pt x="14" y="39"/>
                  <a:pt x="14" y="39"/>
                </a:cubicBezTo>
                <a:cubicBezTo>
                  <a:pt x="6" y="39"/>
                  <a:pt x="0" y="45"/>
                  <a:pt x="0" y="53"/>
                </a:cubicBezTo>
                <a:cubicBezTo>
                  <a:pt x="0" y="165"/>
                  <a:pt x="0" y="165"/>
                  <a:pt x="0" y="165"/>
                </a:cubicBezTo>
                <a:cubicBezTo>
                  <a:pt x="0" y="173"/>
                  <a:pt x="6" y="179"/>
                  <a:pt x="14" y="179"/>
                </a:cubicBezTo>
                <a:cubicBezTo>
                  <a:pt x="1894" y="179"/>
                  <a:pt x="1894" y="179"/>
                  <a:pt x="1894" y="179"/>
                </a:cubicBezTo>
                <a:cubicBezTo>
                  <a:pt x="1894" y="186"/>
                  <a:pt x="1894" y="191"/>
                  <a:pt x="1894" y="195"/>
                </a:cubicBezTo>
                <a:cubicBezTo>
                  <a:pt x="1894" y="215"/>
                  <a:pt x="1907" y="218"/>
                  <a:pt x="1920" y="209"/>
                </a:cubicBezTo>
                <a:cubicBezTo>
                  <a:pt x="1932" y="199"/>
                  <a:pt x="2013" y="135"/>
                  <a:pt x="2024" y="126"/>
                </a:cubicBezTo>
                <a:cubicBezTo>
                  <a:pt x="2030" y="121"/>
                  <a:pt x="2033" y="116"/>
                  <a:pt x="2033" y="109"/>
                </a:cubicBezTo>
                <a:cubicBezTo>
                  <a:pt x="2033" y="102"/>
                  <a:pt x="2030" y="97"/>
                  <a:pt x="2024" y="92"/>
                </a:cubicBezTo>
                <a:cubicBezTo>
                  <a:pt x="2013" y="83"/>
                  <a:pt x="1927" y="14"/>
                  <a:pt x="1920" y="9"/>
                </a:cubicBezTo>
                <a:close/>
              </a:path>
            </a:pathLst>
          </a:custGeom>
          <a:blipFill dpi="0" rotWithShape="0">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sz="1400"/>
          </a:p>
        </p:txBody>
      </p:sp>
      <p:sp>
        <p:nvSpPr>
          <p:cNvPr id="9243" name="Text Box 7"/>
          <p:cNvSpPr txBox="1">
            <a:spLocks noChangeArrowheads="1"/>
          </p:cNvSpPr>
          <p:nvPr/>
        </p:nvSpPr>
        <p:spPr bwMode="auto">
          <a:xfrm>
            <a:off x="2632567" y="5983297"/>
            <a:ext cx="3153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ct val="50000"/>
              </a:spcBef>
            </a:pPr>
            <a:r>
              <a:rPr lang="en-US" sz="1000" b="1">
                <a:solidFill>
                  <a:srgbClr val="FFFFFF"/>
                </a:solidFill>
                <a:cs typeface="Arial" charset="0"/>
              </a:rPr>
              <a:t>Q3</a:t>
            </a:r>
          </a:p>
        </p:txBody>
      </p:sp>
      <p:sp>
        <p:nvSpPr>
          <p:cNvPr id="9244" name="Text Box 8"/>
          <p:cNvSpPr txBox="1">
            <a:spLocks noChangeArrowheads="1"/>
          </p:cNvSpPr>
          <p:nvPr/>
        </p:nvSpPr>
        <p:spPr bwMode="auto">
          <a:xfrm>
            <a:off x="3105245" y="5983297"/>
            <a:ext cx="3153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ct val="50000"/>
              </a:spcBef>
            </a:pPr>
            <a:r>
              <a:rPr lang="en-US" sz="1000" b="1">
                <a:solidFill>
                  <a:srgbClr val="FFFFFF"/>
                </a:solidFill>
                <a:cs typeface="Arial" charset="0"/>
              </a:rPr>
              <a:t>Q4</a:t>
            </a:r>
          </a:p>
        </p:txBody>
      </p:sp>
      <p:sp>
        <p:nvSpPr>
          <p:cNvPr id="9245" name="Text Box 9"/>
          <p:cNvSpPr txBox="1">
            <a:spLocks noChangeArrowheads="1"/>
          </p:cNvSpPr>
          <p:nvPr/>
        </p:nvSpPr>
        <p:spPr bwMode="auto">
          <a:xfrm>
            <a:off x="1744361" y="5983297"/>
            <a:ext cx="3153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ct val="50000"/>
              </a:spcBef>
            </a:pPr>
            <a:r>
              <a:rPr lang="en-US" sz="1000" b="1">
                <a:solidFill>
                  <a:srgbClr val="FFFFFF"/>
                </a:solidFill>
                <a:cs typeface="Arial" charset="0"/>
              </a:rPr>
              <a:t>Q1</a:t>
            </a:r>
          </a:p>
        </p:txBody>
      </p:sp>
      <p:sp>
        <p:nvSpPr>
          <p:cNvPr id="9246" name="Text Box 10"/>
          <p:cNvSpPr txBox="1">
            <a:spLocks noChangeArrowheads="1"/>
          </p:cNvSpPr>
          <p:nvPr/>
        </p:nvSpPr>
        <p:spPr bwMode="auto">
          <a:xfrm>
            <a:off x="2211086" y="5983297"/>
            <a:ext cx="3153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ct val="50000"/>
              </a:spcBef>
            </a:pPr>
            <a:r>
              <a:rPr lang="en-US" sz="1000" b="1">
                <a:solidFill>
                  <a:srgbClr val="FFFFFF"/>
                </a:solidFill>
                <a:cs typeface="Arial" charset="0"/>
              </a:rPr>
              <a:t>Q2</a:t>
            </a:r>
          </a:p>
        </p:txBody>
      </p:sp>
      <p:sp>
        <p:nvSpPr>
          <p:cNvPr id="9247" name="Text Box 11"/>
          <p:cNvSpPr txBox="1">
            <a:spLocks noChangeArrowheads="1"/>
          </p:cNvSpPr>
          <p:nvPr/>
        </p:nvSpPr>
        <p:spPr bwMode="auto">
          <a:xfrm>
            <a:off x="2343695" y="6253172"/>
            <a:ext cx="42753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ct val="50000"/>
              </a:spcBef>
            </a:pPr>
            <a:r>
              <a:rPr lang="en-US" sz="1000" b="1">
                <a:solidFill>
                  <a:srgbClr val="FFFFFF"/>
                </a:solidFill>
                <a:cs typeface="Arial" charset="0"/>
              </a:rPr>
              <a:t>2014</a:t>
            </a:r>
          </a:p>
        </p:txBody>
      </p:sp>
      <p:sp>
        <p:nvSpPr>
          <p:cNvPr id="9248" name="Text Box 12"/>
          <p:cNvSpPr txBox="1">
            <a:spLocks noChangeArrowheads="1"/>
          </p:cNvSpPr>
          <p:nvPr/>
        </p:nvSpPr>
        <p:spPr bwMode="auto">
          <a:xfrm>
            <a:off x="4160589" y="6253172"/>
            <a:ext cx="42753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ct val="50000"/>
              </a:spcBef>
            </a:pPr>
            <a:r>
              <a:rPr lang="en-US" sz="1000" b="1">
                <a:solidFill>
                  <a:srgbClr val="FFFFFF"/>
                </a:solidFill>
                <a:cs typeface="Arial" charset="0"/>
              </a:rPr>
              <a:t>2015</a:t>
            </a:r>
          </a:p>
        </p:txBody>
      </p:sp>
      <p:sp>
        <p:nvSpPr>
          <p:cNvPr id="9249" name="Text Box 13"/>
          <p:cNvSpPr txBox="1">
            <a:spLocks noChangeArrowheads="1"/>
          </p:cNvSpPr>
          <p:nvPr/>
        </p:nvSpPr>
        <p:spPr bwMode="auto">
          <a:xfrm>
            <a:off x="4448272" y="5983297"/>
            <a:ext cx="3153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ct val="50000"/>
              </a:spcBef>
            </a:pPr>
            <a:r>
              <a:rPr lang="en-US" sz="1000" b="1">
                <a:solidFill>
                  <a:srgbClr val="FFFFFF"/>
                </a:solidFill>
                <a:cs typeface="Arial" charset="0"/>
              </a:rPr>
              <a:t>Q3</a:t>
            </a:r>
          </a:p>
        </p:txBody>
      </p:sp>
      <p:sp>
        <p:nvSpPr>
          <p:cNvPr id="9250" name="Text Box 14"/>
          <p:cNvSpPr txBox="1">
            <a:spLocks noChangeArrowheads="1"/>
          </p:cNvSpPr>
          <p:nvPr/>
        </p:nvSpPr>
        <p:spPr bwMode="auto">
          <a:xfrm>
            <a:off x="4873324" y="5983297"/>
            <a:ext cx="3153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ct val="50000"/>
              </a:spcBef>
            </a:pPr>
            <a:r>
              <a:rPr lang="en-US" sz="1000" b="1">
                <a:solidFill>
                  <a:srgbClr val="FFFFFF"/>
                </a:solidFill>
                <a:cs typeface="Arial" charset="0"/>
              </a:rPr>
              <a:t>Q4</a:t>
            </a:r>
          </a:p>
        </p:txBody>
      </p:sp>
      <p:sp>
        <p:nvSpPr>
          <p:cNvPr id="9251" name="Text Box 15"/>
          <p:cNvSpPr txBox="1">
            <a:spLocks noChangeArrowheads="1"/>
          </p:cNvSpPr>
          <p:nvPr/>
        </p:nvSpPr>
        <p:spPr bwMode="auto">
          <a:xfrm>
            <a:off x="3537442" y="5983297"/>
            <a:ext cx="3153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ct val="50000"/>
              </a:spcBef>
            </a:pPr>
            <a:r>
              <a:rPr lang="en-US" sz="1000" b="1">
                <a:solidFill>
                  <a:srgbClr val="FFFFFF"/>
                </a:solidFill>
                <a:cs typeface="Arial" charset="0"/>
              </a:rPr>
              <a:t>Q1</a:t>
            </a:r>
          </a:p>
        </p:txBody>
      </p:sp>
      <p:sp>
        <p:nvSpPr>
          <p:cNvPr id="9252" name="Text Box 16"/>
          <p:cNvSpPr txBox="1">
            <a:spLocks noChangeArrowheads="1"/>
          </p:cNvSpPr>
          <p:nvPr/>
        </p:nvSpPr>
        <p:spPr bwMode="auto">
          <a:xfrm>
            <a:off x="3980356" y="5983297"/>
            <a:ext cx="3153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ct val="50000"/>
              </a:spcBef>
            </a:pPr>
            <a:r>
              <a:rPr lang="en-US" sz="1000" b="1">
                <a:solidFill>
                  <a:srgbClr val="FFFFFF"/>
                </a:solidFill>
                <a:cs typeface="Arial" charset="0"/>
              </a:rPr>
              <a:t>Q2</a:t>
            </a:r>
          </a:p>
        </p:txBody>
      </p:sp>
      <p:sp>
        <p:nvSpPr>
          <p:cNvPr id="9253" name="Text Box 17"/>
          <p:cNvSpPr txBox="1">
            <a:spLocks noChangeArrowheads="1"/>
          </p:cNvSpPr>
          <p:nvPr/>
        </p:nvSpPr>
        <p:spPr bwMode="auto">
          <a:xfrm>
            <a:off x="5972720" y="6253172"/>
            <a:ext cx="42753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ct val="50000"/>
              </a:spcBef>
            </a:pPr>
            <a:r>
              <a:rPr lang="en-US" sz="1000" b="1">
                <a:solidFill>
                  <a:srgbClr val="FFFFFF"/>
                </a:solidFill>
                <a:cs typeface="Arial" charset="0"/>
              </a:rPr>
              <a:t>2016</a:t>
            </a:r>
          </a:p>
        </p:txBody>
      </p:sp>
      <p:sp>
        <p:nvSpPr>
          <p:cNvPr id="9254" name="Text Box 18"/>
          <p:cNvSpPr txBox="1">
            <a:spLocks noChangeArrowheads="1"/>
          </p:cNvSpPr>
          <p:nvPr/>
        </p:nvSpPr>
        <p:spPr bwMode="auto">
          <a:xfrm>
            <a:off x="6213967" y="5983297"/>
            <a:ext cx="3153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ct val="50000"/>
              </a:spcBef>
            </a:pPr>
            <a:r>
              <a:rPr lang="en-US" sz="1000" b="1">
                <a:solidFill>
                  <a:srgbClr val="FFFFFF"/>
                </a:solidFill>
                <a:cs typeface="Arial" charset="0"/>
              </a:rPr>
              <a:t>Q3</a:t>
            </a:r>
          </a:p>
        </p:txBody>
      </p:sp>
      <p:sp>
        <p:nvSpPr>
          <p:cNvPr id="9255" name="Text Box 19"/>
          <p:cNvSpPr txBox="1">
            <a:spLocks noChangeArrowheads="1"/>
          </p:cNvSpPr>
          <p:nvPr/>
        </p:nvSpPr>
        <p:spPr bwMode="auto">
          <a:xfrm>
            <a:off x="6686647" y="5983297"/>
            <a:ext cx="3153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ct val="50000"/>
              </a:spcBef>
            </a:pPr>
            <a:r>
              <a:rPr lang="en-US" sz="1000" b="1">
                <a:solidFill>
                  <a:srgbClr val="FFFFFF"/>
                </a:solidFill>
                <a:cs typeface="Arial" charset="0"/>
              </a:rPr>
              <a:t>Q4</a:t>
            </a:r>
          </a:p>
        </p:txBody>
      </p:sp>
      <p:sp>
        <p:nvSpPr>
          <p:cNvPr id="9256" name="Text Box 20"/>
          <p:cNvSpPr txBox="1">
            <a:spLocks noChangeArrowheads="1"/>
          </p:cNvSpPr>
          <p:nvPr/>
        </p:nvSpPr>
        <p:spPr bwMode="auto">
          <a:xfrm>
            <a:off x="5349574" y="5983297"/>
            <a:ext cx="3153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ct val="50000"/>
              </a:spcBef>
            </a:pPr>
            <a:r>
              <a:rPr lang="en-US" sz="1000" b="1">
                <a:solidFill>
                  <a:srgbClr val="FFFFFF"/>
                </a:solidFill>
                <a:cs typeface="Arial" charset="0"/>
              </a:rPr>
              <a:t>Q1</a:t>
            </a:r>
          </a:p>
        </p:txBody>
      </p:sp>
      <p:sp>
        <p:nvSpPr>
          <p:cNvPr id="9257" name="Text Box 21"/>
          <p:cNvSpPr txBox="1">
            <a:spLocks noChangeArrowheads="1"/>
          </p:cNvSpPr>
          <p:nvPr/>
        </p:nvSpPr>
        <p:spPr bwMode="auto">
          <a:xfrm>
            <a:off x="5792488" y="5983297"/>
            <a:ext cx="3153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ct val="50000"/>
              </a:spcBef>
            </a:pPr>
            <a:r>
              <a:rPr lang="en-US" sz="1000" b="1">
                <a:solidFill>
                  <a:srgbClr val="FFFFFF"/>
                </a:solidFill>
                <a:cs typeface="Arial" charset="0"/>
              </a:rPr>
              <a:t>Q2</a:t>
            </a:r>
          </a:p>
        </p:txBody>
      </p:sp>
      <p:sp>
        <p:nvSpPr>
          <p:cNvPr id="9258" name="Text Box 22"/>
          <p:cNvSpPr txBox="1">
            <a:spLocks noChangeArrowheads="1"/>
          </p:cNvSpPr>
          <p:nvPr/>
        </p:nvSpPr>
        <p:spPr bwMode="auto">
          <a:xfrm>
            <a:off x="7152181" y="5983297"/>
            <a:ext cx="3153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ct val="50000"/>
              </a:spcBef>
            </a:pPr>
            <a:r>
              <a:rPr lang="en-US" sz="1000" b="1">
                <a:solidFill>
                  <a:srgbClr val="FFFFFF"/>
                </a:solidFill>
                <a:cs typeface="Arial" charset="0"/>
              </a:rPr>
              <a:t>Q1</a:t>
            </a:r>
          </a:p>
        </p:txBody>
      </p:sp>
      <p:sp>
        <p:nvSpPr>
          <p:cNvPr id="9267" name="Line 31"/>
          <p:cNvSpPr>
            <a:spLocks noChangeShapeType="1"/>
          </p:cNvSpPr>
          <p:nvPr/>
        </p:nvSpPr>
        <p:spPr bwMode="auto">
          <a:xfrm>
            <a:off x="1701403" y="5861059"/>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68" name="Line 32"/>
          <p:cNvSpPr>
            <a:spLocks noChangeShapeType="1"/>
          </p:cNvSpPr>
          <p:nvPr/>
        </p:nvSpPr>
        <p:spPr bwMode="auto">
          <a:xfrm>
            <a:off x="1701403" y="6040447"/>
            <a:ext cx="0" cy="45085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69" name="Line 33"/>
          <p:cNvSpPr>
            <a:spLocks noChangeShapeType="1"/>
          </p:cNvSpPr>
          <p:nvPr/>
        </p:nvSpPr>
        <p:spPr bwMode="auto">
          <a:xfrm>
            <a:off x="1701403" y="6581784"/>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70" name="Line 34"/>
          <p:cNvSpPr>
            <a:spLocks noChangeShapeType="1"/>
          </p:cNvSpPr>
          <p:nvPr/>
        </p:nvSpPr>
        <p:spPr bwMode="auto">
          <a:xfrm>
            <a:off x="2150666" y="5861059"/>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71" name="Line 35"/>
          <p:cNvSpPr>
            <a:spLocks noChangeShapeType="1"/>
          </p:cNvSpPr>
          <p:nvPr/>
        </p:nvSpPr>
        <p:spPr bwMode="auto">
          <a:xfrm>
            <a:off x="2150666" y="6040447"/>
            <a:ext cx="0" cy="180975"/>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72" name="Line 36"/>
          <p:cNvSpPr>
            <a:spLocks noChangeShapeType="1"/>
          </p:cNvSpPr>
          <p:nvPr/>
        </p:nvSpPr>
        <p:spPr bwMode="auto">
          <a:xfrm>
            <a:off x="2150666" y="6581784"/>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73" name="Line 37"/>
          <p:cNvSpPr>
            <a:spLocks noChangeShapeType="1"/>
          </p:cNvSpPr>
          <p:nvPr/>
        </p:nvSpPr>
        <p:spPr bwMode="auto">
          <a:xfrm>
            <a:off x="2601516" y="5861059"/>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74" name="Line 38"/>
          <p:cNvSpPr>
            <a:spLocks noChangeShapeType="1"/>
          </p:cNvSpPr>
          <p:nvPr/>
        </p:nvSpPr>
        <p:spPr bwMode="auto">
          <a:xfrm>
            <a:off x="2601516" y="6040447"/>
            <a:ext cx="0" cy="180975"/>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75" name="Line 39"/>
          <p:cNvSpPr>
            <a:spLocks noChangeShapeType="1"/>
          </p:cNvSpPr>
          <p:nvPr/>
        </p:nvSpPr>
        <p:spPr bwMode="auto">
          <a:xfrm>
            <a:off x="2601516" y="6581784"/>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76" name="Line 40"/>
          <p:cNvSpPr>
            <a:spLocks noChangeShapeType="1"/>
          </p:cNvSpPr>
          <p:nvPr/>
        </p:nvSpPr>
        <p:spPr bwMode="auto">
          <a:xfrm>
            <a:off x="3050778" y="5861059"/>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77" name="Line 41"/>
          <p:cNvSpPr>
            <a:spLocks noChangeShapeType="1"/>
          </p:cNvSpPr>
          <p:nvPr/>
        </p:nvSpPr>
        <p:spPr bwMode="auto">
          <a:xfrm>
            <a:off x="3050778" y="6040447"/>
            <a:ext cx="0" cy="180975"/>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78" name="Line 42"/>
          <p:cNvSpPr>
            <a:spLocks noChangeShapeType="1"/>
          </p:cNvSpPr>
          <p:nvPr/>
        </p:nvSpPr>
        <p:spPr bwMode="auto">
          <a:xfrm>
            <a:off x="3050778" y="6581784"/>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79" name="Line 43"/>
          <p:cNvSpPr>
            <a:spLocks noChangeShapeType="1"/>
          </p:cNvSpPr>
          <p:nvPr/>
        </p:nvSpPr>
        <p:spPr bwMode="auto">
          <a:xfrm>
            <a:off x="3501628" y="5861059"/>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80" name="Line 44"/>
          <p:cNvSpPr>
            <a:spLocks noChangeShapeType="1"/>
          </p:cNvSpPr>
          <p:nvPr/>
        </p:nvSpPr>
        <p:spPr bwMode="auto">
          <a:xfrm>
            <a:off x="3501628" y="6040447"/>
            <a:ext cx="0" cy="45085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81" name="Line 45"/>
          <p:cNvSpPr>
            <a:spLocks noChangeShapeType="1"/>
          </p:cNvSpPr>
          <p:nvPr/>
        </p:nvSpPr>
        <p:spPr bwMode="auto">
          <a:xfrm>
            <a:off x="3501628" y="6581784"/>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82" name="Line 46"/>
          <p:cNvSpPr>
            <a:spLocks noChangeShapeType="1"/>
          </p:cNvSpPr>
          <p:nvPr/>
        </p:nvSpPr>
        <p:spPr bwMode="auto">
          <a:xfrm>
            <a:off x="3950891" y="5861059"/>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83" name="Line 47"/>
          <p:cNvSpPr>
            <a:spLocks noChangeShapeType="1"/>
          </p:cNvSpPr>
          <p:nvPr/>
        </p:nvSpPr>
        <p:spPr bwMode="auto">
          <a:xfrm>
            <a:off x="3950891" y="6040447"/>
            <a:ext cx="0" cy="180975"/>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84" name="Line 48"/>
          <p:cNvSpPr>
            <a:spLocks noChangeShapeType="1"/>
          </p:cNvSpPr>
          <p:nvPr/>
        </p:nvSpPr>
        <p:spPr bwMode="auto">
          <a:xfrm>
            <a:off x="3950891" y="6581784"/>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85" name="Line 49"/>
          <p:cNvSpPr>
            <a:spLocks noChangeShapeType="1"/>
          </p:cNvSpPr>
          <p:nvPr/>
        </p:nvSpPr>
        <p:spPr bwMode="auto">
          <a:xfrm>
            <a:off x="4401741" y="5861059"/>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86" name="Line 50"/>
          <p:cNvSpPr>
            <a:spLocks noChangeShapeType="1"/>
          </p:cNvSpPr>
          <p:nvPr/>
        </p:nvSpPr>
        <p:spPr bwMode="auto">
          <a:xfrm>
            <a:off x="4401741" y="6040447"/>
            <a:ext cx="0" cy="180975"/>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87" name="Line 51"/>
          <p:cNvSpPr>
            <a:spLocks noChangeShapeType="1"/>
          </p:cNvSpPr>
          <p:nvPr/>
        </p:nvSpPr>
        <p:spPr bwMode="auto">
          <a:xfrm>
            <a:off x="4401741" y="6581784"/>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88" name="Line 52"/>
          <p:cNvSpPr>
            <a:spLocks noChangeShapeType="1"/>
          </p:cNvSpPr>
          <p:nvPr/>
        </p:nvSpPr>
        <p:spPr bwMode="auto">
          <a:xfrm>
            <a:off x="4851003" y="5861059"/>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89" name="Line 53"/>
          <p:cNvSpPr>
            <a:spLocks noChangeShapeType="1"/>
          </p:cNvSpPr>
          <p:nvPr/>
        </p:nvSpPr>
        <p:spPr bwMode="auto">
          <a:xfrm>
            <a:off x="4851003" y="6040447"/>
            <a:ext cx="0" cy="180975"/>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90" name="Line 54"/>
          <p:cNvSpPr>
            <a:spLocks noChangeShapeType="1"/>
          </p:cNvSpPr>
          <p:nvPr/>
        </p:nvSpPr>
        <p:spPr bwMode="auto">
          <a:xfrm>
            <a:off x="4851003" y="6581784"/>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91" name="Line 55"/>
          <p:cNvSpPr>
            <a:spLocks noChangeShapeType="1"/>
          </p:cNvSpPr>
          <p:nvPr/>
        </p:nvSpPr>
        <p:spPr bwMode="auto">
          <a:xfrm>
            <a:off x="5301853" y="5861059"/>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92" name="Line 56"/>
          <p:cNvSpPr>
            <a:spLocks noChangeShapeType="1"/>
          </p:cNvSpPr>
          <p:nvPr/>
        </p:nvSpPr>
        <p:spPr bwMode="auto">
          <a:xfrm>
            <a:off x="5301853" y="6040447"/>
            <a:ext cx="0" cy="45085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93" name="Line 57"/>
          <p:cNvSpPr>
            <a:spLocks noChangeShapeType="1"/>
          </p:cNvSpPr>
          <p:nvPr/>
        </p:nvSpPr>
        <p:spPr bwMode="auto">
          <a:xfrm>
            <a:off x="5301853" y="6581784"/>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94" name="Line 58"/>
          <p:cNvSpPr>
            <a:spLocks noChangeShapeType="1"/>
          </p:cNvSpPr>
          <p:nvPr/>
        </p:nvSpPr>
        <p:spPr bwMode="auto">
          <a:xfrm>
            <a:off x="5751116" y="5859472"/>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95" name="Line 59"/>
          <p:cNvSpPr>
            <a:spLocks noChangeShapeType="1"/>
          </p:cNvSpPr>
          <p:nvPr/>
        </p:nvSpPr>
        <p:spPr bwMode="auto">
          <a:xfrm>
            <a:off x="5751116" y="6038859"/>
            <a:ext cx="0" cy="180975"/>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96" name="Line 60"/>
          <p:cNvSpPr>
            <a:spLocks noChangeShapeType="1"/>
          </p:cNvSpPr>
          <p:nvPr/>
        </p:nvSpPr>
        <p:spPr bwMode="auto">
          <a:xfrm>
            <a:off x="5751116" y="6580197"/>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97" name="Line 61"/>
          <p:cNvSpPr>
            <a:spLocks noChangeShapeType="1"/>
          </p:cNvSpPr>
          <p:nvPr/>
        </p:nvSpPr>
        <p:spPr bwMode="auto">
          <a:xfrm>
            <a:off x="6201966" y="5857884"/>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98" name="Line 62"/>
          <p:cNvSpPr>
            <a:spLocks noChangeShapeType="1"/>
          </p:cNvSpPr>
          <p:nvPr/>
        </p:nvSpPr>
        <p:spPr bwMode="auto">
          <a:xfrm>
            <a:off x="6201966" y="6037272"/>
            <a:ext cx="0" cy="180975"/>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99" name="Line 63"/>
          <p:cNvSpPr>
            <a:spLocks noChangeShapeType="1"/>
          </p:cNvSpPr>
          <p:nvPr/>
        </p:nvSpPr>
        <p:spPr bwMode="auto">
          <a:xfrm>
            <a:off x="6201966" y="6578609"/>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300" name="Line 64"/>
          <p:cNvSpPr>
            <a:spLocks noChangeShapeType="1"/>
          </p:cNvSpPr>
          <p:nvPr/>
        </p:nvSpPr>
        <p:spPr bwMode="auto">
          <a:xfrm>
            <a:off x="6651228" y="5857884"/>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301" name="Line 65"/>
          <p:cNvSpPr>
            <a:spLocks noChangeShapeType="1"/>
          </p:cNvSpPr>
          <p:nvPr/>
        </p:nvSpPr>
        <p:spPr bwMode="auto">
          <a:xfrm>
            <a:off x="6651228" y="6037272"/>
            <a:ext cx="0" cy="180975"/>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302" name="Line 66"/>
          <p:cNvSpPr>
            <a:spLocks noChangeShapeType="1"/>
          </p:cNvSpPr>
          <p:nvPr/>
        </p:nvSpPr>
        <p:spPr bwMode="auto">
          <a:xfrm>
            <a:off x="6651228" y="6578609"/>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303" name="Line 67"/>
          <p:cNvSpPr>
            <a:spLocks noChangeShapeType="1"/>
          </p:cNvSpPr>
          <p:nvPr/>
        </p:nvSpPr>
        <p:spPr bwMode="auto">
          <a:xfrm>
            <a:off x="7102078" y="5857884"/>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304" name="Line 68"/>
          <p:cNvSpPr>
            <a:spLocks noChangeShapeType="1"/>
          </p:cNvSpPr>
          <p:nvPr/>
        </p:nvSpPr>
        <p:spPr bwMode="auto">
          <a:xfrm>
            <a:off x="7102078" y="6037272"/>
            <a:ext cx="0" cy="45085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305" name="Line 69"/>
          <p:cNvSpPr>
            <a:spLocks noChangeShapeType="1"/>
          </p:cNvSpPr>
          <p:nvPr/>
        </p:nvSpPr>
        <p:spPr bwMode="auto">
          <a:xfrm>
            <a:off x="7102078" y="6578609"/>
            <a:ext cx="0" cy="90488"/>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sz="1400"/>
          </a:p>
        </p:txBody>
      </p:sp>
      <p:sp>
        <p:nvSpPr>
          <p:cNvPr id="9221" name="Freeform 7"/>
          <p:cNvSpPr>
            <a:spLocks noChangeAspect="1"/>
          </p:cNvSpPr>
          <p:nvPr/>
        </p:nvSpPr>
        <p:spPr bwMode="auto">
          <a:xfrm flipV="1">
            <a:off x="3298035" y="5557838"/>
            <a:ext cx="396479" cy="317500"/>
          </a:xfrm>
          <a:custGeom>
            <a:avLst/>
            <a:gdLst>
              <a:gd name="T0" fmla="*/ 2147483647 w 265"/>
              <a:gd name="T1" fmla="*/ 2147483647 h 211"/>
              <a:gd name="T2" fmla="*/ 2147483647 w 265"/>
              <a:gd name="T3" fmla="*/ 2147483647 h 211"/>
              <a:gd name="T4" fmla="*/ 2147483647 w 265"/>
              <a:gd name="T5" fmla="*/ 0 h 211"/>
              <a:gd name="T6" fmla="*/ 2147483647 w 265"/>
              <a:gd name="T7" fmla="*/ 2147483647 h 211"/>
              <a:gd name="T8" fmla="*/ 2147483647 w 265"/>
              <a:gd name="T9" fmla="*/ 2147483647 h 211"/>
              <a:gd name="T10" fmla="*/ 0 w 265"/>
              <a:gd name="T11" fmla="*/ 2147483647 h 211"/>
              <a:gd name="T12" fmla="*/ 0 w 265"/>
              <a:gd name="T13" fmla="*/ 2147483647 h 211"/>
              <a:gd name="T14" fmla="*/ 2147483647 w 265"/>
              <a:gd name="T15" fmla="*/ 2147483647 h 211"/>
              <a:gd name="T16" fmla="*/ 2147483647 w 265"/>
              <a:gd name="T17" fmla="*/ 2147483647 h 211"/>
              <a:gd name="T18" fmla="*/ 2147483647 w 265"/>
              <a:gd name="T19" fmla="*/ 2147483647 h 211"/>
              <a:gd name="T20" fmla="*/ 2147483647 w 265"/>
              <a:gd name="T21" fmla="*/ 2147483647 h 211"/>
              <a:gd name="T22" fmla="*/ 2147483647 w 265"/>
              <a:gd name="T23" fmla="*/ 2147483647 h 2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5"/>
              <a:gd name="T37" fmla="*/ 0 h 211"/>
              <a:gd name="T38" fmla="*/ 265 w 265"/>
              <a:gd name="T39" fmla="*/ 211 h 2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5" h="211">
                <a:moveTo>
                  <a:pt x="247" y="85"/>
                </a:moveTo>
                <a:cubicBezTo>
                  <a:pt x="154" y="6"/>
                  <a:pt x="154" y="6"/>
                  <a:pt x="154" y="6"/>
                </a:cubicBezTo>
                <a:cubicBezTo>
                  <a:pt x="154" y="6"/>
                  <a:pt x="146" y="0"/>
                  <a:pt x="132" y="0"/>
                </a:cubicBezTo>
                <a:cubicBezTo>
                  <a:pt x="119" y="0"/>
                  <a:pt x="111" y="6"/>
                  <a:pt x="111" y="6"/>
                </a:cubicBezTo>
                <a:cubicBezTo>
                  <a:pt x="21" y="82"/>
                  <a:pt x="21" y="82"/>
                  <a:pt x="21" y="82"/>
                </a:cubicBezTo>
                <a:cubicBezTo>
                  <a:pt x="21" y="82"/>
                  <a:pt x="0" y="100"/>
                  <a:pt x="0" y="118"/>
                </a:cubicBezTo>
                <a:cubicBezTo>
                  <a:pt x="0" y="125"/>
                  <a:pt x="0" y="176"/>
                  <a:pt x="0" y="190"/>
                </a:cubicBezTo>
                <a:cubicBezTo>
                  <a:pt x="0" y="202"/>
                  <a:pt x="10" y="211"/>
                  <a:pt x="21" y="211"/>
                </a:cubicBezTo>
                <a:cubicBezTo>
                  <a:pt x="243" y="211"/>
                  <a:pt x="243" y="211"/>
                  <a:pt x="243" y="211"/>
                </a:cubicBezTo>
                <a:cubicBezTo>
                  <a:pt x="255" y="211"/>
                  <a:pt x="265" y="202"/>
                  <a:pt x="265" y="190"/>
                </a:cubicBezTo>
                <a:cubicBezTo>
                  <a:pt x="265" y="175"/>
                  <a:pt x="265" y="125"/>
                  <a:pt x="265" y="118"/>
                </a:cubicBezTo>
                <a:cubicBezTo>
                  <a:pt x="265" y="100"/>
                  <a:pt x="247" y="85"/>
                  <a:pt x="247" y="85"/>
                </a:cubicBezTo>
                <a:close/>
              </a:path>
            </a:pathLst>
          </a:cu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rot="10800000" lIns="0" rIns="0"/>
          <a:lstStyle/>
          <a:p>
            <a:pPr algn="ctr">
              <a:spcBef>
                <a:spcPct val="50000"/>
              </a:spcBef>
            </a:pPr>
            <a:r>
              <a:rPr lang="en-US" sz="1000" b="1">
                <a:solidFill>
                  <a:schemeClr val="bg1"/>
                </a:solidFill>
                <a:cs typeface="Times New Roman" pitchFamily="18" charset="0"/>
              </a:rPr>
              <a:t>14.1</a:t>
            </a:r>
            <a:endParaRPr lang="en-US" sz="1000" b="1">
              <a:solidFill>
                <a:schemeClr val="bg1"/>
              </a:solidFill>
            </a:endParaRPr>
          </a:p>
        </p:txBody>
      </p:sp>
      <p:sp>
        <p:nvSpPr>
          <p:cNvPr id="9222" name="Freeform 7"/>
          <p:cNvSpPr>
            <a:spLocks noChangeAspect="1"/>
          </p:cNvSpPr>
          <p:nvPr/>
        </p:nvSpPr>
        <p:spPr bwMode="auto">
          <a:xfrm flipV="1">
            <a:off x="2364582" y="5557838"/>
            <a:ext cx="398860" cy="317500"/>
          </a:xfrm>
          <a:custGeom>
            <a:avLst/>
            <a:gdLst>
              <a:gd name="T0" fmla="*/ 2147483647 w 265"/>
              <a:gd name="T1" fmla="*/ 2147483647 h 211"/>
              <a:gd name="T2" fmla="*/ 2147483647 w 265"/>
              <a:gd name="T3" fmla="*/ 2147483647 h 211"/>
              <a:gd name="T4" fmla="*/ 2147483647 w 265"/>
              <a:gd name="T5" fmla="*/ 0 h 211"/>
              <a:gd name="T6" fmla="*/ 2147483647 w 265"/>
              <a:gd name="T7" fmla="*/ 2147483647 h 211"/>
              <a:gd name="T8" fmla="*/ 2147483647 w 265"/>
              <a:gd name="T9" fmla="*/ 2147483647 h 211"/>
              <a:gd name="T10" fmla="*/ 0 w 265"/>
              <a:gd name="T11" fmla="*/ 2147483647 h 211"/>
              <a:gd name="T12" fmla="*/ 0 w 265"/>
              <a:gd name="T13" fmla="*/ 2147483647 h 211"/>
              <a:gd name="T14" fmla="*/ 2147483647 w 265"/>
              <a:gd name="T15" fmla="*/ 2147483647 h 211"/>
              <a:gd name="T16" fmla="*/ 2147483647 w 265"/>
              <a:gd name="T17" fmla="*/ 2147483647 h 211"/>
              <a:gd name="T18" fmla="*/ 2147483647 w 265"/>
              <a:gd name="T19" fmla="*/ 2147483647 h 211"/>
              <a:gd name="T20" fmla="*/ 2147483647 w 265"/>
              <a:gd name="T21" fmla="*/ 2147483647 h 211"/>
              <a:gd name="T22" fmla="*/ 2147483647 w 265"/>
              <a:gd name="T23" fmla="*/ 2147483647 h 2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5"/>
              <a:gd name="T37" fmla="*/ 0 h 211"/>
              <a:gd name="T38" fmla="*/ 265 w 265"/>
              <a:gd name="T39" fmla="*/ 211 h 2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5" h="211">
                <a:moveTo>
                  <a:pt x="247" y="85"/>
                </a:moveTo>
                <a:cubicBezTo>
                  <a:pt x="154" y="6"/>
                  <a:pt x="154" y="6"/>
                  <a:pt x="154" y="6"/>
                </a:cubicBezTo>
                <a:cubicBezTo>
                  <a:pt x="154" y="6"/>
                  <a:pt x="146" y="0"/>
                  <a:pt x="132" y="0"/>
                </a:cubicBezTo>
                <a:cubicBezTo>
                  <a:pt x="119" y="0"/>
                  <a:pt x="111" y="6"/>
                  <a:pt x="111" y="6"/>
                </a:cubicBezTo>
                <a:cubicBezTo>
                  <a:pt x="21" y="82"/>
                  <a:pt x="21" y="82"/>
                  <a:pt x="21" y="82"/>
                </a:cubicBezTo>
                <a:cubicBezTo>
                  <a:pt x="21" y="82"/>
                  <a:pt x="0" y="100"/>
                  <a:pt x="0" y="118"/>
                </a:cubicBezTo>
                <a:cubicBezTo>
                  <a:pt x="0" y="125"/>
                  <a:pt x="0" y="176"/>
                  <a:pt x="0" y="190"/>
                </a:cubicBezTo>
                <a:cubicBezTo>
                  <a:pt x="0" y="202"/>
                  <a:pt x="10" y="211"/>
                  <a:pt x="21" y="211"/>
                </a:cubicBezTo>
                <a:cubicBezTo>
                  <a:pt x="243" y="211"/>
                  <a:pt x="243" y="211"/>
                  <a:pt x="243" y="211"/>
                </a:cubicBezTo>
                <a:cubicBezTo>
                  <a:pt x="255" y="211"/>
                  <a:pt x="265" y="202"/>
                  <a:pt x="265" y="190"/>
                </a:cubicBezTo>
                <a:cubicBezTo>
                  <a:pt x="265" y="175"/>
                  <a:pt x="265" y="125"/>
                  <a:pt x="265" y="118"/>
                </a:cubicBezTo>
                <a:cubicBezTo>
                  <a:pt x="265" y="100"/>
                  <a:pt x="247" y="85"/>
                  <a:pt x="247" y="85"/>
                </a:cubicBezTo>
                <a:close/>
              </a:path>
            </a:pathLst>
          </a:custGeom>
          <a:solidFill>
            <a:srgbClr val="89BA17"/>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lIns="0" rIns="0"/>
          <a:lstStyle/>
          <a:p>
            <a:pPr algn="ctr">
              <a:spcBef>
                <a:spcPct val="50000"/>
              </a:spcBef>
            </a:pPr>
            <a:r>
              <a:rPr lang="en-US" sz="1000" b="1">
                <a:solidFill>
                  <a:schemeClr val="bg1"/>
                </a:solidFill>
                <a:cs typeface="Times New Roman" pitchFamily="18" charset="0"/>
              </a:rPr>
              <a:t>14.0</a:t>
            </a:r>
            <a:endParaRPr lang="en-US" sz="1000" b="1">
              <a:solidFill>
                <a:schemeClr val="bg1"/>
              </a:solidFill>
            </a:endParaRPr>
          </a:p>
          <a:p>
            <a:pPr algn="ctr">
              <a:spcBef>
                <a:spcPct val="50000"/>
              </a:spcBef>
            </a:pPr>
            <a:endParaRPr lang="sv-SE" sz="1000" b="1">
              <a:solidFill>
                <a:schemeClr val="bg1"/>
              </a:solidFill>
            </a:endParaRPr>
          </a:p>
        </p:txBody>
      </p:sp>
      <p:sp>
        <p:nvSpPr>
          <p:cNvPr id="9223" name="Freeform 7"/>
          <p:cNvSpPr>
            <a:spLocks noChangeAspect="1"/>
          </p:cNvSpPr>
          <p:nvPr/>
        </p:nvSpPr>
        <p:spPr bwMode="auto">
          <a:xfrm flipV="1">
            <a:off x="5085161" y="5557838"/>
            <a:ext cx="398859" cy="317500"/>
          </a:xfrm>
          <a:custGeom>
            <a:avLst/>
            <a:gdLst>
              <a:gd name="T0" fmla="*/ 2147483647 w 265"/>
              <a:gd name="T1" fmla="*/ 2147483647 h 211"/>
              <a:gd name="T2" fmla="*/ 2147483647 w 265"/>
              <a:gd name="T3" fmla="*/ 2147483647 h 211"/>
              <a:gd name="T4" fmla="*/ 2147483647 w 265"/>
              <a:gd name="T5" fmla="*/ 0 h 211"/>
              <a:gd name="T6" fmla="*/ 2147483647 w 265"/>
              <a:gd name="T7" fmla="*/ 2147483647 h 211"/>
              <a:gd name="T8" fmla="*/ 2147483647 w 265"/>
              <a:gd name="T9" fmla="*/ 2147483647 h 211"/>
              <a:gd name="T10" fmla="*/ 0 w 265"/>
              <a:gd name="T11" fmla="*/ 2147483647 h 211"/>
              <a:gd name="T12" fmla="*/ 0 w 265"/>
              <a:gd name="T13" fmla="*/ 2147483647 h 211"/>
              <a:gd name="T14" fmla="*/ 2147483647 w 265"/>
              <a:gd name="T15" fmla="*/ 2147483647 h 211"/>
              <a:gd name="T16" fmla="*/ 2147483647 w 265"/>
              <a:gd name="T17" fmla="*/ 2147483647 h 211"/>
              <a:gd name="T18" fmla="*/ 2147483647 w 265"/>
              <a:gd name="T19" fmla="*/ 2147483647 h 211"/>
              <a:gd name="T20" fmla="*/ 2147483647 w 265"/>
              <a:gd name="T21" fmla="*/ 2147483647 h 211"/>
              <a:gd name="T22" fmla="*/ 2147483647 w 265"/>
              <a:gd name="T23" fmla="*/ 2147483647 h 2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5"/>
              <a:gd name="T37" fmla="*/ 0 h 211"/>
              <a:gd name="T38" fmla="*/ 265 w 265"/>
              <a:gd name="T39" fmla="*/ 211 h 2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5" h="211">
                <a:moveTo>
                  <a:pt x="247" y="85"/>
                </a:moveTo>
                <a:cubicBezTo>
                  <a:pt x="154" y="6"/>
                  <a:pt x="154" y="6"/>
                  <a:pt x="154" y="6"/>
                </a:cubicBezTo>
                <a:cubicBezTo>
                  <a:pt x="154" y="6"/>
                  <a:pt x="146" y="0"/>
                  <a:pt x="132" y="0"/>
                </a:cubicBezTo>
                <a:cubicBezTo>
                  <a:pt x="119" y="0"/>
                  <a:pt x="111" y="6"/>
                  <a:pt x="111" y="6"/>
                </a:cubicBezTo>
                <a:cubicBezTo>
                  <a:pt x="21" y="82"/>
                  <a:pt x="21" y="82"/>
                  <a:pt x="21" y="82"/>
                </a:cubicBezTo>
                <a:cubicBezTo>
                  <a:pt x="21" y="82"/>
                  <a:pt x="0" y="100"/>
                  <a:pt x="0" y="118"/>
                </a:cubicBezTo>
                <a:cubicBezTo>
                  <a:pt x="0" y="125"/>
                  <a:pt x="0" y="176"/>
                  <a:pt x="0" y="190"/>
                </a:cubicBezTo>
                <a:cubicBezTo>
                  <a:pt x="0" y="202"/>
                  <a:pt x="10" y="211"/>
                  <a:pt x="21" y="211"/>
                </a:cubicBezTo>
                <a:cubicBezTo>
                  <a:pt x="243" y="211"/>
                  <a:pt x="243" y="211"/>
                  <a:pt x="243" y="211"/>
                </a:cubicBezTo>
                <a:cubicBezTo>
                  <a:pt x="255" y="211"/>
                  <a:pt x="265" y="202"/>
                  <a:pt x="265" y="190"/>
                </a:cubicBezTo>
                <a:cubicBezTo>
                  <a:pt x="265" y="175"/>
                  <a:pt x="265" y="125"/>
                  <a:pt x="265" y="118"/>
                </a:cubicBezTo>
                <a:cubicBezTo>
                  <a:pt x="265" y="100"/>
                  <a:pt x="247" y="85"/>
                  <a:pt x="247" y="85"/>
                </a:cubicBezTo>
                <a:close/>
              </a:path>
            </a:pathLst>
          </a:custGeom>
          <a:solidFill>
            <a:srgbClr val="92CCE5"/>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lIns="0" rIns="0"/>
          <a:lstStyle/>
          <a:p>
            <a:pPr algn="ctr"/>
            <a:r>
              <a:rPr lang="en-US" sz="1000" b="1">
                <a:solidFill>
                  <a:schemeClr val="bg1"/>
                </a:solidFill>
                <a:cs typeface="Times New Roman" pitchFamily="18" charset="0"/>
              </a:rPr>
              <a:t>16.0</a:t>
            </a:r>
            <a:endParaRPr lang="sv-SE" sz="1000" b="1">
              <a:solidFill>
                <a:schemeClr val="bg1"/>
              </a:solidFill>
            </a:endParaRPr>
          </a:p>
        </p:txBody>
      </p:sp>
      <p:sp>
        <p:nvSpPr>
          <p:cNvPr id="9225" name="Freeform 24"/>
          <p:cNvSpPr>
            <a:spLocks noChangeAspect="1"/>
          </p:cNvSpPr>
          <p:nvPr/>
        </p:nvSpPr>
        <p:spPr bwMode="auto">
          <a:xfrm>
            <a:off x="652465" y="1763953"/>
            <a:ext cx="1851422" cy="573088"/>
          </a:xfrm>
          <a:custGeom>
            <a:avLst/>
            <a:gdLst>
              <a:gd name="T0" fmla="*/ 2147483647 w 733"/>
              <a:gd name="T1" fmla="*/ 2147483647 h 170"/>
              <a:gd name="T2" fmla="*/ 0 w 733"/>
              <a:gd name="T3" fmla="*/ 2147483647 h 170"/>
              <a:gd name="T4" fmla="*/ 0 w 733"/>
              <a:gd name="T5" fmla="*/ 2147483647 h 170"/>
              <a:gd name="T6" fmla="*/ 0 w 733"/>
              <a:gd name="T7" fmla="*/ 2147483647 h 170"/>
              <a:gd name="T8" fmla="*/ 2147483647 w 733"/>
              <a:gd name="T9" fmla="*/ 0 h 170"/>
              <a:gd name="T10" fmla="*/ 2147483647 w 733"/>
              <a:gd name="T11" fmla="*/ 0 h 170"/>
              <a:gd name="T12" fmla="*/ 2147483647 w 733"/>
              <a:gd name="T13" fmla="*/ 0 h 170"/>
              <a:gd name="T14" fmla="*/ 2147483647 w 733"/>
              <a:gd name="T15" fmla="*/ 2147483647 h 170"/>
              <a:gd name="T16" fmla="*/ 2147483647 w 733"/>
              <a:gd name="T17" fmla="*/ 2147483647 h 170"/>
              <a:gd name="T18" fmla="*/ 2147483647 w 733"/>
              <a:gd name="T19" fmla="*/ 2147483647 h 170"/>
              <a:gd name="T20" fmla="*/ 2147483647 w 733"/>
              <a:gd name="T21" fmla="*/ 2147483647 h 170"/>
              <a:gd name="T22" fmla="*/ 2147483647 w 733"/>
              <a:gd name="T23" fmla="*/ 2147483647 h 170"/>
              <a:gd name="T24" fmla="*/ 2147483647 w 733"/>
              <a:gd name="T25" fmla="*/ 2147483647 h 170"/>
              <a:gd name="T26" fmla="*/ 2147483647 w 733"/>
              <a:gd name="T27" fmla="*/ 2147483647 h 170"/>
              <a:gd name="T28" fmla="*/ 2147483647 w 733"/>
              <a:gd name="T29" fmla="*/ 2147483647 h 170"/>
              <a:gd name="T30" fmla="*/ 2147483647 w 733"/>
              <a:gd name="T31" fmla="*/ 2147483647 h 170"/>
              <a:gd name="T32" fmla="*/ 2147483647 w 733"/>
              <a:gd name="T33" fmla="*/ 2147483647 h 170"/>
              <a:gd name="T34" fmla="*/ 2147483647 w 733"/>
              <a:gd name="T35" fmla="*/ 2147483647 h 170"/>
              <a:gd name="T36" fmla="*/ 2147483647 w 733"/>
              <a:gd name="T37" fmla="*/ 2147483647 h 170"/>
              <a:gd name="T38" fmla="*/ 2147483647 w 733"/>
              <a:gd name="T39" fmla="*/ 2147483647 h 170"/>
              <a:gd name="T40" fmla="*/ 2147483647 w 733"/>
              <a:gd name="T41" fmla="*/ 2147483647 h 170"/>
              <a:gd name="T42" fmla="*/ 2147483647 w 733"/>
              <a:gd name="T43" fmla="*/ 2147483647 h 170"/>
              <a:gd name="T44" fmla="*/ 2147483647 w 733"/>
              <a:gd name="T45" fmla="*/ 2147483647 h 170"/>
              <a:gd name="T46" fmla="*/ 2147483647 w 733"/>
              <a:gd name="T47" fmla="*/ 2147483647 h 170"/>
              <a:gd name="T48" fmla="*/ 2147483647 w 733"/>
              <a:gd name="T49" fmla="*/ 2147483647 h 170"/>
              <a:gd name="T50" fmla="*/ 2147483647 w 733"/>
              <a:gd name="T51" fmla="*/ 2147483647 h 170"/>
              <a:gd name="T52" fmla="*/ 2147483647 w 733"/>
              <a:gd name="T53" fmla="*/ 2147483647 h 170"/>
              <a:gd name="T54" fmla="*/ 2147483647 w 733"/>
              <a:gd name="T55" fmla="*/ 2147483647 h 170"/>
              <a:gd name="T56" fmla="*/ 2147483647 w 733"/>
              <a:gd name="T57" fmla="*/ 2147483647 h 170"/>
              <a:gd name="T58" fmla="*/ 2147483647 w 733"/>
              <a:gd name="T59" fmla="*/ 2147483647 h 170"/>
              <a:gd name="T60" fmla="*/ 2147483647 w 733"/>
              <a:gd name="T61" fmla="*/ 2147483647 h 170"/>
              <a:gd name="T62" fmla="*/ 2147483647 w 733"/>
              <a:gd name="T63" fmla="*/ 2147483647 h 170"/>
              <a:gd name="T64" fmla="*/ 2147483647 w 733"/>
              <a:gd name="T65" fmla="*/ 2147483647 h 170"/>
              <a:gd name="T66" fmla="*/ 2147483647 w 733"/>
              <a:gd name="T67" fmla="*/ 2147483647 h 170"/>
              <a:gd name="T68" fmla="*/ 2147483647 w 733"/>
              <a:gd name="T69" fmla="*/ 2147483647 h 17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3"/>
              <a:gd name="T106" fmla="*/ 0 h 170"/>
              <a:gd name="T107" fmla="*/ 733 w 733"/>
              <a:gd name="T108" fmla="*/ 170 h 17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3" h="170">
                <a:moveTo>
                  <a:pt x="31" y="170"/>
                </a:moveTo>
                <a:cubicBezTo>
                  <a:pt x="14" y="170"/>
                  <a:pt x="0" y="156"/>
                  <a:pt x="0" y="139"/>
                </a:cubicBezTo>
                <a:cubicBezTo>
                  <a:pt x="0" y="139"/>
                  <a:pt x="0" y="139"/>
                  <a:pt x="0" y="139"/>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39"/>
                  <a:pt x="16" y="139"/>
                  <a:pt x="16" y="139"/>
                </a:cubicBezTo>
                <a:cubicBezTo>
                  <a:pt x="16" y="147"/>
                  <a:pt x="23" y="154"/>
                  <a:pt x="31" y="154"/>
                </a:cubicBezTo>
                <a:cubicBezTo>
                  <a:pt x="31" y="154"/>
                  <a:pt x="31" y="154"/>
                  <a:pt x="31" y="154"/>
                </a:cubicBezTo>
                <a:cubicBezTo>
                  <a:pt x="702" y="154"/>
                  <a:pt x="702" y="154"/>
                  <a:pt x="702" y="154"/>
                </a:cubicBezTo>
                <a:cubicBezTo>
                  <a:pt x="710" y="154"/>
                  <a:pt x="717" y="147"/>
                  <a:pt x="717" y="139"/>
                </a:cubicBezTo>
                <a:cubicBezTo>
                  <a:pt x="717" y="139"/>
                  <a:pt x="717" y="139"/>
                  <a:pt x="717" y="139"/>
                </a:cubicBezTo>
                <a:cubicBezTo>
                  <a:pt x="717" y="82"/>
                  <a:pt x="717" y="82"/>
                  <a:pt x="717" y="82"/>
                </a:cubicBezTo>
                <a:cubicBezTo>
                  <a:pt x="717" y="77"/>
                  <a:pt x="720" y="74"/>
                  <a:pt x="725" y="74"/>
                </a:cubicBezTo>
                <a:cubicBezTo>
                  <a:pt x="725" y="74"/>
                  <a:pt x="725" y="74"/>
                  <a:pt x="725" y="74"/>
                </a:cubicBezTo>
                <a:cubicBezTo>
                  <a:pt x="729" y="74"/>
                  <a:pt x="733" y="77"/>
                  <a:pt x="733" y="82"/>
                </a:cubicBezTo>
                <a:cubicBezTo>
                  <a:pt x="733" y="82"/>
                  <a:pt x="733" y="82"/>
                  <a:pt x="733" y="82"/>
                </a:cubicBezTo>
                <a:cubicBezTo>
                  <a:pt x="733" y="139"/>
                  <a:pt x="733" y="139"/>
                  <a:pt x="733" y="139"/>
                </a:cubicBezTo>
                <a:cubicBezTo>
                  <a:pt x="733" y="156"/>
                  <a:pt x="719" y="170"/>
                  <a:pt x="702" y="170"/>
                </a:cubicBezTo>
                <a:cubicBezTo>
                  <a:pt x="702" y="170"/>
                  <a:pt x="702" y="170"/>
                  <a:pt x="702" y="170"/>
                </a:cubicBezTo>
                <a:cubicBezTo>
                  <a:pt x="31" y="170"/>
                  <a:pt x="31" y="170"/>
                  <a:pt x="31" y="170"/>
                </a:cubicBezTo>
                <a:close/>
              </a:path>
            </a:pathLst>
          </a:custGeom>
          <a:solidFill>
            <a:srgbClr val="89BA1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6000" tIns="82800" rIns="126000" anchor="t" anchorCtr="1"/>
          <a:lstStyle/>
          <a:p>
            <a:pPr algn="ctr">
              <a:spcBef>
                <a:spcPct val="50000"/>
              </a:spcBef>
            </a:pPr>
            <a:r>
              <a:rPr lang="en-US" sz="1800" dirty="0" smtClean="0">
                <a:solidFill>
                  <a:srgbClr val="58585A"/>
                </a:solidFill>
              </a:rPr>
              <a:t>Release 14.1</a:t>
            </a:r>
            <a:endParaRPr lang="en-US" sz="1800" dirty="0">
              <a:solidFill>
                <a:srgbClr val="58585A"/>
              </a:solidFill>
            </a:endParaRPr>
          </a:p>
        </p:txBody>
      </p:sp>
      <p:sp>
        <p:nvSpPr>
          <p:cNvPr id="9227" name="Freeform 24"/>
          <p:cNvSpPr>
            <a:spLocks noChangeAspect="1"/>
          </p:cNvSpPr>
          <p:nvPr/>
        </p:nvSpPr>
        <p:spPr bwMode="auto">
          <a:xfrm>
            <a:off x="2647951" y="1763953"/>
            <a:ext cx="1851422" cy="573088"/>
          </a:xfrm>
          <a:custGeom>
            <a:avLst/>
            <a:gdLst>
              <a:gd name="T0" fmla="*/ 2147483647 w 733"/>
              <a:gd name="T1" fmla="*/ 2147483647 h 170"/>
              <a:gd name="T2" fmla="*/ 0 w 733"/>
              <a:gd name="T3" fmla="*/ 2147483647 h 170"/>
              <a:gd name="T4" fmla="*/ 0 w 733"/>
              <a:gd name="T5" fmla="*/ 2147483647 h 170"/>
              <a:gd name="T6" fmla="*/ 0 w 733"/>
              <a:gd name="T7" fmla="*/ 2147483647 h 170"/>
              <a:gd name="T8" fmla="*/ 2147483647 w 733"/>
              <a:gd name="T9" fmla="*/ 0 h 170"/>
              <a:gd name="T10" fmla="*/ 2147483647 w 733"/>
              <a:gd name="T11" fmla="*/ 0 h 170"/>
              <a:gd name="T12" fmla="*/ 2147483647 w 733"/>
              <a:gd name="T13" fmla="*/ 0 h 170"/>
              <a:gd name="T14" fmla="*/ 2147483647 w 733"/>
              <a:gd name="T15" fmla="*/ 2147483647 h 170"/>
              <a:gd name="T16" fmla="*/ 2147483647 w 733"/>
              <a:gd name="T17" fmla="*/ 2147483647 h 170"/>
              <a:gd name="T18" fmla="*/ 2147483647 w 733"/>
              <a:gd name="T19" fmla="*/ 2147483647 h 170"/>
              <a:gd name="T20" fmla="*/ 2147483647 w 733"/>
              <a:gd name="T21" fmla="*/ 2147483647 h 170"/>
              <a:gd name="T22" fmla="*/ 2147483647 w 733"/>
              <a:gd name="T23" fmla="*/ 2147483647 h 170"/>
              <a:gd name="T24" fmla="*/ 2147483647 w 733"/>
              <a:gd name="T25" fmla="*/ 2147483647 h 170"/>
              <a:gd name="T26" fmla="*/ 2147483647 w 733"/>
              <a:gd name="T27" fmla="*/ 2147483647 h 170"/>
              <a:gd name="T28" fmla="*/ 2147483647 w 733"/>
              <a:gd name="T29" fmla="*/ 2147483647 h 170"/>
              <a:gd name="T30" fmla="*/ 2147483647 w 733"/>
              <a:gd name="T31" fmla="*/ 2147483647 h 170"/>
              <a:gd name="T32" fmla="*/ 2147483647 w 733"/>
              <a:gd name="T33" fmla="*/ 2147483647 h 170"/>
              <a:gd name="T34" fmla="*/ 2147483647 w 733"/>
              <a:gd name="T35" fmla="*/ 2147483647 h 170"/>
              <a:gd name="T36" fmla="*/ 2147483647 w 733"/>
              <a:gd name="T37" fmla="*/ 2147483647 h 170"/>
              <a:gd name="T38" fmla="*/ 2147483647 w 733"/>
              <a:gd name="T39" fmla="*/ 2147483647 h 170"/>
              <a:gd name="T40" fmla="*/ 2147483647 w 733"/>
              <a:gd name="T41" fmla="*/ 2147483647 h 170"/>
              <a:gd name="T42" fmla="*/ 2147483647 w 733"/>
              <a:gd name="T43" fmla="*/ 2147483647 h 170"/>
              <a:gd name="T44" fmla="*/ 2147483647 w 733"/>
              <a:gd name="T45" fmla="*/ 2147483647 h 170"/>
              <a:gd name="T46" fmla="*/ 2147483647 w 733"/>
              <a:gd name="T47" fmla="*/ 2147483647 h 170"/>
              <a:gd name="T48" fmla="*/ 2147483647 w 733"/>
              <a:gd name="T49" fmla="*/ 2147483647 h 170"/>
              <a:gd name="T50" fmla="*/ 2147483647 w 733"/>
              <a:gd name="T51" fmla="*/ 2147483647 h 170"/>
              <a:gd name="T52" fmla="*/ 2147483647 w 733"/>
              <a:gd name="T53" fmla="*/ 2147483647 h 170"/>
              <a:gd name="T54" fmla="*/ 2147483647 w 733"/>
              <a:gd name="T55" fmla="*/ 2147483647 h 170"/>
              <a:gd name="T56" fmla="*/ 2147483647 w 733"/>
              <a:gd name="T57" fmla="*/ 2147483647 h 170"/>
              <a:gd name="T58" fmla="*/ 2147483647 w 733"/>
              <a:gd name="T59" fmla="*/ 2147483647 h 170"/>
              <a:gd name="T60" fmla="*/ 2147483647 w 733"/>
              <a:gd name="T61" fmla="*/ 2147483647 h 170"/>
              <a:gd name="T62" fmla="*/ 2147483647 w 733"/>
              <a:gd name="T63" fmla="*/ 2147483647 h 170"/>
              <a:gd name="T64" fmla="*/ 2147483647 w 733"/>
              <a:gd name="T65" fmla="*/ 2147483647 h 170"/>
              <a:gd name="T66" fmla="*/ 2147483647 w 733"/>
              <a:gd name="T67" fmla="*/ 2147483647 h 170"/>
              <a:gd name="T68" fmla="*/ 2147483647 w 733"/>
              <a:gd name="T69" fmla="*/ 2147483647 h 17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3"/>
              <a:gd name="T106" fmla="*/ 0 h 170"/>
              <a:gd name="T107" fmla="*/ 733 w 733"/>
              <a:gd name="T108" fmla="*/ 170 h 17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3" h="170">
                <a:moveTo>
                  <a:pt x="31" y="170"/>
                </a:moveTo>
                <a:cubicBezTo>
                  <a:pt x="14" y="170"/>
                  <a:pt x="0" y="156"/>
                  <a:pt x="0" y="139"/>
                </a:cubicBezTo>
                <a:cubicBezTo>
                  <a:pt x="0" y="139"/>
                  <a:pt x="0" y="139"/>
                  <a:pt x="0" y="139"/>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39"/>
                  <a:pt x="16" y="139"/>
                  <a:pt x="16" y="139"/>
                </a:cubicBezTo>
                <a:cubicBezTo>
                  <a:pt x="16" y="147"/>
                  <a:pt x="23" y="154"/>
                  <a:pt x="31" y="154"/>
                </a:cubicBezTo>
                <a:cubicBezTo>
                  <a:pt x="31" y="154"/>
                  <a:pt x="31" y="154"/>
                  <a:pt x="31" y="154"/>
                </a:cubicBezTo>
                <a:cubicBezTo>
                  <a:pt x="702" y="154"/>
                  <a:pt x="702" y="154"/>
                  <a:pt x="702" y="154"/>
                </a:cubicBezTo>
                <a:cubicBezTo>
                  <a:pt x="710" y="154"/>
                  <a:pt x="717" y="147"/>
                  <a:pt x="717" y="139"/>
                </a:cubicBezTo>
                <a:cubicBezTo>
                  <a:pt x="717" y="139"/>
                  <a:pt x="717" y="139"/>
                  <a:pt x="717" y="139"/>
                </a:cubicBezTo>
                <a:cubicBezTo>
                  <a:pt x="717" y="82"/>
                  <a:pt x="717" y="82"/>
                  <a:pt x="717" y="82"/>
                </a:cubicBezTo>
                <a:cubicBezTo>
                  <a:pt x="717" y="77"/>
                  <a:pt x="720" y="74"/>
                  <a:pt x="725" y="74"/>
                </a:cubicBezTo>
                <a:cubicBezTo>
                  <a:pt x="725" y="74"/>
                  <a:pt x="725" y="74"/>
                  <a:pt x="725" y="74"/>
                </a:cubicBezTo>
                <a:cubicBezTo>
                  <a:pt x="729" y="74"/>
                  <a:pt x="733" y="77"/>
                  <a:pt x="733" y="82"/>
                </a:cubicBezTo>
                <a:cubicBezTo>
                  <a:pt x="733" y="82"/>
                  <a:pt x="733" y="82"/>
                  <a:pt x="733" y="82"/>
                </a:cubicBezTo>
                <a:cubicBezTo>
                  <a:pt x="733" y="139"/>
                  <a:pt x="733" y="139"/>
                  <a:pt x="733" y="139"/>
                </a:cubicBezTo>
                <a:cubicBezTo>
                  <a:pt x="733" y="156"/>
                  <a:pt x="719" y="170"/>
                  <a:pt x="702" y="170"/>
                </a:cubicBezTo>
                <a:cubicBezTo>
                  <a:pt x="702" y="170"/>
                  <a:pt x="702" y="170"/>
                  <a:pt x="702" y="170"/>
                </a:cubicBezTo>
                <a:cubicBezTo>
                  <a:pt x="31" y="170"/>
                  <a:pt x="31" y="170"/>
                  <a:pt x="31" y="170"/>
                </a:cubicBezTo>
                <a:close/>
              </a:path>
            </a:pathLst>
          </a:cu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bIns="82296" anchor="t"/>
          <a:lstStyle/>
          <a:p>
            <a:pPr algn="ctr">
              <a:spcBef>
                <a:spcPct val="50000"/>
              </a:spcBef>
            </a:pPr>
            <a:r>
              <a:rPr lang="en-US" sz="1600" dirty="0" smtClean="0">
                <a:solidFill>
                  <a:srgbClr val="58585A"/>
                </a:solidFill>
              </a:rPr>
              <a:t>Release 14.2</a:t>
            </a:r>
            <a:r>
              <a:rPr lang="en-US" sz="1600" dirty="0">
                <a:solidFill>
                  <a:srgbClr val="58585A"/>
                </a:solidFill>
              </a:rPr>
              <a:t/>
            </a:r>
            <a:br>
              <a:rPr lang="en-US" sz="1600" dirty="0">
                <a:solidFill>
                  <a:srgbClr val="58585A"/>
                </a:solidFill>
              </a:rPr>
            </a:br>
            <a:r>
              <a:rPr lang="en-US" sz="1050" dirty="0">
                <a:solidFill>
                  <a:srgbClr val="58585A"/>
                </a:solidFill>
              </a:rPr>
              <a:t>(Previously15.0)</a:t>
            </a:r>
          </a:p>
        </p:txBody>
      </p:sp>
      <p:sp>
        <p:nvSpPr>
          <p:cNvPr id="115" name="Freeform 8"/>
          <p:cNvSpPr>
            <a:spLocks noChangeAspect="1"/>
          </p:cNvSpPr>
          <p:nvPr/>
        </p:nvSpPr>
        <p:spPr bwMode="auto">
          <a:xfrm>
            <a:off x="2647951" y="2414588"/>
            <a:ext cx="1851422" cy="3067050"/>
          </a:xfrm>
          <a:custGeom>
            <a:avLst/>
            <a:gdLst>
              <a:gd name="T0" fmla="*/ 2147483647 w 732"/>
              <a:gd name="T1" fmla="*/ 2147483647 h 909"/>
              <a:gd name="T2" fmla="*/ 0 w 732"/>
              <a:gd name="T3" fmla="*/ 2147483647 h 909"/>
              <a:gd name="T4" fmla="*/ 0 w 732"/>
              <a:gd name="T5" fmla="*/ 2147483647 h 909"/>
              <a:gd name="T6" fmla="*/ 0 w 732"/>
              <a:gd name="T7" fmla="*/ 2147483647 h 909"/>
              <a:gd name="T8" fmla="*/ 2147483647 w 732"/>
              <a:gd name="T9" fmla="*/ 0 h 909"/>
              <a:gd name="T10" fmla="*/ 2147483647 w 732"/>
              <a:gd name="T11" fmla="*/ 0 h 909"/>
              <a:gd name="T12" fmla="*/ 2147483647 w 732"/>
              <a:gd name="T13" fmla="*/ 0 h 909"/>
              <a:gd name="T14" fmla="*/ 2147483647 w 732"/>
              <a:gd name="T15" fmla="*/ 2147483647 h 909"/>
              <a:gd name="T16" fmla="*/ 2147483647 w 732"/>
              <a:gd name="T17" fmla="*/ 2147483647 h 909"/>
              <a:gd name="T18" fmla="*/ 2147483647 w 732"/>
              <a:gd name="T19" fmla="*/ 2147483647 h 909"/>
              <a:gd name="T20" fmla="*/ 2147483647 w 732"/>
              <a:gd name="T21" fmla="*/ 2147483647 h 909"/>
              <a:gd name="T22" fmla="*/ 2147483647 w 732"/>
              <a:gd name="T23" fmla="*/ 2147483647 h 909"/>
              <a:gd name="T24" fmla="*/ 2147483647 w 732"/>
              <a:gd name="T25" fmla="*/ 2147483647 h 909"/>
              <a:gd name="T26" fmla="*/ 2147483647 w 732"/>
              <a:gd name="T27" fmla="*/ 2147483647 h 909"/>
              <a:gd name="T28" fmla="*/ 2147483647 w 732"/>
              <a:gd name="T29" fmla="*/ 2147483647 h 909"/>
              <a:gd name="T30" fmla="*/ 2147483647 w 732"/>
              <a:gd name="T31" fmla="*/ 2147483647 h 909"/>
              <a:gd name="T32" fmla="*/ 2147483647 w 732"/>
              <a:gd name="T33" fmla="*/ 2147483647 h 909"/>
              <a:gd name="T34" fmla="*/ 2147483647 w 732"/>
              <a:gd name="T35" fmla="*/ 2147483647 h 909"/>
              <a:gd name="T36" fmla="*/ 2147483647 w 732"/>
              <a:gd name="T37" fmla="*/ 2147483647 h 909"/>
              <a:gd name="T38" fmla="*/ 2147483647 w 732"/>
              <a:gd name="T39" fmla="*/ 2147483647 h 909"/>
              <a:gd name="T40" fmla="*/ 2147483647 w 732"/>
              <a:gd name="T41" fmla="*/ 2147483647 h 909"/>
              <a:gd name="T42" fmla="*/ 2147483647 w 732"/>
              <a:gd name="T43" fmla="*/ 2147483647 h 909"/>
              <a:gd name="T44" fmla="*/ 2147483647 w 732"/>
              <a:gd name="T45" fmla="*/ 2147483647 h 909"/>
              <a:gd name="T46" fmla="*/ 2147483647 w 732"/>
              <a:gd name="T47" fmla="*/ 2147483647 h 909"/>
              <a:gd name="T48" fmla="*/ 2147483647 w 732"/>
              <a:gd name="T49" fmla="*/ 2147483647 h 909"/>
              <a:gd name="T50" fmla="*/ 2147483647 w 732"/>
              <a:gd name="T51" fmla="*/ 2147483647 h 909"/>
              <a:gd name="T52" fmla="*/ 2147483647 w 732"/>
              <a:gd name="T53" fmla="*/ 2147483647 h 909"/>
              <a:gd name="T54" fmla="*/ 2147483647 w 732"/>
              <a:gd name="T55" fmla="*/ 2147483647 h 909"/>
              <a:gd name="T56" fmla="*/ 2147483647 w 732"/>
              <a:gd name="T57" fmla="*/ 2147483647 h 909"/>
              <a:gd name="T58" fmla="*/ 2147483647 w 732"/>
              <a:gd name="T59" fmla="*/ 2147483647 h 909"/>
              <a:gd name="T60" fmla="*/ 2147483647 w 732"/>
              <a:gd name="T61" fmla="*/ 2147483647 h 909"/>
              <a:gd name="T62" fmla="*/ 2147483647 w 732"/>
              <a:gd name="T63" fmla="*/ 2147483647 h 909"/>
              <a:gd name="T64" fmla="*/ 2147483647 w 732"/>
              <a:gd name="T65" fmla="*/ 2147483647 h 909"/>
              <a:gd name="T66" fmla="*/ 2147483647 w 732"/>
              <a:gd name="T67" fmla="*/ 2147483647 h 909"/>
              <a:gd name="T68" fmla="*/ 2147483647 w 732"/>
              <a:gd name="T69" fmla="*/ 2147483647 h 909"/>
              <a:gd name="T70" fmla="*/ 2147483647 w 732"/>
              <a:gd name="T71" fmla="*/ 2147483647 h 9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32"/>
              <a:gd name="T109" fmla="*/ 0 h 909"/>
              <a:gd name="T110" fmla="*/ 732 w 732"/>
              <a:gd name="T111" fmla="*/ 909 h 9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32" h="909">
                <a:moveTo>
                  <a:pt x="30" y="909"/>
                </a:moveTo>
                <a:cubicBezTo>
                  <a:pt x="13" y="909"/>
                  <a:pt x="0" y="895"/>
                  <a:pt x="0" y="878"/>
                </a:cubicBezTo>
                <a:cubicBezTo>
                  <a:pt x="0" y="878"/>
                  <a:pt x="0" y="878"/>
                  <a:pt x="0" y="878"/>
                </a:cubicBezTo>
                <a:cubicBezTo>
                  <a:pt x="0" y="31"/>
                  <a:pt x="0" y="31"/>
                  <a:pt x="0" y="31"/>
                </a:cubicBezTo>
                <a:cubicBezTo>
                  <a:pt x="0" y="14"/>
                  <a:pt x="13" y="0"/>
                  <a:pt x="30" y="0"/>
                </a:cubicBezTo>
                <a:cubicBezTo>
                  <a:pt x="30" y="0"/>
                  <a:pt x="30" y="0"/>
                  <a:pt x="30" y="0"/>
                </a:cubicBezTo>
                <a:cubicBezTo>
                  <a:pt x="702" y="0"/>
                  <a:pt x="702" y="0"/>
                  <a:pt x="702" y="0"/>
                </a:cubicBezTo>
                <a:cubicBezTo>
                  <a:pt x="719" y="0"/>
                  <a:pt x="732" y="14"/>
                  <a:pt x="732" y="31"/>
                </a:cubicBezTo>
                <a:cubicBezTo>
                  <a:pt x="732" y="31"/>
                  <a:pt x="732" y="31"/>
                  <a:pt x="732" y="31"/>
                </a:cubicBezTo>
                <a:cubicBezTo>
                  <a:pt x="732" y="53"/>
                  <a:pt x="732" y="53"/>
                  <a:pt x="732" y="53"/>
                </a:cubicBezTo>
                <a:cubicBezTo>
                  <a:pt x="732" y="57"/>
                  <a:pt x="729" y="61"/>
                  <a:pt x="724" y="61"/>
                </a:cubicBezTo>
                <a:cubicBezTo>
                  <a:pt x="724" y="61"/>
                  <a:pt x="724" y="61"/>
                  <a:pt x="724" y="61"/>
                </a:cubicBezTo>
                <a:cubicBezTo>
                  <a:pt x="720" y="61"/>
                  <a:pt x="716" y="57"/>
                  <a:pt x="716" y="53"/>
                </a:cubicBezTo>
                <a:cubicBezTo>
                  <a:pt x="716" y="53"/>
                  <a:pt x="716" y="53"/>
                  <a:pt x="716" y="53"/>
                </a:cubicBezTo>
                <a:cubicBezTo>
                  <a:pt x="716" y="31"/>
                  <a:pt x="716" y="31"/>
                  <a:pt x="716" y="31"/>
                </a:cubicBezTo>
                <a:cubicBezTo>
                  <a:pt x="716" y="22"/>
                  <a:pt x="710" y="16"/>
                  <a:pt x="702" y="16"/>
                </a:cubicBezTo>
                <a:cubicBezTo>
                  <a:pt x="702" y="16"/>
                  <a:pt x="702" y="16"/>
                  <a:pt x="702" y="16"/>
                </a:cubicBezTo>
                <a:cubicBezTo>
                  <a:pt x="30" y="16"/>
                  <a:pt x="30" y="16"/>
                  <a:pt x="30" y="16"/>
                </a:cubicBezTo>
                <a:cubicBezTo>
                  <a:pt x="22" y="16"/>
                  <a:pt x="16" y="22"/>
                  <a:pt x="16" y="31"/>
                </a:cubicBezTo>
                <a:cubicBezTo>
                  <a:pt x="16" y="31"/>
                  <a:pt x="16" y="31"/>
                  <a:pt x="16" y="31"/>
                </a:cubicBezTo>
                <a:cubicBezTo>
                  <a:pt x="16" y="878"/>
                  <a:pt x="16" y="878"/>
                  <a:pt x="16" y="878"/>
                </a:cubicBezTo>
                <a:cubicBezTo>
                  <a:pt x="16" y="886"/>
                  <a:pt x="22" y="893"/>
                  <a:pt x="30" y="893"/>
                </a:cubicBezTo>
                <a:cubicBezTo>
                  <a:pt x="30" y="893"/>
                  <a:pt x="30" y="893"/>
                  <a:pt x="30" y="893"/>
                </a:cubicBezTo>
                <a:cubicBezTo>
                  <a:pt x="702" y="893"/>
                  <a:pt x="702" y="893"/>
                  <a:pt x="702" y="893"/>
                </a:cubicBezTo>
                <a:cubicBezTo>
                  <a:pt x="710" y="893"/>
                  <a:pt x="716" y="886"/>
                  <a:pt x="716" y="878"/>
                </a:cubicBezTo>
                <a:cubicBezTo>
                  <a:pt x="716" y="878"/>
                  <a:pt x="716" y="878"/>
                  <a:pt x="716" y="878"/>
                </a:cubicBezTo>
                <a:cubicBezTo>
                  <a:pt x="716" y="82"/>
                  <a:pt x="716" y="82"/>
                  <a:pt x="716" y="82"/>
                </a:cubicBezTo>
                <a:cubicBezTo>
                  <a:pt x="716" y="82"/>
                  <a:pt x="716" y="82"/>
                  <a:pt x="716" y="82"/>
                </a:cubicBezTo>
                <a:cubicBezTo>
                  <a:pt x="716" y="78"/>
                  <a:pt x="720" y="74"/>
                  <a:pt x="724" y="74"/>
                </a:cubicBezTo>
                <a:cubicBezTo>
                  <a:pt x="724" y="74"/>
                  <a:pt x="724" y="74"/>
                  <a:pt x="724" y="74"/>
                </a:cubicBezTo>
                <a:cubicBezTo>
                  <a:pt x="729" y="74"/>
                  <a:pt x="732" y="78"/>
                  <a:pt x="732" y="82"/>
                </a:cubicBezTo>
                <a:cubicBezTo>
                  <a:pt x="732" y="82"/>
                  <a:pt x="732" y="82"/>
                  <a:pt x="732" y="82"/>
                </a:cubicBezTo>
                <a:cubicBezTo>
                  <a:pt x="732" y="878"/>
                  <a:pt x="732" y="878"/>
                  <a:pt x="732" y="878"/>
                </a:cubicBezTo>
                <a:cubicBezTo>
                  <a:pt x="732" y="895"/>
                  <a:pt x="719" y="909"/>
                  <a:pt x="702" y="909"/>
                </a:cubicBezTo>
                <a:cubicBezTo>
                  <a:pt x="702" y="909"/>
                  <a:pt x="702" y="909"/>
                  <a:pt x="702" y="909"/>
                </a:cubicBezTo>
                <a:cubicBezTo>
                  <a:pt x="30" y="909"/>
                  <a:pt x="30" y="909"/>
                  <a:pt x="30" y="909"/>
                </a:cubicBezTo>
                <a:close/>
              </a:path>
            </a:pathLst>
          </a:cu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lstStyle/>
          <a:p>
            <a:pPr algn="l">
              <a:lnSpc>
                <a:spcPts val="1300"/>
              </a:lnSpc>
              <a:spcBef>
                <a:spcPts val="0"/>
              </a:spcBef>
              <a:defRPr/>
            </a:pPr>
            <a:r>
              <a:rPr lang="en-US" sz="1100" b="1" dirty="0"/>
              <a:t>Innovation</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Catalog driven including Wizard Based UI for Inventory, Revenue Manager</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B2B Catalog Exchange</a:t>
            </a:r>
          </a:p>
          <a:p>
            <a:pPr algn="l">
              <a:lnSpc>
                <a:spcPts val="1300"/>
              </a:lnSpc>
              <a:spcBef>
                <a:spcPts val="200"/>
              </a:spcBef>
              <a:buClr>
                <a:srgbClr val="00A9D4"/>
              </a:buClr>
              <a:defRPr/>
            </a:pPr>
            <a:r>
              <a:rPr lang="en-US" sz="1100" b="1" dirty="0"/>
              <a:t>Efficiency</a:t>
            </a:r>
            <a:endParaRPr lang="en-CA" sz="1100" dirty="0">
              <a:cs typeface="Arial" charset="0"/>
            </a:endParaRP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MEF best practice modeled services</a:t>
            </a:r>
            <a:endParaRPr lang="en-US" sz="1100" dirty="0">
              <a:cs typeface="Arial" charset="0"/>
            </a:endParaRPr>
          </a:p>
          <a:p>
            <a:pPr algn="l">
              <a:lnSpc>
                <a:spcPts val="1300"/>
              </a:lnSpc>
              <a:spcBef>
                <a:spcPts val="200"/>
              </a:spcBef>
              <a:buClr>
                <a:srgbClr val="00A9D4"/>
              </a:buClr>
              <a:defRPr/>
            </a:pPr>
            <a:r>
              <a:rPr lang="en-US" sz="1100" b="1" dirty="0"/>
              <a:t>Evolution</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Look and feel improved</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Publishing between instances</a:t>
            </a:r>
            <a:endParaRPr lang="en-US" sz="1100" dirty="0">
              <a:cs typeface="Arial" charset="0"/>
            </a:endParaRPr>
          </a:p>
          <a:p>
            <a:pPr algn="l">
              <a:lnSpc>
                <a:spcPts val="1300"/>
              </a:lnSpc>
              <a:spcBef>
                <a:spcPts val="0"/>
              </a:spcBef>
              <a:buClr>
                <a:srgbClr val="00A9D4"/>
              </a:buClr>
              <a:defRPr/>
            </a:pPr>
            <a:endParaRPr lang="en-US" sz="1050" b="1" dirty="0"/>
          </a:p>
          <a:p>
            <a:pPr marL="111125" lvl="1" indent="-111125" algn="l">
              <a:lnSpc>
                <a:spcPts val="1300"/>
              </a:lnSpc>
              <a:spcBef>
                <a:spcPts val="0"/>
              </a:spcBef>
              <a:buClr>
                <a:srgbClr val="00A9D4"/>
              </a:buClr>
              <a:buFont typeface="Arial" panose="020B0604020202020204" pitchFamily="34" charset="0"/>
              <a:buChar char="›"/>
              <a:defRPr/>
            </a:pPr>
            <a:endParaRPr lang="en-US" sz="1050" dirty="0"/>
          </a:p>
          <a:p>
            <a:pPr algn="l">
              <a:lnSpc>
                <a:spcPts val="1300"/>
              </a:lnSpc>
              <a:spcBef>
                <a:spcPts val="0"/>
              </a:spcBef>
              <a:defRPr/>
            </a:pPr>
            <a:endParaRPr lang="en-US" sz="1050" dirty="0"/>
          </a:p>
        </p:txBody>
      </p:sp>
      <p:sp>
        <p:nvSpPr>
          <p:cNvPr id="9230" name="Freeform 24"/>
          <p:cNvSpPr>
            <a:spLocks noChangeAspect="1"/>
          </p:cNvSpPr>
          <p:nvPr/>
        </p:nvSpPr>
        <p:spPr bwMode="auto">
          <a:xfrm>
            <a:off x="6606778" y="1763953"/>
            <a:ext cx="1851422" cy="573088"/>
          </a:xfrm>
          <a:custGeom>
            <a:avLst/>
            <a:gdLst>
              <a:gd name="T0" fmla="*/ 2147483647 w 733"/>
              <a:gd name="T1" fmla="*/ 2147483647 h 170"/>
              <a:gd name="T2" fmla="*/ 0 w 733"/>
              <a:gd name="T3" fmla="*/ 2147483647 h 170"/>
              <a:gd name="T4" fmla="*/ 0 w 733"/>
              <a:gd name="T5" fmla="*/ 2147483647 h 170"/>
              <a:gd name="T6" fmla="*/ 0 w 733"/>
              <a:gd name="T7" fmla="*/ 2147483647 h 170"/>
              <a:gd name="T8" fmla="*/ 2147483647 w 733"/>
              <a:gd name="T9" fmla="*/ 0 h 170"/>
              <a:gd name="T10" fmla="*/ 2147483647 w 733"/>
              <a:gd name="T11" fmla="*/ 0 h 170"/>
              <a:gd name="T12" fmla="*/ 2147483647 w 733"/>
              <a:gd name="T13" fmla="*/ 0 h 170"/>
              <a:gd name="T14" fmla="*/ 2147483647 w 733"/>
              <a:gd name="T15" fmla="*/ 2147483647 h 170"/>
              <a:gd name="T16" fmla="*/ 2147483647 w 733"/>
              <a:gd name="T17" fmla="*/ 2147483647 h 170"/>
              <a:gd name="T18" fmla="*/ 2147483647 w 733"/>
              <a:gd name="T19" fmla="*/ 2147483647 h 170"/>
              <a:gd name="T20" fmla="*/ 2147483647 w 733"/>
              <a:gd name="T21" fmla="*/ 2147483647 h 170"/>
              <a:gd name="T22" fmla="*/ 2147483647 w 733"/>
              <a:gd name="T23" fmla="*/ 2147483647 h 170"/>
              <a:gd name="T24" fmla="*/ 2147483647 w 733"/>
              <a:gd name="T25" fmla="*/ 2147483647 h 170"/>
              <a:gd name="T26" fmla="*/ 2147483647 w 733"/>
              <a:gd name="T27" fmla="*/ 2147483647 h 170"/>
              <a:gd name="T28" fmla="*/ 2147483647 w 733"/>
              <a:gd name="T29" fmla="*/ 2147483647 h 170"/>
              <a:gd name="T30" fmla="*/ 2147483647 w 733"/>
              <a:gd name="T31" fmla="*/ 2147483647 h 170"/>
              <a:gd name="T32" fmla="*/ 2147483647 w 733"/>
              <a:gd name="T33" fmla="*/ 2147483647 h 170"/>
              <a:gd name="T34" fmla="*/ 2147483647 w 733"/>
              <a:gd name="T35" fmla="*/ 2147483647 h 170"/>
              <a:gd name="T36" fmla="*/ 2147483647 w 733"/>
              <a:gd name="T37" fmla="*/ 2147483647 h 170"/>
              <a:gd name="T38" fmla="*/ 2147483647 w 733"/>
              <a:gd name="T39" fmla="*/ 2147483647 h 170"/>
              <a:gd name="T40" fmla="*/ 2147483647 w 733"/>
              <a:gd name="T41" fmla="*/ 2147483647 h 170"/>
              <a:gd name="T42" fmla="*/ 2147483647 w 733"/>
              <a:gd name="T43" fmla="*/ 2147483647 h 170"/>
              <a:gd name="T44" fmla="*/ 2147483647 w 733"/>
              <a:gd name="T45" fmla="*/ 2147483647 h 170"/>
              <a:gd name="T46" fmla="*/ 2147483647 w 733"/>
              <a:gd name="T47" fmla="*/ 2147483647 h 170"/>
              <a:gd name="T48" fmla="*/ 2147483647 w 733"/>
              <a:gd name="T49" fmla="*/ 2147483647 h 170"/>
              <a:gd name="T50" fmla="*/ 2147483647 w 733"/>
              <a:gd name="T51" fmla="*/ 2147483647 h 170"/>
              <a:gd name="T52" fmla="*/ 2147483647 w 733"/>
              <a:gd name="T53" fmla="*/ 2147483647 h 170"/>
              <a:gd name="T54" fmla="*/ 2147483647 w 733"/>
              <a:gd name="T55" fmla="*/ 2147483647 h 170"/>
              <a:gd name="T56" fmla="*/ 2147483647 w 733"/>
              <a:gd name="T57" fmla="*/ 2147483647 h 170"/>
              <a:gd name="T58" fmla="*/ 2147483647 w 733"/>
              <a:gd name="T59" fmla="*/ 2147483647 h 170"/>
              <a:gd name="T60" fmla="*/ 2147483647 w 733"/>
              <a:gd name="T61" fmla="*/ 2147483647 h 170"/>
              <a:gd name="T62" fmla="*/ 2147483647 w 733"/>
              <a:gd name="T63" fmla="*/ 2147483647 h 170"/>
              <a:gd name="T64" fmla="*/ 2147483647 w 733"/>
              <a:gd name="T65" fmla="*/ 2147483647 h 170"/>
              <a:gd name="T66" fmla="*/ 2147483647 w 733"/>
              <a:gd name="T67" fmla="*/ 2147483647 h 170"/>
              <a:gd name="T68" fmla="*/ 2147483647 w 733"/>
              <a:gd name="T69" fmla="*/ 2147483647 h 17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3"/>
              <a:gd name="T106" fmla="*/ 0 h 170"/>
              <a:gd name="T107" fmla="*/ 733 w 733"/>
              <a:gd name="T108" fmla="*/ 170 h 17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3" h="170">
                <a:moveTo>
                  <a:pt x="31" y="170"/>
                </a:moveTo>
                <a:cubicBezTo>
                  <a:pt x="14" y="170"/>
                  <a:pt x="0" y="156"/>
                  <a:pt x="0" y="139"/>
                </a:cubicBezTo>
                <a:cubicBezTo>
                  <a:pt x="0" y="139"/>
                  <a:pt x="0" y="139"/>
                  <a:pt x="0" y="139"/>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39"/>
                  <a:pt x="16" y="139"/>
                  <a:pt x="16" y="139"/>
                </a:cubicBezTo>
                <a:cubicBezTo>
                  <a:pt x="16" y="147"/>
                  <a:pt x="23" y="154"/>
                  <a:pt x="31" y="154"/>
                </a:cubicBezTo>
                <a:cubicBezTo>
                  <a:pt x="31" y="154"/>
                  <a:pt x="31" y="154"/>
                  <a:pt x="31" y="154"/>
                </a:cubicBezTo>
                <a:cubicBezTo>
                  <a:pt x="702" y="154"/>
                  <a:pt x="702" y="154"/>
                  <a:pt x="702" y="154"/>
                </a:cubicBezTo>
                <a:cubicBezTo>
                  <a:pt x="710" y="154"/>
                  <a:pt x="717" y="147"/>
                  <a:pt x="717" y="139"/>
                </a:cubicBezTo>
                <a:cubicBezTo>
                  <a:pt x="717" y="139"/>
                  <a:pt x="717" y="139"/>
                  <a:pt x="717" y="139"/>
                </a:cubicBezTo>
                <a:cubicBezTo>
                  <a:pt x="717" y="82"/>
                  <a:pt x="717" y="82"/>
                  <a:pt x="717" y="82"/>
                </a:cubicBezTo>
                <a:cubicBezTo>
                  <a:pt x="717" y="77"/>
                  <a:pt x="720" y="74"/>
                  <a:pt x="725" y="74"/>
                </a:cubicBezTo>
                <a:cubicBezTo>
                  <a:pt x="725" y="74"/>
                  <a:pt x="725" y="74"/>
                  <a:pt x="725" y="74"/>
                </a:cubicBezTo>
                <a:cubicBezTo>
                  <a:pt x="729" y="74"/>
                  <a:pt x="733" y="77"/>
                  <a:pt x="733" y="82"/>
                </a:cubicBezTo>
                <a:cubicBezTo>
                  <a:pt x="733" y="82"/>
                  <a:pt x="733" y="82"/>
                  <a:pt x="733" y="82"/>
                </a:cubicBezTo>
                <a:cubicBezTo>
                  <a:pt x="733" y="139"/>
                  <a:pt x="733" y="139"/>
                  <a:pt x="733" y="139"/>
                </a:cubicBezTo>
                <a:cubicBezTo>
                  <a:pt x="733" y="156"/>
                  <a:pt x="719" y="170"/>
                  <a:pt x="702" y="170"/>
                </a:cubicBezTo>
                <a:cubicBezTo>
                  <a:pt x="702" y="170"/>
                  <a:pt x="702" y="170"/>
                  <a:pt x="702" y="170"/>
                </a:cubicBezTo>
                <a:cubicBezTo>
                  <a:pt x="31" y="170"/>
                  <a:pt x="31" y="170"/>
                  <a:pt x="31" y="170"/>
                </a:cubicBezTo>
                <a:close/>
              </a:path>
            </a:pathLst>
          </a:custGeom>
          <a:solidFill>
            <a:srgbClr val="92CCE5"/>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bIns="82296" anchor="t"/>
          <a:lstStyle/>
          <a:p>
            <a:pPr algn="ctr">
              <a:spcBef>
                <a:spcPct val="50000"/>
              </a:spcBef>
            </a:pPr>
            <a:r>
              <a:rPr lang="en-US" sz="1600" dirty="0" smtClean="0">
                <a:solidFill>
                  <a:srgbClr val="58585A"/>
                </a:solidFill>
              </a:rPr>
              <a:t>Release 16.1</a:t>
            </a:r>
            <a:endParaRPr lang="en-US" sz="1600" dirty="0">
              <a:solidFill>
                <a:srgbClr val="58585A"/>
              </a:solidFill>
            </a:endParaRPr>
          </a:p>
        </p:txBody>
      </p:sp>
      <p:sp>
        <p:nvSpPr>
          <p:cNvPr id="119" name="Freeform 8"/>
          <p:cNvSpPr>
            <a:spLocks noChangeAspect="1"/>
          </p:cNvSpPr>
          <p:nvPr/>
        </p:nvSpPr>
        <p:spPr bwMode="auto">
          <a:xfrm>
            <a:off x="6606778" y="2414588"/>
            <a:ext cx="1851422" cy="3067050"/>
          </a:xfrm>
          <a:custGeom>
            <a:avLst/>
            <a:gdLst>
              <a:gd name="T0" fmla="*/ 2147483647 w 732"/>
              <a:gd name="T1" fmla="*/ 2147483647 h 909"/>
              <a:gd name="T2" fmla="*/ 0 w 732"/>
              <a:gd name="T3" fmla="*/ 2147483647 h 909"/>
              <a:gd name="T4" fmla="*/ 0 w 732"/>
              <a:gd name="T5" fmla="*/ 2147483647 h 909"/>
              <a:gd name="T6" fmla="*/ 0 w 732"/>
              <a:gd name="T7" fmla="*/ 2147483647 h 909"/>
              <a:gd name="T8" fmla="*/ 2147483647 w 732"/>
              <a:gd name="T9" fmla="*/ 0 h 909"/>
              <a:gd name="T10" fmla="*/ 2147483647 w 732"/>
              <a:gd name="T11" fmla="*/ 0 h 909"/>
              <a:gd name="T12" fmla="*/ 2147483647 w 732"/>
              <a:gd name="T13" fmla="*/ 0 h 909"/>
              <a:gd name="T14" fmla="*/ 2147483647 w 732"/>
              <a:gd name="T15" fmla="*/ 2147483647 h 909"/>
              <a:gd name="T16" fmla="*/ 2147483647 w 732"/>
              <a:gd name="T17" fmla="*/ 2147483647 h 909"/>
              <a:gd name="T18" fmla="*/ 2147483647 w 732"/>
              <a:gd name="T19" fmla="*/ 2147483647 h 909"/>
              <a:gd name="T20" fmla="*/ 2147483647 w 732"/>
              <a:gd name="T21" fmla="*/ 2147483647 h 909"/>
              <a:gd name="T22" fmla="*/ 2147483647 w 732"/>
              <a:gd name="T23" fmla="*/ 2147483647 h 909"/>
              <a:gd name="T24" fmla="*/ 2147483647 w 732"/>
              <a:gd name="T25" fmla="*/ 2147483647 h 909"/>
              <a:gd name="T26" fmla="*/ 2147483647 w 732"/>
              <a:gd name="T27" fmla="*/ 2147483647 h 909"/>
              <a:gd name="T28" fmla="*/ 2147483647 w 732"/>
              <a:gd name="T29" fmla="*/ 2147483647 h 909"/>
              <a:gd name="T30" fmla="*/ 2147483647 w 732"/>
              <a:gd name="T31" fmla="*/ 2147483647 h 909"/>
              <a:gd name="T32" fmla="*/ 2147483647 w 732"/>
              <a:gd name="T33" fmla="*/ 2147483647 h 909"/>
              <a:gd name="T34" fmla="*/ 2147483647 w 732"/>
              <a:gd name="T35" fmla="*/ 2147483647 h 909"/>
              <a:gd name="T36" fmla="*/ 2147483647 w 732"/>
              <a:gd name="T37" fmla="*/ 2147483647 h 909"/>
              <a:gd name="T38" fmla="*/ 2147483647 w 732"/>
              <a:gd name="T39" fmla="*/ 2147483647 h 909"/>
              <a:gd name="T40" fmla="*/ 2147483647 w 732"/>
              <a:gd name="T41" fmla="*/ 2147483647 h 909"/>
              <a:gd name="T42" fmla="*/ 2147483647 w 732"/>
              <a:gd name="T43" fmla="*/ 2147483647 h 909"/>
              <a:gd name="T44" fmla="*/ 2147483647 w 732"/>
              <a:gd name="T45" fmla="*/ 2147483647 h 909"/>
              <a:gd name="T46" fmla="*/ 2147483647 w 732"/>
              <a:gd name="T47" fmla="*/ 2147483647 h 909"/>
              <a:gd name="T48" fmla="*/ 2147483647 w 732"/>
              <a:gd name="T49" fmla="*/ 2147483647 h 909"/>
              <a:gd name="T50" fmla="*/ 2147483647 w 732"/>
              <a:gd name="T51" fmla="*/ 2147483647 h 909"/>
              <a:gd name="T52" fmla="*/ 2147483647 w 732"/>
              <a:gd name="T53" fmla="*/ 2147483647 h 909"/>
              <a:gd name="T54" fmla="*/ 2147483647 w 732"/>
              <a:gd name="T55" fmla="*/ 2147483647 h 909"/>
              <a:gd name="T56" fmla="*/ 2147483647 w 732"/>
              <a:gd name="T57" fmla="*/ 2147483647 h 909"/>
              <a:gd name="T58" fmla="*/ 2147483647 w 732"/>
              <a:gd name="T59" fmla="*/ 2147483647 h 909"/>
              <a:gd name="T60" fmla="*/ 2147483647 w 732"/>
              <a:gd name="T61" fmla="*/ 2147483647 h 909"/>
              <a:gd name="T62" fmla="*/ 2147483647 w 732"/>
              <a:gd name="T63" fmla="*/ 2147483647 h 909"/>
              <a:gd name="T64" fmla="*/ 2147483647 w 732"/>
              <a:gd name="T65" fmla="*/ 2147483647 h 909"/>
              <a:gd name="T66" fmla="*/ 2147483647 w 732"/>
              <a:gd name="T67" fmla="*/ 2147483647 h 909"/>
              <a:gd name="T68" fmla="*/ 2147483647 w 732"/>
              <a:gd name="T69" fmla="*/ 2147483647 h 909"/>
              <a:gd name="T70" fmla="*/ 2147483647 w 732"/>
              <a:gd name="T71" fmla="*/ 2147483647 h 9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32"/>
              <a:gd name="T109" fmla="*/ 0 h 909"/>
              <a:gd name="T110" fmla="*/ 732 w 732"/>
              <a:gd name="T111" fmla="*/ 909 h 9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32" h="909">
                <a:moveTo>
                  <a:pt x="30" y="909"/>
                </a:moveTo>
                <a:cubicBezTo>
                  <a:pt x="13" y="909"/>
                  <a:pt x="0" y="895"/>
                  <a:pt x="0" y="878"/>
                </a:cubicBezTo>
                <a:cubicBezTo>
                  <a:pt x="0" y="878"/>
                  <a:pt x="0" y="878"/>
                  <a:pt x="0" y="878"/>
                </a:cubicBezTo>
                <a:cubicBezTo>
                  <a:pt x="0" y="31"/>
                  <a:pt x="0" y="31"/>
                  <a:pt x="0" y="31"/>
                </a:cubicBezTo>
                <a:cubicBezTo>
                  <a:pt x="0" y="14"/>
                  <a:pt x="13" y="0"/>
                  <a:pt x="30" y="0"/>
                </a:cubicBezTo>
                <a:cubicBezTo>
                  <a:pt x="30" y="0"/>
                  <a:pt x="30" y="0"/>
                  <a:pt x="30" y="0"/>
                </a:cubicBezTo>
                <a:cubicBezTo>
                  <a:pt x="702" y="0"/>
                  <a:pt x="702" y="0"/>
                  <a:pt x="702" y="0"/>
                </a:cubicBezTo>
                <a:cubicBezTo>
                  <a:pt x="719" y="0"/>
                  <a:pt x="732" y="14"/>
                  <a:pt x="732" y="31"/>
                </a:cubicBezTo>
                <a:cubicBezTo>
                  <a:pt x="732" y="31"/>
                  <a:pt x="732" y="31"/>
                  <a:pt x="732" y="31"/>
                </a:cubicBezTo>
                <a:cubicBezTo>
                  <a:pt x="732" y="53"/>
                  <a:pt x="732" y="53"/>
                  <a:pt x="732" y="53"/>
                </a:cubicBezTo>
                <a:cubicBezTo>
                  <a:pt x="732" y="57"/>
                  <a:pt x="729" y="61"/>
                  <a:pt x="724" y="61"/>
                </a:cubicBezTo>
                <a:cubicBezTo>
                  <a:pt x="724" y="61"/>
                  <a:pt x="724" y="61"/>
                  <a:pt x="724" y="61"/>
                </a:cubicBezTo>
                <a:cubicBezTo>
                  <a:pt x="720" y="61"/>
                  <a:pt x="716" y="57"/>
                  <a:pt x="716" y="53"/>
                </a:cubicBezTo>
                <a:cubicBezTo>
                  <a:pt x="716" y="53"/>
                  <a:pt x="716" y="53"/>
                  <a:pt x="716" y="53"/>
                </a:cubicBezTo>
                <a:cubicBezTo>
                  <a:pt x="716" y="31"/>
                  <a:pt x="716" y="31"/>
                  <a:pt x="716" y="31"/>
                </a:cubicBezTo>
                <a:cubicBezTo>
                  <a:pt x="716" y="22"/>
                  <a:pt x="710" y="16"/>
                  <a:pt x="702" y="16"/>
                </a:cubicBezTo>
                <a:cubicBezTo>
                  <a:pt x="702" y="16"/>
                  <a:pt x="702" y="16"/>
                  <a:pt x="702" y="16"/>
                </a:cubicBezTo>
                <a:cubicBezTo>
                  <a:pt x="30" y="16"/>
                  <a:pt x="30" y="16"/>
                  <a:pt x="30" y="16"/>
                </a:cubicBezTo>
                <a:cubicBezTo>
                  <a:pt x="22" y="16"/>
                  <a:pt x="16" y="22"/>
                  <a:pt x="16" y="31"/>
                </a:cubicBezTo>
                <a:cubicBezTo>
                  <a:pt x="16" y="31"/>
                  <a:pt x="16" y="31"/>
                  <a:pt x="16" y="31"/>
                </a:cubicBezTo>
                <a:cubicBezTo>
                  <a:pt x="16" y="878"/>
                  <a:pt x="16" y="878"/>
                  <a:pt x="16" y="878"/>
                </a:cubicBezTo>
                <a:cubicBezTo>
                  <a:pt x="16" y="886"/>
                  <a:pt x="22" y="893"/>
                  <a:pt x="30" y="893"/>
                </a:cubicBezTo>
                <a:cubicBezTo>
                  <a:pt x="30" y="893"/>
                  <a:pt x="30" y="893"/>
                  <a:pt x="30" y="893"/>
                </a:cubicBezTo>
                <a:cubicBezTo>
                  <a:pt x="702" y="893"/>
                  <a:pt x="702" y="893"/>
                  <a:pt x="702" y="893"/>
                </a:cubicBezTo>
                <a:cubicBezTo>
                  <a:pt x="710" y="893"/>
                  <a:pt x="716" y="886"/>
                  <a:pt x="716" y="878"/>
                </a:cubicBezTo>
                <a:cubicBezTo>
                  <a:pt x="716" y="878"/>
                  <a:pt x="716" y="878"/>
                  <a:pt x="716" y="878"/>
                </a:cubicBezTo>
                <a:cubicBezTo>
                  <a:pt x="716" y="82"/>
                  <a:pt x="716" y="82"/>
                  <a:pt x="716" y="82"/>
                </a:cubicBezTo>
                <a:cubicBezTo>
                  <a:pt x="716" y="82"/>
                  <a:pt x="716" y="82"/>
                  <a:pt x="716" y="82"/>
                </a:cubicBezTo>
                <a:cubicBezTo>
                  <a:pt x="716" y="78"/>
                  <a:pt x="720" y="74"/>
                  <a:pt x="724" y="74"/>
                </a:cubicBezTo>
                <a:cubicBezTo>
                  <a:pt x="724" y="74"/>
                  <a:pt x="724" y="74"/>
                  <a:pt x="724" y="74"/>
                </a:cubicBezTo>
                <a:cubicBezTo>
                  <a:pt x="729" y="74"/>
                  <a:pt x="732" y="78"/>
                  <a:pt x="732" y="82"/>
                </a:cubicBezTo>
                <a:cubicBezTo>
                  <a:pt x="732" y="82"/>
                  <a:pt x="732" y="82"/>
                  <a:pt x="732" y="82"/>
                </a:cubicBezTo>
                <a:cubicBezTo>
                  <a:pt x="732" y="878"/>
                  <a:pt x="732" y="878"/>
                  <a:pt x="732" y="878"/>
                </a:cubicBezTo>
                <a:cubicBezTo>
                  <a:pt x="732" y="895"/>
                  <a:pt x="719" y="909"/>
                  <a:pt x="702" y="909"/>
                </a:cubicBezTo>
                <a:cubicBezTo>
                  <a:pt x="702" y="909"/>
                  <a:pt x="702" y="909"/>
                  <a:pt x="702" y="909"/>
                </a:cubicBezTo>
                <a:cubicBezTo>
                  <a:pt x="30" y="909"/>
                  <a:pt x="30" y="909"/>
                  <a:pt x="30" y="909"/>
                </a:cubicBezTo>
                <a:close/>
              </a:path>
            </a:pathLst>
          </a:custGeom>
          <a:solidFill>
            <a:srgbClr val="92CCE5"/>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lstStyle/>
          <a:p>
            <a:pPr algn="l">
              <a:lnSpc>
                <a:spcPts val="1300"/>
              </a:lnSpc>
              <a:spcBef>
                <a:spcPts val="200"/>
              </a:spcBef>
              <a:defRPr/>
            </a:pPr>
            <a:r>
              <a:rPr lang="en-US" sz="1100" b="1" dirty="0"/>
              <a:t>Innovation</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Role Based Wizards</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Enhance SPOC capabilities</a:t>
            </a:r>
            <a:endParaRPr lang="en-US" sz="1100" dirty="0">
              <a:cs typeface="Arial" charset="0"/>
            </a:endParaRPr>
          </a:p>
          <a:p>
            <a:pPr algn="l">
              <a:lnSpc>
                <a:spcPts val="1300"/>
              </a:lnSpc>
              <a:spcBef>
                <a:spcPts val="200"/>
              </a:spcBef>
              <a:buClr>
                <a:srgbClr val="00A9D4"/>
              </a:buClr>
              <a:defRPr/>
            </a:pPr>
            <a:r>
              <a:rPr lang="en-US" sz="1100" b="1" dirty="0"/>
              <a:t>Efficiency</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Library of best practice modeled services</a:t>
            </a:r>
            <a:endParaRPr lang="en-US" sz="1100" dirty="0">
              <a:cs typeface="Arial" charset="0"/>
            </a:endParaRPr>
          </a:p>
          <a:p>
            <a:pPr algn="l">
              <a:lnSpc>
                <a:spcPts val="1300"/>
              </a:lnSpc>
              <a:spcBef>
                <a:spcPts val="200"/>
              </a:spcBef>
              <a:buClr>
                <a:srgbClr val="00A9D4"/>
              </a:buClr>
              <a:defRPr/>
            </a:pPr>
            <a:r>
              <a:rPr lang="en-US" sz="1100" b="1" dirty="0"/>
              <a:t>Evolution</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SaaS Offering: Shared instance across many clients</a:t>
            </a:r>
            <a:endParaRPr lang="en-US" sz="1100" dirty="0">
              <a:cs typeface="Arial" charset="0"/>
            </a:endParaRPr>
          </a:p>
          <a:p>
            <a:pPr algn="l">
              <a:lnSpc>
                <a:spcPts val="1300"/>
              </a:lnSpc>
              <a:spcBef>
                <a:spcPts val="200"/>
              </a:spcBef>
              <a:buClr>
                <a:srgbClr val="00A9D4"/>
              </a:buClr>
              <a:defRPr/>
            </a:pPr>
            <a:r>
              <a:rPr lang="en-US" sz="1100" b="1" dirty="0"/>
              <a:t>Experience</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Standard models for key 3PP vendors</a:t>
            </a:r>
            <a:endParaRPr lang="en-US" sz="1100" dirty="0">
              <a:cs typeface="Arial" charset="0"/>
            </a:endParaRPr>
          </a:p>
          <a:p>
            <a:pPr algn="l">
              <a:lnSpc>
                <a:spcPts val="1300"/>
              </a:lnSpc>
              <a:spcBef>
                <a:spcPts val="0"/>
              </a:spcBef>
              <a:defRPr/>
            </a:pPr>
            <a:endParaRPr lang="en-US" sz="1050" dirty="0"/>
          </a:p>
        </p:txBody>
      </p:sp>
      <p:sp>
        <p:nvSpPr>
          <p:cNvPr id="9233" name="Freeform 24"/>
          <p:cNvSpPr>
            <a:spLocks noChangeAspect="1"/>
          </p:cNvSpPr>
          <p:nvPr/>
        </p:nvSpPr>
        <p:spPr bwMode="auto">
          <a:xfrm>
            <a:off x="4638676" y="1776653"/>
            <a:ext cx="1851422" cy="573088"/>
          </a:xfrm>
          <a:custGeom>
            <a:avLst/>
            <a:gdLst>
              <a:gd name="T0" fmla="*/ 2147483647 w 733"/>
              <a:gd name="T1" fmla="*/ 2147483647 h 170"/>
              <a:gd name="T2" fmla="*/ 0 w 733"/>
              <a:gd name="T3" fmla="*/ 2147483647 h 170"/>
              <a:gd name="T4" fmla="*/ 0 w 733"/>
              <a:gd name="T5" fmla="*/ 2147483647 h 170"/>
              <a:gd name="T6" fmla="*/ 0 w 733"/>
              <a:gd name="T7" fmla="*/ 2147483647 h 170"/>
              <a:gd name="T8" fmla="*/ 2147483647 w 733"/>
              <a:gd name="T9" fmla="*/ 0 h 170"/>
              <a:gd name="T10" fmla="*/ 2147483647 w 733"/>
              <a:gd name="T11" fmla="*/ 0 h 170"/>
              <a:gd name="T12" fmla="*/ 2147483647 w 733"/>
              <a:gd name="T13" fmla="*/ 0 h 170"/>
              <a:gd name="T14" fmla="*/ 2147483647 w 733"/>
              <a:gd name="T15" fmla="*/ 2147483647 h 170"/>
              <a:gd name="T16" fmla="*/ 2147483647 w 733"/>
              <a:gd name="T17" fmla="*/ 2147483647 h 170"/>
              <a:gd name="T18" fmla="*/ 2147483647 w 733"/>
              <a:gd name="T19" fmla="*/ 2147483647 h 170"/>
              <a:gd name="T20" fmla="*/ 2147483647 w 733"/>
              <a:gd name="T21" fmla="*/ 2147483647 h 170"/>
              <a:gd name="T22" fmla="*/ 2147483647 w 733"/>
              <a:gd name="T23" fmla="*/ 2147483647 h 170"/>
              <a:gd name="T24" fmla="*/ 2147483647 w 733"/>
              <a:gd name="T25" fmla="*/ 2147483647 h 170"/>
              <a:gd name="T26" fmla="*/ 2147483647 w 733"/>
              <a:gd name="T27" fmla="*/ 2147483647 h 170"/>
              <a:gd name="T28" fmla="*/ 2147483647 w 733"/>
              <a:gd name="T29" fmla="*/ 2147483647 h 170"/>
              <a:gd name="T30" fmla="*/ 2147483647 w 733"/>
              <a:gd name="T31" fmla="*/ 2147483647 h 170"/>
              <a:gd name="T32" fmla="*/ 2147483647 w 733"/>
              <a:gd name="T33" fmla="*/ 2147483647 h 170"/>
              <a:gd name="T34" fmla="*/ 2147483647 w 733"/>
              <a:gd name="T35" fmla="*/ 2147483647 h 170"/>
              <a:gd name="T36" fmla="*/ 2147483647 w 733"/>
              <a:gd name="T37" fmla="*/ 2147483647 h 170"/>
              <a:gd name="T38" fmla="*/ 2147483647 w 733"/>
              <a:gd name="T39" fmla="*/ 2147483647 h 170"/>
              <a:gd name="T40" fmla="*/ 2147483647 w 733"/>
              <a:gd name="T41" fmla="*/ 2147483647 h 170"/>
              <a:gd name="T42" fmla="*/ 2147483647 w 733"/>
              <a:gd name="T43" fmla="*/ 2147483647 h 170"/>
              <a:gd name="T44" fmla="*/ 2147483647 w 733"/>
              <a:gd name="T45" fmla="*/ 2147483647 h 170"/>
              <a:gd name="T46" fmla="*/ 2147483647 w 733"/>
              <a:gd name="T47" fmla="*/ 2147483647 h 170"/>
              <a:gd name="T48" fmla="*/ 2147483647 w 733"/>
              <a:gd name="T49" fmla="*/ 2147483647 h 170"/>
              <a:gd name="T50" fmla="*/ 2147483647 w 733"/>
              <a:gd name="T51" fmla="*/ 2147483647 h 170"/>
              <a:gd name="T52" fmla="*/ 2147483647 w 733"/>
              <a:gd name="T53" fmla="*/ 2147483647 h 170"/>
              <a:gd name="T54" fmla="*/ 2147483647 w 733"/>
              <a:gd name="T55" fmla="*/ 2147483647 h 170"/>
              <a:gd name="T56" fmla="*/ 2147483647 w 733"/>
              <a:gd name="T57" fmla="*/ 2147483647 h 170"/>
              <a:gd name="T58" fmla="*/ 2147483647 w 733"/>
              <a:gd name="T59" fmla="*/ 2147483647 h 170"/>
              <a:gd name="T60" fmla="*/ 2147483647 w 733"/>
              <a:gd name="T61" fmla="*/ 2147483647 h 170"/>
              <a:gd name="T62" fmla="*/ 2147483647 w 733"/>
              <a:gd name="T63" fmla="*/ 2147483647 h 170"/>
              <a:gd name="T64" fmla="*/ 2147483647 w 733"/>
              <a:gd name="T65" fmla="*/ 2147483647 h 170"/>
              <a:gd name="T66" fmla="*/ 2147483647 w 733"/>
              <a:gd name="T67" fmla="*/ 2147483647 h 170"/>
              <a:gd name="T68" fmla="*/ 2147483647 w 733"/>
              <a:gd name="T69" fmla="*/ 2147483647 h 17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3"/>
              <a:gd name="T106" fmla="*/ 0 h 170"/>
              <a:gd name="T107" fmla="*/ 733 w 733"/>
              <a:gd name="T108" fmla="*/ 170 h 17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3" h="170">
                <a:moveTo>
                  <a:pt x="31" y="170"/>
                </a:moveTo>
                <a:cubicBezTo>
                  <a:pt x="14" y="170"/>
                  <a:pt x="0" y="156"/>
                  <a:pt x="0" y="139"/>
                </a:cubicBezTo>
                <a:cubicBezTo>
                  <a:pt x="0" y="139"/>
                  <a:pt x="0" y="139"/>
                  <a:pt x="0" y="139"/>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39"/>
                  <a:pt x="16" y="139"/>
                  <a:pt x="16" y="139"/>
                </a:cubicBezTo>
                <a:cubicBezTo>
                  <a:pt x="16" y="147"/>
                  <a:pt x="23" y="154"/>
                  <a:pt x="31" y="154"/>
                </a:cubicBezTo>
                <a:cubicBezTo>
                  <a:pt x="31" y="154"/>
                  <a:pt x="31" y="154"/>
                  <a:pt x="31" y="154"/>
                </a:cubicBezTo>
                <a:cubicBezTo>
                  <a:pt x="702" y="154"/>
                  <a:pt x="702" y="154"/>
                  <a:pt x="702" y="154"/>
                </a:cubicBezTo>
                <a:cubicBezTo>
                  <a:pt x="710" y="154"/>
                  <a:pt x="717" y="147"/>
                  <a:pt x="717" y="139"/>
                </a:cubicBezTo>
                <a:cubicBezTo>
                  <a:pt x="717" y="139"/>
                  <a:pt x="717" y="139"/>
                  <a:pt x="717" y="139"/>
                </a:cubicBezTo>
                <a:cubicBezTo>
                  <a:pt x="717" y="82"/>
                  <a:pt x="717" y="82"/>
                  <a:pt x="717" y="82"/>
                </a:cubicBezTo>
                <a:cubicBezTo>
                  <a:pt x="717" y="77"/>
                  <a:pt x="720" y="74"/>
                  <a:pt x="725" y="74"/>
                </a:cubicBezTo>
                <a:cubicBezTo>
                  <a:pt x="725" y="74"/>
                  <a:pt x="725" y="74"/>
                  <a:pt x="725" y="74"/>
                </a:cubicBezTo>
                <a:cubicBezTo>
                  <a:pt x="729" y="74"/>
                  <a:pt x="733" y="77"/>
                  <a:pt x="733" y="82"/>
                </a:cubicBezTo>
                <a:cubicBezTo>
                  <a:pt x="733" y="82"/>
                  <a:pt x="733" y="82"/>
                  <a:pt x="733" y="82"/>
                </a:cubicBezTo>
                <a:cubicBezTo>
                  <a:pt x="733" y="139"/>
                  <a:pt x="733" y="139"/>
                  <a:pt x="733" y="139"/>
                </a:cubicBezTo>
                <a:cubicBezTo>
                  <a:pt x="733" y="156"/>
                  <a:pt x="719" y="170"/>
                  <a:pt x="702" y="170"/>
                </a:cubicBezTo>
                <a:cubicBezTo>
                  <a:pt x="702" y="170"/>
                  <a:pt x="702" y="170"/>
                  <a:pt x="702" y="170"/>
                </a:cubicBezTo>
                <a:cubicBezTo>
                  <a:pt x="31" y="170"/>
                  <a:pt x="31" y="170"/>
                  <a:pt x="31" y="170"/>
                </a:cubicBezTo>
                <a:close/>
              </a:path>
            </a:pathLst>
          </a:custGeom>
          <a:solidFill>
            <a:srgbClr val="92CCE5"/>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bIns="82296" anchor="t"/>
          <a:lstStyle/>
          <a:p>
            <a:pPr algn="ctr">
              <a:spcBef>
                <a:spcPct val="50000"/>
              </a:spcBef>
            </a:pPr>
            <a:r>
              <a:rPr lang="en-US" sz="1600" dirty="0" smtClean="0">
                <a:solidFill>
                  <a:srgbClr val="58585A"/>
                </a:solidFill>
              </a:rPr>
              <a:t>Release 16.0</a:t>
            </a:r>
            <a:endParaRPr lang="en-US" sz="1600" dirty="0">
              <a:solidFill>
                <a:srgbClr val="58585A"/>
              </a:solidFill>
            </a:endParaRPr>
          </a:p>
        </p:txBody>
      </p:sp>
      <p:sp>
        <p:nvSpPr>
          <p:cNvPr id="98" name="Freeform 8"/>
          <p:cNvSpPr>
            <a:spLocks noChangeAspect="1"/>
          </p:cNvSpPr>
          <p:nvPr/>
        </p:nvSpPr>
        <p:spPr bwMode="auto">
          <a:xfrm>
            <a:off x="4638676" y="2417763"/>
            <a:ext cx="1851422" cy="3067050"/>
          </a:xfrm>
          <a:custGeom>
            <a:avLst/>
            <a:gdLst>
              <a:gd name="T0" fmla="*/ 2147483647 w 732"/>
              <a:gd name="T1" fmla="*/ 2147483647 h 909"/>
              <a:gd name="T2" fmla="*/ 0 w 732"/>
              <a:gd name="T3" fmla="*/ 2147483647 h 909"/>
              <a:gd name="T4" fmla="*/ 0 w 732"/>
              <a:gd name="T5" fmla="*/ 2147483647 h 909"/>
              <a:gd name="T6" fmla="*/ 0 w 732"/>
              <a:gd name="T7" fmla="*/ 2147483647 h 909"/>
              <a:gd name="T8" fmla="*/ 2147483647 w 732"/>
              <a:gd name="T9" fmla="*/ 0 h 909"/>
              <a:gd name="T10" fmla="*/ 2147483647 w 732"/>
              <a:gd name="T11" fmla="*/ 0 h 909"/>
              <a:gd name="T12" fmla="*/ 2147483647 w 732"/>
              <a:gd name="T13" fmla="*/ 0 h 909"/>
              <a:gd name="T14" fmla="*/ 2147483647 w 732"/>
              <a:gd name="T15" fmla="*/ 2147483647 h 909"/>
              <a:gd name="T16" fmla="*/ 2147483647 w 732"/>
              <a:gd name="T17" fmla="*/ 2147483647 h 909"/>
              <a:gd name="T18" fmla="*/ 2147483647 w 732"/>
              <a:gd name="T19" fmla="*/ 2147483647 h 909"/>
              <a:gd name="T20" fmla="*/ 2147483647 w 732"/>
              <a:gd name="T21" fmla="*/ 2147483647 h 909"/>
              <a:gd name="T22" fmla="*/ 2147483647 w 732"/>
              <a:gd name="T23" fmla="*/ 2147483647 h 909"/>
              <a:gd name="T24" fmla="*/ 2147483647 w 732"/>
              <a:gd name="T25" fmla="*/ 2147483647 h 909"/>
              <a:gd name="T26" fmla="*/ 2147483647 w 732"/>
              <a:gd name="T27" fmla="*/ 2147483647 h 909"/>
              <a:gd name="T28" fmla="*/ 2147483647 w 732"/>
              <a:gd name="T29" fmla="*/ 2147483647 h 909"/>
              <a:gd name="T30" fmla="*/ 2147483647 w 732"/>
              <a:gd name="T31" fmla="*/ 2147483647 h 909"/>
              <a:gd name="T32" fmla="*/ 2147483647 w 732"/>
              <a:gd name="T33" fmla="*/ 2147483647 h 909"/>
              <a:gd name="T34" fmla="*/ 2147483647 w 732"/>
              <a:gd name="T35" fmla="*/ 2147483647 h 909"/>
              <a:gd name="T36" fmla="*/ 2147483647 w 732"/>
              <a:gd name="T37" fmla="*/ 2147483647 h 909"/>
              <a:gd name="T38" fmla="*/ 2147483647 w 732"/>
              <a:gd name="T39" fmla="*/ 2147483647 h 909"/>
              <a:gd name="T40" fmla="*/ 2147483647 w 732"/>
              <a:gd name="T41" fmla="*/ 2147483647 h 909"/>
              <a:gd name="T42" fmla="*/ 2147483647 w 732"/>
              <a:gd name="T43" fmla="*/ 2147483647 h 909"/>
              <a:gd name="T44" fmla="*/ 2147483647 w 732"/>
              <a:gd name="T45" fmla="*/ 2147483647 h 909"/>
              <a:gd name="T46" fmla="*/ 2147483647 w 732"/>
              <a:gd name="T47" fmla="*/ 2147483647 h 909"/>
              <a:gd name="T48" fmla="*/ 2147483647 w 732"/>
              <a:gd name="T49" fmla="*/ 2147483647 h 909"/>
              <a:gd name="T50" fmla="*/ 2147483647 w 732"/>
              <a:gd name="T51" fmla="*/ 2147483647 h 909"/>
              <a:gd name="T52" fmla="*/ 2147483647 w 732"/>
              <a:gd name="T53" fmla="*/ 2147483647 h 909"/>
              <a:gd name="T54" fmla="*/ 2147483647 w 732"/>
              <a:gd name="T55" fmla="*/ 2147483647 h 909"/>
              <a:gd name="T56" fmla="*/ 2147483647 w 732"/>
              <a:gd name="T57" fmla="*/ 2147483647 h 909"/>
              <a:gd name="T58" fmla="*/ 2147483647 w 732"/>
              <a:gd name="T59" fmla="*/ 2147483647 h 909"/>
              <a:gd name="T60" fmla="*/ 2147483647 w 732"/>
              <a:gd name="T61" fmla="*/ 2147483647 h 909"/>
              <a:gd name="T62" fmla="*/ 2147483647 w 732"/>
              <a:gd name="T63" fmla="*/ 2147483647 h 909"/>
              <a:gd name="T64" fmla="*/ 2147483647 w 732"/>
              <a:gd name="T65" fmla="*/ 2147483647 h 909"/>
              <a:gd name="T66" fmla="*/ 2147483647 w 732"/>
              <a:gd name="T67" fmla="*/ 2147483647 h 909"/>
              <a:gd name="T68" fmla="*/ 2147483647 w 732"/>
              <a:gd name="T69" fmla="*/ 2147483647 h 909"/>
              <a:gd name="T70" fmla="*/ 2147483647 w 732"/>
              <a:gd name="T71" fmla="*/ 2147483647 h 9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32"/>
              <a:gd name="T109" fmla="*/ 0 h 909"/>
              <a:gd name="T110" fmla="*/ 732 w 732"/>
              <a:gd name="T111" fmla="*/ 909 h 9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32" h="909">
                <a:moveTo>
                  <a:pt x="30" y="909"/>
                </a:moveTo>
                <a:cubicBezTo>
                  <a:pt x="13" y="909"/>
                  <a:pt x="0" y="895"/>
                  <a:pt x="0" y="878"/>
                </a:cubicBezTo>
                <a:cubicBezTo>
                  <a:pt x="0" y="878"/>
                  <a:pt x="0" y="878"/>
                  <a:pt x="0" y="878"/>
                </a:cubicBezTo>
                <a:cubicBezTo>
                  <a:pt x="0" y="31"/>
                  <a:pt x="0" y="31"/>
                  <a:pt x="0" y="31"/>
                </a:cubicBezTo>
                <a:cubicBezTo>
                  <a:pt x="0" y="14"/>
                  <a:pt x="13" y="0"/>
                  <a:pt x="30" y="0"/>
                </a:cubicBezTo>
                <a:cubicBezTo>
                  <a:pt x="30" y="0"/>
                  <a:pt x="30" y="0"/>
                  <a:pt x="30" y="0"/>
                </a:cubicBezTo>
                <a:cubicBezTo>
                  <a:pt x="702" y="0"/>
                  <a:pt x="702" y="0"/>
                  <a:pt x="702" y="0"/>
                </a:cubicBezTo>
                <a:cubicBezTo>
                  <a:pt x="719" y="0"/>
                  <a:pt x="732" y="14"/>
                  <a:pt x="732" y="31"/>
                </a:cubicBezTo>
                <a:cubicBezTo>
                  <a:pt x="732" y="31"/>
                  <a:pt x="732" y="31"/>
                  <a:pt x="732" y="31"/>
                </a:cubicBezTo>
                <a:cubicBezTo>
                  <a:pt x="732" y="53"/>
                  <a:pt x="732" y="53"/>
                  <a:pt x="732" y="53"/>
                </a:cubicBezTo>
                <a:cubicBezTo>
                  <a:pt x="732" y="57"/>
                  <a:pt x="729" y="61"/>
                  <a:pt x="724" y="61"/>
                </a:cubicBezTo>
                <a:cubicBezTo>
                  <a:pt x="724" y="61"/>
                  <a:pt x="724" y="61"/>
                  <a:pt x="724" y="61"/>
                </a:cubicBezTo>
                <a:cubicBezTo>
                  <a:pt x="720" y="61"/>
                  <a:pt x="716" y="57"/>
                  <a:pt x="716" y="53"/>
                </a:cubicBezTo>
                <a:cubicBezTo>
                  <a:pt x="716" y="53"/>
                  <a:pt x="716" y="53"/>
                  <a:pt x="716" y="53"/>
                </a:cubicBezTo>
                <a:cubicBezTo>
                  <a:pt x="716" y="31"/>
                  <a:pt x="716" y="31"/>
                  <a:pt x="716" y="31"/>
                </a:cubicBezTo>
                <a:cubicBezTo>
                  <a:pt x="716" y="22"/>
                  <a:pt x="710" y="16"/>
                  <a:pt x="702" y="16"/>
                </a:cubicBezTo>
                <a:cubicBezTo>
                  <a:pt x="702" y="16"/>
                  <a:pt x="702" y="16"/>
                  <a:pt x="702" y="16"/>
                </a:cubicBezTo>
                <a:cubicBezTo>
                  <a:pt x="30" y="16"/>
                  <a:pt x="30" y="16"/>
                  <a:pt x="30" y="16"/>
                </a:cubicBezTo>
                <a:cubicBezTo>
                  <a:pt x="22" y="16"/>
                  <a:pt x="16" y="22"/>
                  <a:pt x="16" y="31"/>
                </a:cubicBezTo>
                <a:cubicBezTo>
                  <a:pt x="16" y="31"/>
                  <a:pt x="16" y="31"/>
                  <a:pt x="16" y="31"/>
                </a:cubicBezTo>
                <a:cubicBezTo>
                  <a:pt x="16" y="878"/>
                  <a:pt x="16" y="878"/>
                  <a:pt x="16" y="878"/>
                </a:cubicBezTo>
                <a:cubicBezTo>
                  <a:pt x="16" y="886"/>
                  <a:pt x="22" y="893"/>
                  <a:pt x="30" y="893"/>
                </a:cubicBezTo>
                <a:cubicBezTo>
                  <a:pt x="30" y="893"/>
                  <a:pt x="30" y="893"/>
                  <a:pt x="30" y="893"/>
                </a:cubicBezTo>
                <a:cubicBezTo>
                  <a:pt x="702" y="893"/>
                  <a:pt x="702" y="893"/>
                  <a:pt x="702" y="893"/>
                </a:cubicBezTo>
                <a:cubicBezTo>
                  <a:pt x="710" y="893"/>
                  <a:pt x="716" y="886"/>
                  <a:pt x="716" y="878"/>
                </a:cubicBezTo>
                <a:cubicBezTo>
                  <a:pt x="716" y="878"/>
                  <a:pt x="716" y="878"/>
                  <a:pt x="716" y="878"/>
                </a:cubicBezTo>
                <a:cubicBezTo>
                  <a:pt x="716" y="82"/>
                  <a:pt x="716" y="82"/>
                  <a:pt x="716" y="82"/>
                </a:cubicBezTo>
                <a:cubicBezTo>
                  <a:pt x="716" y="82"/>
                  <a:pt x="716" y="82"/>
                  <a:pt x="716" y="82"/>
                </a:cubicBezTo>
                <a:cubicBezTo>
                  <a:pt x="716" y="78"/>
                  <a:pt x="720" y="74"/>
                  <a:pt x="724" y="74"/>
                </a:cubicBezTo>
                <a:cubicBezTo>
                  <a:pt x="724" y="74"/>
                  <a:pt x="724" y="74"/>
                  <a:pt x="724" y="74"/>
                </a:cubicBezTo>
                <a:cubicBezTo>
                  <a:pt x="729" y="74"/>
                  <a:pt x="732" y="78"/>
                  <a:pt x="732" y="82"/>
                </a:cubicBezTo>
                <a:cubicBezTo>
                  <a:pt x="732" y="82"/>
                  <a:pt x="732" y="82"/>
                  <a:pt x="732" y="82"/>
                </a:cubicBezTo>
                <a:cubicBezTo>
                  <a:pt x="732" y="878"/>
                  <a:pt x="732" y="878"/>
                  <a:pt x="732" y="878"/>
                </a:cubicBezTo>
                <a:cubicBezTo>
                  <a:pt x="732" y="895"/>
                  <a:pt x="719" y="909"/>
                  <a:pt x="702" y="909"/>
                </a:cubicBezTo>
                <a:cubicBezTo>
                  <a:pt x="702" y="909"/>
                  <a:pt x="702" y="909"/>
                  <a:pt x="702" y="909"/>
                </a:cubicBezTo>
                <a:cubicBezTo>
                  <a:pt x="30" y="909"/>
                  <a:pt x="30" y="909"/>
                  <a:pt x="30" y="909"/>
                </a:cubicBezTo>
                <a:close/>
              </a:path>
            </a:pathLst>
          </a:custGeom>
          <a:solidFill>
            <a:srgbClr val="92CCE5"/>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lstStyle/>
          <a:p>
            <a:pPr algn="l">
              <a:lnSpc>
                <a:spcPts val="1300"/>
              </a:lnSpc>
              <a:spcBef>
                <a:spcPts val="0"/>
              </a:spcBef>
              <a:defRPr/>
            </a:pPr>
            <a:r>
              <a:rPr lang="en-US" sz="1100" b="1" dirty="0"/>
              <a:t>Innovation</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Extend support for Catalog Driven including Billing, Self-Care and CRM</a:t>
            </a:r>
          </a:p>
          <a:p>
            <a:pPr marL="0" lvl="1" algn="l">
              <a:lnSpc>
                <a:spcPts val="1300"/>
              </a:lnSpc>
              <a:spcBef>
                <a:spcPts val="200"/>
              </a:spcBef>
              <a:buClr>
                <a:srgbClr val="00A9D4"/>
              </a:buClr>
              <a:defRPr/>
            </a:pPr>
            <a:r>
              <a:rPr lang="en-US" sz="1100" b="1" dirty="0"/>
              <a:t>Efficiency</a:t>
            </a:r>
            <a:endParaRPr lang="en-CA" sz="1100" dirty="0">
              <a:cs typeface="Arial" charset="0"/>
            </a:endParaRP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MEF best practice modeled services</a:t>
            </a:r>
            <a:endParaRPr lang="en-US" sz="1100" dirty="0">
              <a:cs typeface="Arial" charset="0"/>
            </a:endParaRPr>
          </a:p>
          <a:p>
            <a:pPr algn="l">
              <a:lnSpc>
                <a:spcPts val="1300"/>
              </a:lnSpc>
              <a:spcBef>
                <a:spcPts val="200"/>
              </a:spcBef>
              <a:defRPr/>
            </a:pPr>
            <a:r>
              <a:rPr lang="en-US" sz="1100" b="1" dirty="0"/>
              <a:t>Evolution</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Lead to Service Offering Support</a:t>
            </a:r>
          </a:p>
          <a:p>
            <a:pPr algn="l">
              <a:lnSpc>
                <a:spcPts val="1300"/>
              </a:lnSpc>
              <a:spcBef>
                <a:spcPts val="200"/>
              </a:spcBef>
              <a:buClr>
                <a:srgbClr val="00A9D4"/>
              </a:buClr>
              <a:defRPr/>
            </a:pPr>
            <a:r>
              <a:rPr lang="en-US" sz="1100" b="1" dirty="0"/>
              <a:t>Experience</a:t>
            </a:r>
          </a:p>
          <a:p>
            <a:pPr marL="111125" lvl="1" indent="-111125" algn="l">
              <a:lnSpc>
                <a:spcPts val="1300"/>
              </a:lnSpc>
              <a:spcBef>
                <a:spcPts val="0"/>
              </a:spcBef>
              <a:buClr>
                <a:srgbClr val="00A9D4"/>
              </a:buClr>
              <a:buFont typeface="Arial" panose="020B0604020202020204" pitchFamily="34" charset="0"/>
              <a:buChar char="›"/>
              <a:defRPr/>
            </a:pPr>
            <a:r>
              <a:rPr lang="en-US" sz="1100" dirty="0">
                <a:cs typeface="Arial" charset="0"/>
              </a:rPr>
              <a:t>Look and feel improved</a:t>
            </a:r>
          </a:p>
          <a:p>
            <a:pPr marL="111125" lvl="1" indent="-111125" algn="l">
              <a:lnSpc>
                <a:spcPts val="1300"/>
              </a:lnSpc>
              <a:spcBef>
                <a:spcPts val="0"/>
              </a:spcBef>
              <a:buClr>
                <a:srgbClr val="00A9D4"/>
              </a:buClr>
              <a:buFont typeface="Arial" panose="020B0604020202020204" pitchFamily="34" charset="0"/>
              <a:buChar char="›"/>
              <a:defRPr/>
            </a:pPr>
            <a:r>
              <a:rPr lang="en-US" sz="1100" dirty="0">
                <a:cs typeface="Arial" charset="0"/>
              </a:rPr>
              <a:t>Demo</a:t>
            </a:r>
          </a:p>
          <a:p>
            <a:pPr marL="111125" lvl="1" indent="-111125" algn="l">
              <a:lnSpc>
                <a:spcPts val="1300"/>
              </a:lnSpc>
              <a:spcBef>
                <a:spcPts val="0"/>
              </a:spcBef>
              <a:buClr>
                <a:srgbClr val="00A9D4"/>
              </a:buClr>
              <a:buFont typeface="Arial" panose="020B0604020202020204" pitchFamily="34" charset="0"/>
              <a:buChar char="›"/>
              <a:defRPr/>
            </a:pPr>
            <a:endParaRPr lang="en-US" sz="1050" dirty="0">
              <a:cs typeface="Arial" charset="0"/>
            </a:endParaRPr>
          </a:p>
        </p:txBody>
      </p:sp>
      <p:sp>
        <p:nvSpPr>
          <p:cNvPr id="9235" name="Freeform 7"/>
          <p:cNvSpPr>
            <a:spLocks noChangeAspect="1"/>
          </p:cNvSpPr>
          <p:nvPr/>
        </p:nvSpPr>
        <p:spPr bwMode="auto">
          <a:xfrm flipV="1">
            <a:off x="4210054" y="5557838"/>
            <a:ext cx="396479" cy="317500"/>
          </a:xfrm>
          <a:custGeom>
            <a:avLst/>
            <a:gdLst>
              <a:gd name="T0" fmla="*/ 2147483647 w 265"/>
              <a:gd name="T1" fmla="*/ 2147483647 h 211"/>
              <a:gd name="T2" fmla="*/ 2147483647 w 265"/>
              <a:gd name="T3" fmla="*/ 2147483647 h 211"/>
              <a:gd name="T4" fmla="*/ 2147483647 w 265"/>
              <a:gd name="T5" fmla="*/ 0 h 211"/>
              <a:gd name="T6" fmla="*/ 2147483647 w 265"/>
              <a:gd name="T7" fmla="*/ 2147483647 h 211"/>
              <a:gd name="T8" fmla="*/ 2147483647 w 265"/>
              <a:gd name="T9" fmla="*/ 2147483647 h 211"/>
              <a:gd name="T10" fmla="*/ 0 w 265"/>
              <a:gd name="T11" fmla="*/ 2147483647 h 211"/>
              <a:gd name="T12" fmla="*/ 0 w 265"/>
              <a:gd name="T13" fmla="*/ 2147483647 h 211"/>
              <a:gd name="T14" fmla="*/ 2147483647 w 265"/>
              <a:gd name="T15" fmla="*/ 2147483647 h 211"/>
              <a:gd name="T16" fmla="*/ 2147483647 w 265"/>
              <a:gd name="T17" fmla="*/ 2147483647 h 211"/>
              <a:gd name="T18" fmla="*/ 2147483647 w 265"/>
              <a:gd name="T19" fmla="*/ 2147483647 h 211"/>
              <a:gd name="T20" fmla="*/ 2147483647 w 265"/>
              <a:gd name="T21" fmla="*/ 2147483647 h 211"/>
              <a:gd name="T22" fmla="*/ 2147483647 w 265"/>
              <a:gd name="T23" fmla="*/ 2147483647 h 2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5"/>
              <a:gd name="T37" fmla="*/ 0 h 211"/>
              <a:gd name="T38" fmla="*/ 265 w 265"/>
              <a:gd name="T39" fmla="*/ 211 h 2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5" h="211">
                <a:moveTo>
                  <a:pt x="247" y="85"/>
                </a:moveTo>
                <a:cubicBezTo>
                  <a:pt x="154" y="6"/>
                  <a:pt x="154" y="6"/>
                  <a:pt x="154" y="6"/>
                </a:cubicBezTo>
                <a:cubicBezTo>
                  <a:pt x="154" y="6"/>
                  <a:pt x="146" y="0"/>
                  <a:pt x="132" y="0"/>
                </a:cubicBezTo>
                <a:cubicBezTo>
                  <a:pt x="119" y="0"/>
                  <a:pt x="111" y="6"/>
                  <a:pt x="111" y="6"/>
                </a:cubicBezTo>
                <a:cubicBezTo>
                  <a:pt x="21" y="82"/>
                  <a:pt x="21" y="82"/>
                  <a:pt x="21" y="82"/>
                </a:cubicBezTo>
                <a:cubicBezTo>
                  <a:pt x="21" y="82"/>
                  <a:pt x="0" y="100"/>
                  <a:pt x="0" y="118"/>
                </a:cubicBezTo>
                <a:cubicBezTo>
                  <a:pt x="0" y="125"/>
                  <a:pt x="0" y="176"/>
                  <a:pt x="0" y="190"/>
                </a:cubicBezTo>
                <a:cubicBezTo>
                  <a:pt x="0" y="202"/>
                  <a:pt x="10" y="211"/>
                  <a:pt x="21" y="211"/>
                </a:cubicBezTo>
                <a:cubicBezTo>
                  <a:pt x="243" y="211"/>
                  <a:pt x="243" y="211"/>
                  <a:pt x="243" y="211"/>
                </a:cubicBezTo>
                <a:cubicBezTo>
                  <a:pt x="255" y="211"/>
                  <a:pt x="265" y="202"/>
                  <a:pt x="265" y="190"/>
                </a:cubicBezTo>
                <a:cubicBezTo>
                  <a:pt x="265" y="175"/>
                  <a:pt x="265" y="125"/>
                  <a:pt x="265" y="118"/>
                </a:cubicBezTo>
                <a:cubicBezTo>
                  <a:pt x="265" y="100"/>
                  <a:pt x="247" y="85"/>
                  <a:pt x="247" y="85"/>
                </a:cubicBezTo>
                <a:close/>
              </a:path>
            </a:pathLst>
          </a:cu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rot="10800000" lIns="0" rIns="0"/>
          <a:lstStyle/>
          <a:p>
            <a:pPr algn="ctr">
              <a:spcBef>
                <a:spcPct val="50000"/>
              </a:spcBef>
            </a:pPr>
            <a:r>
              <a:rPr lang="en-US" sz="1000" b="1">
                <a:solidFill>
                  <a:schemeClr val="bg1"/>
                </a:solidFill>
                <a:cs typeface="Times New Roman" pitchFamily="18" charset="0"/>
              </a:rPr>
              <a:t>14.2</a:t>
            </a:r>
            <a:endParaRPr lang="en-US" sz="1000" b="1">
              <a:solidFill>
                <a:schemeClr val="bg1"/>
              </a:solidFill>
            </a:endParaRPr>
          </a:p>
        </p:txBody>
      </p:sp>
      <p:sp>
        <p:nvSpPr>
          <p:cNvPr id="92" name="Freeform 8"/>
          <p:cNvSpPr>
            <a:spLocks noChangeAspect="1"/>
          </p:cNvSpPr>
          <p:nvPr/>
        </p:nvSpPr>
        <p:spPr bwMode="auto">
          <a:xfrm>
            <a:off x="661990" y="2414588"/>
            <a:ext cx="1851422" cy="3067050"/>
          </a:xfrm>
          <a:custGeom>
            <a:avLst/>
            <a:gdLst>
              <a:gd name="T0" fmla="*/ 2147483647 w 732"/>
              <a:gd name="T1" fmla="*/ 2147483647 h 909"/>
              <a:gd name="T2" fmla="*/ 0 w 732"/>
              <a:gd name="T3" fmla="*/ 2147483647 h 909"/>
              <a:gd name="T4" fmla="*/ 0 w 732"/>
              <a:gd name="T5" fmla="*/ 2147483647 h 909"/>
              <a:gd name="T6" fmla="*/ 0 w 732"/>
              <a:gd name="T7" fmla="*/ 2147483647 h 909"/>
              <a:gd name="T8" fmla="*/ 2147483647 w 732"/>
              <a:gd name="T9" fmla="*/ 0 h 909"/>
              <a:gd name="T10" fmla="*/ 2147483647 w 732"/>
              <a:gd name="T11" fmla="*/ 0 h 909"/>
              <a:gd name="T12" fmla="*/ 2147483647 w 732"/>
              <a:gd name="T13" fmla="*/ 0 h 909"/>
              <a:gd name="T14" fmla="*/ 2147483647 w 732"/>
              <a:gd name="T15" fmla="*/ 2147483647 h 909"/>
              <a:gd name="T16" fmla="*/ 2147483647 w 732"/>
              <a:gd name="T17" fmla="*/ 2147483647 h 909"/>
              <a:gd name="T18" fmla="*/ 2147483647 w 732"/>
              <a:gd name="T19" fmla="*/ 2147483647 h 909"/>
              <a:gd name="T20" fmla="*/ 2147483647 w 732"/>
              <a:gd name="T21" fmla="*/ 2147483647 h 909"/>
              <a:gd name="T22" fmla="*/ 2147483647 w 732"/>
              <a:gd name="T23" fmla="*/ 2147483647 h 909"/>
              <a:gd name="T24" fmla="*/ 2147483647 w 732"/>
              <a:gd name="T25" fmla="*/ 2147483647 h 909"/>
              <a:gd name="T26" fmla="*/ 2147483647 w 732"/>
              <a:gd name="T27" fmla="*/ 2147483647 h 909"/>
              <a:gd name="T28" fmla="*/ 2147483647 w 732"/>
              <a:gd name="T29" fmla="*/ 2147483647 h 909"/>
              <a:gd name="T30" fmla="*/ 2147483647 w 732"/>
              <a:gd name="T31" fmla="*/ 2147483647 h 909"/>
              <a:gd name="T32" fmla="*/ 2147483647 w 732"/>
              <a:gd name="T33" fmla="*/ 2147483647 h 909"/>
              <a:gd name="T34" fmla="*/ 2147483647 w 732"/>
              <a:gd name="T35" fmla="*/ 2147483647 h 909"/>
              <a:gd name="T36" fmla="*/ 2147483647 w 732"/>
              <a:gd name="T37" fmla="*/ 2147483647 h 909"/>
              <a:gd name="T38" fmla="*/ 2147483647 w 732"/>
              <a:gd name="T39" fmla="*/ 2147483647 h 909"/>
              <a:gd name="T40" fmla="*/ 2147483647 w 732"/>
              <a:gd name="T41" fmla="*/ 2147483647 h 909"/>
              <a:gd name="T42" fmla="*/ 2147483647 w 732"/>
              <a:gd name="T43" fmla="*/ 2147483647 h 909"/>
              <a:gd name="T44" fmla="*/ 2147483647 w 732"/>
              <a:gd name="T45" fmla="*/ 2147483647 h 909"/>
              <a:gd name="T46" fmla="*/ 2147483647 w 732"/>
              <a:gd name="T47" fmla="*/ 2147483647 h 909"/>
              <a:gd name="T48" fmla="*/ 2147483647 w 732"/>
              <a:gd name="T49" fmla="*/ 2147483647 h 909"/>
              <a:gd name="T50" fmla="*/ 2147483647 w 732"/>
              <a:gd name="T51" fmla="*/ 2147483647 h 909"/>
              <a:gd name="T52" fmla="*/ 2147483647 w 732"/>
              <a:gd name="T53" fmla="*/ 2147483647 h 909"/>
              <a:gd name="T54" fmla="*/ 2147483647 w 732"/>
              <a:gd name="T55" fmla="*/ 2147483647 h 909"/>
              <a:gd name="T56" fmla="*/ 2147483647 w 732"/>
              <a:gd name="T57" fmla="*/ 2147483647 h 909"/>
              <a:gd name="T58" fmla="*/ 2147483647 w 732"/>
              <a:gd name="T59" fmla="*/ 2147483647 h 909"/>
              <a:gd name="T60" fmla="*/ 2147483647 w 732"/>
              <a:gd name="T61" fmla="*/ 2147483647 h 909"/>
              <a:gd name="T62" fmla="*/ 2147483647 w 732"/>
              <a:gd name="T63" fmla="*/ 2147483647 h 909"/>
              <a:gd name="T64" fmla="*/ 2147483647 w 732"/>
              <a:gd name="T65" fmla="*/ 2147483647 h 909"/>
              <a:gd name="T66" fmla="*/ 2147483647 w 732"/>
              <a:gd name="T67" fmla="*/ 2147483647 h 909"/>
              <a:gd name="T68" fmla="*/ 2147483647 w 732"/>
              <a:gd name="T69" fmla="*/ 2147483647 h 909"/>
              <a:gd name="T70" fmla="*/ 2147483647 w 732"/>
              <a:gd name="T71" fmla="*/ 2147483647 h 9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32"/>
              <a:gd name="T109" fmla="*/ 0 h 909"/>
              <a:gd name="T110" fmla="*/ 732 w 732"/>
              <a:gd name="T111" fmla="*/ 909 h 9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32" h="909">
                <a:moveTo>
                  <a:pt x="30" y="909"/>
                </a:moveTo>
                <a:cubicBezTo>
                  <a:pt x="13" y="909"/>
                  <a:pt x="0" y="895"/>
                  <a:pt x="0" y="878"/>
                </a:cubicBezTo>
                <a:cubicBezTo>
                  <a:pt x="0" y="878"/>
                  <a:pt x="0" y="878"/>
                  <a:pt x="0" y="878"/>
                </a:cubicBezTo>
                <a:cubicBezTo>
                  <a:pt x="0" y="31"/>
                  <a:pt x="0" y="31"/>
                  <a:pt x="0" y="31"/>
                </a:cubicBezTo>
                <a:cubicBezTo>
                  <a:pt x="0" y="14"/>
                  <a:pt x="13" y="0"/>
                  <a:pt x="30" y="0"/>
                </a:cubicBezTo>
                <a:cubicBezTo>
                  <a:pt x="30" y="0"/>
                  <a:pt x="30" y="0"/>
                  <a:pt x="30" y="0"/>
                </a:cubicBezTo>
                <a:cubicBezTo>
                  <a:pt x="702" y="0"/>
                  <a:pt x="702" y="0"/>
                  <a:pt x="702" y="0"/>
                </a:cubicBezTo>
                <a:cubicBezTo>
                  <a:pt x="719" y="0"/>
                  <a:pt x="732" y="14"/>
                  <a:pt x="732" y="31"/>
                </a:cubicBezTo>
                <a:cubicBezTo>
                  <a:pt x="732" y="31"/>
                  <a:pt x="732" y="31"/>
                  <a:pt x="732" y="31"/>
                </a:cubicBezTo>
                <a:cubicBezTo>
                  <a:pt x="732" y="53"/>
                  <a:pt x="732" y="53"/>
                  <a:pt x="732" y="53"/>
                </a:cubicBezTo>
                <a:cubicBezTo>
                  <a:pt x="732" y="57"/>
                  <a:pt x="729" y="61"/>
                  <a:pt x="724" y="61"/>
                </a:cubicBezTo>
                <a:cubicBezTo>
                  <a:pt x="724" y="61"/>
                  <a:pt x="724" y="61"/>
                  <a:pt x="724" y="61"/>
                </a:cubicBezTo>
                <a:cubicBezTo>
                  <a:pt x="720" y="61"/>
                  <a:pt x="716" y="57"/>
                  <a:pt x="716" y="53"/>
                </a:cubicBezTo>
                <a:cubicBezTo>
                  <a:pt x="716" y="53"/>
                  <a:pt x="716" y="53"/>
                  <a:pt x="716" y="53"/>
                </a:cubicBezTo>
                <a:cubicBezTo>
                  <a:pt x="716" y="31"/>
                  <a:pt x="716" y="31"/>
                  <a:pt x="716" y="31"/>
                </a:cubicBezTo>
                <a:cubicBezTo>
                  <a:pt x="716" y="22"/>
                  <a:pt x="710" y="16"/>
                  <a:pt x="702" y="16"/>
                </a:cubicBezTo>
                <a:cubicBezTo>
                  <a:pt x="702" y="16"/>
                  <a:pt x="702" y="16"/>
                  <a:pt x="702" y="16"/>
                </a:cubicBezTo>
                <a:cubicBezTo>
                  <a:pt x="30" y="16"/>
                  <a:pt x="30" y="16"/>
                  <a:pt x="30" y="16"/>
                </a:cubicBezTo>
                <a:cubicBezTo>
                  <a:pt x="22" y="16"/>
                  <a:pt x="16" y="22"/>
                  <a:pt x="16" y="31"/>
                </a:cubicBezTo>
                <a:cubicBezTo>
                  <a:pt x="16" y="31"/>
                  <a:pt x="16" y="31"/>
                  <a:pt x="16" y="31"/>
                </a:cubicBezTo>
                <a:cubicBezTo>
                  <a:pt x="16" y="878"/>
                  <a:pt x="16" y="878"/>
                  <a:pt x="16" y="878"/>
                </a:cubicBezTo>
                <a:cubicBezTo>
                  <a:pt x="16" y="886"/>
                  <a:pt x="22" y="893"/>
                  <a:pt x="30" y="893"/>
                </a:cubicBezTo>
                <a:cubicBezTo>
                  <a:pt x="30" y="893"/>
                  <a:pt x="30" y="893"/>
                  <a:pt x="30" y="893"/>
                </a:cubicBezTo>
                <a:cubicBezTo>
                  <a:pt x="702" y="893"/>
                  <a:pt x="702" y="893"/>
                  <a:pt x="702" y="893"/>
                </a:cubicBezTo>
                <a:cubicBezTo>
                  <a:pt x="710" y="893"/>
                  <a:pt x="716" y="886"/>
                  <a:pt x="716" y="878"/>
                </a:cubicBezTo>
                <a:cubicBezTo>
                  <a:pt x="716" y="878"/>
                  <a:pt x="716" y="878"/>
                  <a:pt x="716" y="878"/>
                </a:cubicBezTo>
                <a:cubicBezTo>
                  <a:pt x="716" y="82"/>
                  <a:pt x="716" y="82"/>
                  <a:pt x="716" y="82"/>
                </a:cubicBezTo>
                <a:cubicBezTo>
                  <a:pt x="716" y="82"/>
                  <a:pt x="716" y="82"/>
                  <a:pt x="716" y="82"/>
                </a:cubicBezTo>
                <a:cubicBezTo>
                  <a:pt x="716" y="78"/>
                  <a:pt x="720" y="74"/>
                  <a:pt x="724" y="74"/>
                </a:cubicBezTo>
                <a:cubicBezTo>
                  <a:pt x="724" y="74"/>
                  <a:pt x="724" y="74"/>
                  <a:pt x="724" y="74"/>
                </a:cubicBezTo>
                <a:cubicBezTo>
                  <a:pt x="729" y="74"/>
                  <a:pt x="732" y="78"/>
                  <a:pt x="732" y="82"/>
                </a:cubicBezTo>
                <a:cubicBezTo>
                  <a:pt x="732" y="82"/>
                  <a:pt x="732" y="82"/>
                  <a:pt x="732" y="82"/>
                </a:cubicBezTo>
                <a:cubicBezTo>
                  <a:pt x="732" y="878"/>
                  <a:pt x="732" y="878"/>
                  <a:pt x="732" y="878"/>
                </a:cubicBezTo>
                <a:cubicBezTo>
                  <a:pt x="732" y="895"/>
                  <a:pt x="719" y="909"/>
                  <a:pt x="702" y="909"/>
                </a:cubicBezTo>
                <a:cubicBezTo>
                  <a:pt x="702" y="909"/>
                  <a:pt x="702" y="909"/>
                  <a:pt x="702" y="909"/>
                </a:cubicBezTo>
                <a:cubicBezTo>
                  <a:pt x="30" y="909"/>
                  <a:pt x="30" y="909"/>
                  <a:pt x="30" y="909"/>
                </a:cubicBezTo>
                <a:close/>
              </a:path>
            </a:pathLst>
          </a:custGeom>
          <a:solidFill>
            <a:srgbClr val="89BA17"/>
          </a:solidFill>
          <a:ln w="9525">
            <a:solidFill>
              <a:srgbClr val="89BA17"/>
            </a:solidFill>
            <a:round/>
            <a:headEnd/>
            <a:tailEnd/>
          </a:ln>
          <a:extLst/>
        </p:spPr>
        <p:txBody>
          <a:bodyPr lIns="126000" tIns="82800" rIns="126000"/>
          <a:lstStyle/>
          <a:p>
            <a:pPr algn="l">
              <a:lnSpc>
                <a:spcPts val="1300"/>
              </a:lnSpc>
              <a:spcBef>
                <a:spcPts val="0"/>
              </a:spcBef>
              <a:defRPr/>
            </a:pPr>
            <a:r>
              <a:rPr lang="en-US" sz="1200" b="1" dirty="0"/>
              <a:t>Innovation</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Catalog driven Charging</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Catalog Driven Policy</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Catalog Driven Fulfilment</a:t>
            </a:r>
          </a:p>
          <a:p>
            <a:pPr algn="l">
              <a:lnSpc>
                <a:spcPts val="1300"/>
              </a:lnSpc>
              <a:spcBef>
                <a:spcPts val="200"/>
              </a:spcBef>
              <a:buClr>
                <a:srgbClr val="00A9D4"/>
              </a:buClr>
              <a:defRPr/>
            </a:pPr>
            <a:r>
              <a:rPr lang="en-US" sz="1200" b="1" dirty="0"/>
              <a:t>Efficiency</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Mapping between Entities</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Charging best practice modeled services</a:t>
            </a:r>
            <a:endParaRPr lang="en-US" sz="1100" dirty="0"/>
          </a:p>
          <a:p>
            <a:pPr algn="l">
              <a:lnSpc>
                <a:spcPts val="1300"/>
              </a:lnSpc>
              <a:spcBef>
                <a:spcPts val="200"/>
              </a:spcBef>
              <a:buClr>
                <a:srgbClr val="00A9D4"/>
              </a:buClr>
              <a:defRPr/>
            </a:pPr>
            <a:r>
              <a:rPr lang="en-US" sz="1200" b="1" dirty="0"/>
              <a:t>Evolution</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Role based UI</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New TMF Entities</a:t>
            </a:r>
          </a:p>
          <a:p>
            <a:pPr algn="l">
              <a:lnSpc>
                <a:spcPts val="1300"/>
              </a:lnSpc>
              <a:spcBef>
                <a:spcPts val="200"/>
              </a:spcBef>
              <a:buClr>
                <a:srgbClr val="00A9D4"/>
              </a:buClr>
              <a:defRPr/>
            </a:pPr>
            <a:r>
              <a:rPr lang="en-US" sz="1200" b="1" dirty="0"/>
              <a:t>Experience</a:t>
            </a:r>
            <a:endParaRPr lang="en-US" sz="1200" dirty="0"/>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Best Practice Tutorial</a:t>
            </a:r>
          </a:p>
          <a:p>
            <a:pPr marL="111125" lvl="1" indent="-111125" algn="l">
              <a:lnSpc>
                <a:spcPts val="1300"/>
              </a:lnSpc>
              <a:spcBef>
                <a:spcPts val="0"/>
              </a:spcBef>
              <a:buClr>
                <a:srgbClr val="00A9D4"/>
              </a:buClr>
              <a:buFont typeface="Arial" panose="020B0604020202020204" pitchFamily="34" charset="0"/>
              <a:buChar char="›"/>
              <a:defRPr/>
            </a:pPr>
            <a:r>
              <a:rPr lang="en-CA" sz="1100" dirty="0">
                <a:cs typeface="Arial" charset="0"/>
              </a:rPr>
              <a:t>Demo </a:t>
            </a:r>
            <a:endParaRPr lang="en-US" sz="1100" dirty="0">
              <a:cs typeface="Arial" charset="0"/>
            </a:endParaRPr>
          </a:p>
          <a:p>
            <a:pPr algn="l">
              <a:lnSpc>
                <a:spcPts val="1300"/>
              </a:lnSpc>
              <a:spcBef>
                <a:spcPts val="0"/>
              </a:spcBef>
              <a:defRPr/>
            </a:pPr>
            <a:endParaRPr lang="en-US" sz="1100" dirty="0"/>
          </a:p>
        </p:txBody>
      </p:sp>
      <p:sp>
        <p:nvSpPr>
          <p:cNvPr id="9237" name="Freeform 7"/>
          <p:cNvSpPr>
            <a:spLocks noChangeAspect="1"/>
          </p:cNvSpPr>
          <p:nvPr/>
        </p:nvSpPr>
        <p:spPr bwMode="auto">
          <a:xfrm flipV="1">
            <a:off x="6003132" y="5557838"/>
            <a:ext cx="398860" cy="317500"/>
          </a:xfrm>
          <a:custGeom>
            <a:avLst/>
            <a:gdLst>
              <a:gd name="T0" fmla="*/ 2147483647 w 265"/>
              <a:gd name="T1" fmla="*/ 2147483647 h 211"/>
              <a:gd name="T2" fmla="*/ 2147483647 w 265"/>
              <a:gd name="T3" fmla="*/ 2147483647 h 211"/>
              <a:gd name="T4" fmla="*/ 2147483647 w 265"/>
              <a:gd name="T5" fmla="*/ 0 h 211"/>
              <a:gd name="T6" fmla="*/ 2147483647 w 265"/>
              <a:gd name="T7" fmla="*/ 2147483647 h 211"/>
              <a:gd name="T8" fmla="*/ 2147483647 w 265"/>
              <a:gd name="T9" fmla="*/ 2147483647 h 211"/>
              <a:gd name="T10" fmla="*/ 0 w 265"/>
              <a:gd name="T11" fmla="*/ 2147483647 h 211"/>
              <a:gd name="T12" fmla="*/ 0 w 265"/>
              <a:gd name="T13" fmla="*/ 2147483647 h 211"/>
              <a:gd name="T14" fmla="*/ 2147483647 w 265"/>
              <a:gd name="T15" fmla="*/ 2147483647 h 211"/>
              <a:gd name="T16" fmla="*/ 2147483647 w 265"/>
              <a:gd name="T17" fmla="*/ 2147483647 h 211"/>
              <a:gd name="T18" fmla="*/ 2147483647 w 265"/>
              <a:gd name="T19" fmla="*/ 2147483647 h 211"/>
              <a:gd name="T20" fmla="*/ 2147483647 w 265"/>
              <a:gd name="T21" fmla="*/ 2147483647 h 211"/>
              <a:gd name="T22" fmla="*/ 2147483647 w 265"/>
              <a:gd name="T23" fmla="*/ 2147483647 h 2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5"/>
              <a:gd name="T37" fmla="*/ 0 h 211"/>
              <a:gd name="T38" fmla="*/ 265 w 265"/>
              <a:gd name="T39" fmla="*/ 211 h 2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5" h="211">
                <a:moveTo>
                  <a:pt x="247" y="85"/>
                </a:moveTo>
                <a:cubicBezTo>
                  <a:pt x="154" y="6"/>
                  <a:pt x="154" y="6"/>
                  <a:pt x="154" y="6"/>
                </a:cubicBezTo>
                <a:cubicBezTo>
                  <a:pt x="154" y="6"/>
                  <a:pt x="146" y="0"/>
                  <a:pt x="132" y="0"/>
                </a:cubicBezTo>
                <a:cubicBezTo>
                  <a:pt x="119" y="0"/>
                  <a:pt x="111" y="6"/>
                  <a:pt x="111" y="6"/>
                </a:cubicBezTo>
                <a:cubicBezTo>
                  <a:pt x="21" y="82"/>
                  <a:pt x="21" y="82"/>
                  <a:pt x="21" y="82"/>
                </a:cubicBezTo>
                <a:cubicBezTo>
                  <a:pt x="21" y="82"/>
                  <a:pt x="0" y="100"/>
                  <a:pt x="0" y="118"/>
                </a:cubicBezTo>
                <a:cubicBezTo>
                  <a:pt x="0" y="125"/>
                  <a:pt x="0" y="176"/>
                  <a:pt x="0" y="190"/>
                </a:cubicBezTo>
                <a:cubicBezTo>
                  <a:pt x="0" y="202"/>
                  <a:pt x="10" y="211"/>
                  <a:pt x="21" y="211"/>
                </a:cubicBezTo>
                <a:cubicBezTo>
                  <a:pt x="243" y="211"/>
                  <a:pt x="243" y="211"/>
                  <a:pt x="243" y="211"/>
                </a:cubicBezTo>
                <a:cubicBezTo>
                  <a:pt x="255" y="211"/>
                  <a:pt x="265" y="202"/>
                  <a:pt x="265" y="190"/>
                </a:cubicBezTo>
                <a:cubicBezTo>
                  <a:pt x="265" y="175"/>
                  <a:pt x="265" y="125"/>
                  <a:pt x="265" y="118"/>
                </a:cubicBezTo>
                <a:cubicBezTo>
                  <a:pt x="265" y="100"/>
                  <a:pt x="247" y="85"/>
                  <a:pt x="247" y="85"/>
                </a:cubicBezTo>
                <a:close/>
              </a:path>
            </a:pathLst>
          </a:custGeom>
          <a:solidFill>
            <a:srgbClr val="92CCE5"/>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lIns="0" rIns="0"/>
          <a:lstStyle/>
          <a:p>
            <a:pPr algn="ctr"/>
            <a:r>
              <a:rPr lang="en-US" sz="1000" b="1">
                <a:solidFill>
                  <a:schemeClr val="bg1"/>
                </a:solidFill>
                <a:cs typeface="Times New Roman" pitchFamily="18" charset="0"/>
              </a:rPr>
              <a:t>16.1</a:t>
            </a:r>
            <a:endParaRPr lang="sv-SE" sz="1000" b="1">
              <a:solidFill>
                <a:schemeClr val="bg1"/>
              </a:solidFill>
            </a:endParaRPr>
          </a:p>
        </p:txBody>
      </p:sp>
      <p:sp>
        <p:nvSpPr>
          <p:cNvPr id="2" name="Rectangle 1"/>
          <p:cNvSpPr/>
          <p:nvPr/>
        </p:nvSpPr>
        <p:spPr>
          <a:xfrm>
            <a:off x="452276" y="1191829"/>
            <a:ext cx="7515555" cy="461665"/>
          </a:xfrm>
          <a:prstGeom prst="rect">
            <a:avLst/>
          </a:prstGeom>
        </p:spPr>
        <p:txBody>
          <a:bodyPr wrap="square">
            <a:spAutoFit/>
          </a:bodyPr>
          <a:lstStyle/>
          <a:p>
            <a:pPr algn="l"/>
            <a:r>
              <a:rPr lang="en-US" sz="2400" dirty="0" smtClean="0">
                <a:solidFill>
                  <a:srgbClr val="58585A"/>
                </a:solidFill>
              </a:rPr>
              <a:t>Enabling agility in service creation &amp; delivery</a:t>
            </a:r>
            <a:endParaRPr lang="en-US" sz="2400" dirty="0">
              <a:solidFill>
                <a:srgbClr val="58585A"/>
              </a:solidFill>
            </a:endParaRPr>
          </a:p>
        </p:txBody>
      </p:sp>
    </p:spTree>
    <p:extLst>
      <p:ext uri="{BB962C8B-B14F-4D97-AF65-F5344CB8AC3E}">
        <p14:creationId xmlns:p14="http://schemas.microsoft.com/office/powerpoint/2010/main" val="202661805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37"/>
          <p:cNvSpPr>
            <a:spLocks noChangeArrowheads="1"/>
          </p:cNvSpPr>
          <p:nvPr/>
        </p:nvSpPr>
        <p:spPr bwMode="auto">
          <a:xfrm>
            <a:off x="0" y="4166617"/>
            <a:ext cx="9144000" cy="2691383"/>
          </a:xfrm>
          <a:prstGeom prst="rect">
            <a:avLst/>
          </a:prstGeom>
          <a:solidFill>
            <a:srgbClr val="00A9D4"/>
          </a:solidFill>
          <a:ln>
            <a:noFill/>
          </a:ln>
        </p:spPr>
        <p:txBody>
          <a:bodyPr lIns="82800" rIns="0" anchor="ctr"/>
          <a:lstStyle/>
          <a:p>
            <a:pPr>
              <a:spcBef>
                <a:spcPts val="300"/>
              </a:spcBef>
            </a:pPr>
            <a:endParaRPr lang="en-US">
              <a:solidFill>
                <a:schemeClr val="bg1"/>
              </a:solidFill>
            </a:endParaRPr>
          </a:p>
        </p:txBody>
      </p:sp>
      <p:sp>
        <p:nvSpPr>
          <p:cNvPr id="52" name="TextBox 10"/>
          <p:cNvSpPr txBox="1">
            <a:spLocks noChangeArrowheads="1"/>
          </p:cNvSpPr>
          <p:nvPr/>
        </p:nvSpPr>
        <p:spPr bwMode="auto">
          <a:xfrm>
            <a:off x="6241096" y="1580527"/>
            <a:ext cx="1974273" cy="208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r>
              <a:rPr lang="en-US" sz="1800" dirty="0">
                <a:solidFill>
                  <a:srgbClr val="00285F"/>
                </a:solidFill>
                <a:cs typeface="Arial" pitchFamily="34" charset="0"/>
              </a:rPr>
              <a:t>Catalog-</a:t>
            </a:r>
            <a:br>
              <a:rPr lang="en-US" sz="1800" dirty="0">
                <a:solidFill>
                  <a:srgbClr val="00285F"/>
                </a:solidFill>
                <a:cs typeface="Arial" pitchFamily="34" charset="0"/>
              </a:rPr>
            </a:br>
            <a:r>
              <a:rPr lang="en-US" sz="1800" dirty="0">
                <a:solidFill>
                  <a:srgbClr val="00285F"/>
                </a:solidFill>
                <a:cs typeface="Arial" pitchFamily="34" charset="0"/>
              </a:rPr>
              <a:t>driven</a:t>
            </a:r>
            <a:br>
              <a:rPr lang="en-US" sz="1800" dirty="0">
                <a:solidFill>
                  <a:srgbClr val="00285F"/>
                </a:solidFill>
                <a:cs typeface="Arial" pitchFamily="34" charset="0"/>
              </a:rPr>
            </a:br>
            <a:r>
              <a:rPr lang="en-US" sz="1800" dirty="0">
                <a:solidFill>
                  <a:srgbClr val="00285F"/>
                </a:solidFill>
                <a:cs typeface="Arial" pitchFamily="34" charset="0"/>
              </a:rPr>
              <a:t>Everything</a:t>
            </a:r>
          </a:p>
        </p:txBody>
      </p:sp>
      <p:sp>
        <p:nvSpPr>
          <p:cNvPr id="51" name="TextBox 8"/>
          <p:cNvSpPr txBox="1">
            <a:spLocks noChangeArrowheads="1"/>
          </p:cNvSpPr>
          <p:nvPr/>
        </p:nvSpPr>
        <p:spPr bwMode="auto">
          <a:xfrm>
            <a:off x="3593898" y="1620233"/>
            <a:ext cx="1979913" cy="208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r>
              <a:rPr lang="en-US" sz="1800" dirty="0">
                <a:solidFill>
                  <a:srgbClr val="00285F"/>
                </a:solidFill>
                <a:cs typeface="Arial" pitchFamily="34" charset="0"/>
              </a:rPr>
              <a:t>Componentized </a:t>
            </a:r>
            <a:r>
              <a:rPr lang="en-US" sz="1800" dirty="0">
                <a:solidFill>
                  <a:srgbClr val="00285F"/>
                </a:solidFill>
              </a:rPr>
              <a:t>Fulfillment</a:t>
            </a:r>
            <a:r>
              <a:rPr lang="en-US" sz="1800" dirty="0" smtClean="0">
                <a:solidFill>
                  <a:srgbClr val="00285F"/>
                </a:solidFill>
              </a:rPr>
              <a:t>, Assurance, Charging,</a:t>
            </a:r>
            <a:br>
              <a:rPr lang="en-US" sz="1800" dirty="0" smtClean="0">
                <a:solidFill>
                  <a:srgbClr val="00285F"/>
                </a:solidFill>
              </a:rPr>
            </a:br>
            <a:r>
              <a:rPr lang="en-US" sz="1800" dirty="0" smtClean="0">
                <a:solidFill>
                  <a:srgbClr val="00285F"/>
                </a:solidFill>
              </a:rPr>
              <a:t>Policy</a:t>
            </a:r>
            <a:r>
              <a:rPr lang="en-US" sz="1800" dirty="0">
                <a:solidFill>
                  <a:srgbClr val="00285F"/>
                </a:solidFill>
              </a:rPr>
              <a:t>, Composition</a:t>
            </a:r>
          </a:p>
        </p:txBody>
      </p:sp>
      <p:sp>
        <p:nvSpPr>
          <p:cNvPr id="3" name="Content Placeholder 2"/>
          <p:cNvSpPr>
            <a:spLocks noGrp="1"/>
          </p:cNvSpPr>
          <p:nvPr>
            <p:ph idx="1"/>
          </p:nvPr>
        </p:nvSpPr>
        <p:spPr>
          <a:xfrm>
            <a:off x="533400" y="4493197"/>
            <a:ext cx="8240487" cy="1983819"/>
          </a:xfrm>
        </p:spPr>
        <p:txBody>
          <a:bodyPr/>
          <a:lstStyle/>
          <a:p>
            <a:pPr marL="0" indent="0">
              <a:buClr>
                <a:schemeClr val="bg1"/>
              </a:buClr>
              <a:buNone/>
            </a:pPr>
            <a:r>
              <a:rPr lang="en-US" dirty="0" smtClean="0">
                <a:solidFill>
                  <a:schemeClr val="bg1"/>
                </a:solidFill>
              </a:rPr>
              <a:t>Benefits</a:t>
            </a:r>
          </a:p>
          <a:p>
            <a:pPr>
              <a:buClr>
                <a:schemeClr val="bg1"/>
              </a:buClr>
            </a:pPr>
            <a:r>
              <a:rPr lang="en-US" dirty="0" smtClean="0">
                <a:solidFill>
                  <a:schemeClr val="bg1"/>
                </a:solidFill>
              </a:rPr>
              <a:t>Best </a:t>
            </a:r>
            <a:r>
              <a:rPr lang="en-US" dirty="0">
                <a:solidFill>
                  <a:schemeClr val="bg1"/>
                </a:solidFill>
              </a:rPr>
              <a:t>practice and effective integration between systems</a:t>
            </a:r>
          </a:p>
          <a:p>
            <a:pPr>
              <a:buClr>
                <a:schemeClr val="bg1"/>
              </a:buClr>
            </a:pPr>
            <a:r>
              <a:rPr lang="en-US" dirty="0">
                <a:solidFill>
                  <a:schemeClr val="bg1"/>
                </a:solidFill>
              </a:rPr>
              <a:t>Best practice PLM defined ready for extensions  </a:t>
            </a:r>
          </a:p>
          <a:p>
            <a:pPr>
              <a:buClr>
                <a:schemeClr val="bg1"/>
              </a:buClr>
            </a:pPr>
            <a:r>
              <a:rPr lang="en-US" dirty="0">
                <a:solidFill>
                  <a:schemeClr val="bg1"/>
                </a:solidFill>
              </a:rPr>
              <a:t>Defined use cases ready for extension</a:t>
            </a:r>
          </a:p>
          <a:p>
            <a:pPr>
              <a:buClr>
                <a:schemeClr val="bg1"/>
              </a:buClr>
            </a:pPr>
            <a:endParaRPr lang="en-US" dirty="0">
              <a:solidFill>
                <a:schemeClr val="bg1"/>
              </a:solidFill>
            </a:endParaRPr>
          </a:p>
        </p:txBody>
      </p:sp>
      <p:sp>
        <p:nvSpPr>
          <p:cNvPr id="5123" name="Title 3"/>
          <p:cNvSpPr>
            <a:spLocks noGrp="1"/>
          </p:cNvSpPr>
          <p:nvPr>
            <p:ph type="title"/>
          </p:nvPr>
        </p:nvSpPr>
        <p:spPr>
          <a:xfrm>
            <a:off x="393701" y="163511"/>
            <a:ext cx="8478156" cy="1085371"/>
          </a:xfrm>
        </p:spPr>
        <p:txBody>
          <a:bodyPr/>
          <a:lstStyle/>
          <a:p>
            <a:pPr eaLnBrk="1" hangingPunct="1">
              <a:defRPr/>
            </a:pPr>
            <a:r>
              <a:rPr lang="en-US" sz="3600" dirty="0" smtClean="0">
                <a:solidFill>
                  <a:srgbClr val="00285F"/>
                </a:solidFill>
                <a:latin typeface="Ericsson Capital TT" pitchFamily="2" charset="0"/>
              </a:rPr>
              <a:t>Catalog-Driven Everything</a:t>
            </a:r>
            <a:endParaRPr lang="en-US" dirty="0" smtClean="0">
              <a:solidFill>
                <a:srgbClr val="00285F"/>
              </a:solidFill>
              <a:latin typeface="+mn-lt"/>
            </a:endParaRPr>
          </a:p>
        </p:txBody>
      </p:sp>
      <p:sp>
        <p:nvSpPr>
          <p:cNvPr id="44" name="Freeform 3"/>
          <p:cNvSpPr>
            <a:spLocks noChangeAspect="1"/>
          </p:cNvSpPr>
          <p:nvPr/>
        </p:nvSpPr>
        <p:spPr bwMode="auto">
          <a:xfrm>
            <a:off x="976543" y="1618748"/>
            <a:ext cx="1977094" cy="2080910"/>
          </a:xfrm>
          <a:custGeom>
            <a:avLst/>
            <a:gdLst>
              <a:gd name="T0" fmla="*/ 2147483647 w 296"/>
              <a:gd name="T1" fmla="*/ 2147483647 h 296"/>
              <a:gd name="T2" fmla="*/ 2147483647 w 296"/>
              <a:gd name="T3" fmla="*/ 2147483647 h 296"/>
              <a:gd name="T4" fmla="*/ 2147483647 w 296"/>
              <a:gd name="T5" fmla="*/ 2147483647 h 296"/>
              <a:gd name="T6" fmla="*/ 2147483647 w 296"/>
              <a:gd name="T7" fmla="*/ 2147483647 h 296"/>
              <a:gd name="T8" fmla="*/ 2147483647 w 296"/>
              <a:gd name="T9" fmla="*/ 2147483647 h 296"/>
              <a:gd name="T10" fmla="*/ 2147483647 w 296"/>
              <a:gd name="T11" fmla="*/ 2147483647 h 296"/>
              <a:gd name="T12" fmla="*/ 2147483647 w 296"/>
              <a:gd name="T13" fmla="*/ 2147483647 h 296"/>
              <a:gd name="T14" fmla="*/ 2147483647 w 296"/>
              <a:gd name="T15" fmla="*/ 2147483647 h 296"/>
              <a:gd name="T16" fmla="*/ 2147483647 w 296"/>
              <a:gd name="T17" fmla="*/ 2147483647 h 296"/>
              <a:gd name="T18" fmla="*/ 2147483647 w 296"/>
              <a:gd name="T19" fmla="*/ 2147483647 h 296"/>
              <a:gd name="T20" fmla="*/ 2147483647 w 296"/>
              <a:gd name="T21" fmla="*/ 2147483647 h 296"/>
              <a:gd name="T22" fmla="*/ 2147483647 w 296"/>
              <a:gd name="T23" fmla="*/ 2147483647 h 296"/>
              <a:gd name="T24" fmla="*/ 2147483647 w 296"/>
              <a:gd name="T25" fmla="*/ 2147483647 h 296"/>
              <a:gd name="T26" fmla="*/ 2147483647 w 296"/>
              <a:gd name="T27" fmla="*/ 2147483647 h 296"/>
              <a:gd name="T28" fmla="*/ 2147483647 w 296"/>
              <a:gd name="T29" fmla="*/ 0 h 296"/>
              <a:gd name="T30" fmla="*/ 2147483647 w 296"/>
              <a:gd name="T31" fmla="*/ 0 h 296"/>
              <a:gd name="T32" fmla="*/ 0 w 296"/>
              <a:gd name="T33" fmla="*/ 2147483647 h 296"/>
              <a:gd name="T34" fmla="*/ 0 w 296"/>
              <a:gd name="T35" fmla="*/ 2147483647 h 296"/>
              <a:gd name="T36" fmla="*/ 2147483647 w 296"/>
              <a:gd name="T37" fmla="*/ 2147483647 h 296"/>
              <a:gd name="T38" fmla="*/ 2147483647 w 296"/>
              <a:gd name="T39" fmla="*/ 2147483647 h 296"/>
              <a:gd name="T40" fmla="*/ 2147483647 w 296"/>
              <a:gd name="T41" fmla="*/ 2147483647 h 296"/>
              <a:gd name="T42" fmla="*/ 2147483647 w 296"/>
              <a:gd name="T43" fmla="*/ 2147483647 h 296"/>
              <a:gd name="T44" fmla="*/ 2147483647 w 296"/>
              <a:gd name="T45" fmla="*/ 2147483647 h 29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6"/>
              <a:gd name="T70" fmla="*/ 0 h 296"/>
              <a:gd name="T71" fmla="*/ 296 w 296"/>
              <a:gd name="T72" fmla="*/ 296 h 29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6" h="296">
                <a:moveTo>
                  <a:pt x="288" y="73"/>
                </a:moveTo>
                <a:cubicBezTo>
                  <a:pt x="284" y="73"/>
                  <a:pt x="280" y="77"/>
                  <a:pt x="280" y="81"/>
                </a:cubicBezTo>
                <a:cubicBezTo>
                  <a:pt x="280" y="265"/>
                  <a:pt x="280" y="265"/>
                  <a:pt x="280" y="265"/>
                </a:cubicBezTo>
                <a:cubicBezTo>
                  <a:pt x="280" y="273"/>
                  <a:pt x="273" y="280"/>
                  <a:pt x="265" y="280"/>
                </a:cubicBezTo>
                <a:cubicBezTo>
                  <a:pt x="31" y="280"/>
                  <a:pt x="31" y="280"/>
                  <a:pt x="31" y="280"/>
                </a:cubicBezTo>
                <a:cubicBezTo>
                  <a:pt x="23" y="280"/>
                  <a:pt x="16" y="273"/>
                  <a:pt x="16" y="265"/>
                </a:cubicBezTo>
                <a:cubicBezTo>
                  <a:pt x="16" y="31"/>
                  <a:pt x="16" y="31"/>
                  <a:pt x="16" y="31"/>
                </a:cubicBezTo>
                <a:cubicBezTo>
                  <a:pt x="16" y="23"/>
                  <a:pt x="23" y="16"/>
                  <a:pt x="31" y="16"/>
                </a:cubicBezTo>
                <a:cubicBezTo>
                  <a:pt x="265" y="16"/>
                  <a:pt x="265" y="16"/>
                  <a:pt x="265" y="16"/>
                </a:cubicBezTo>
                <a:cubicBezTo>
                  <a:pt x="273" y="16"/>
                  <a:pt x="280" y="23"/>
                  <a:pt x="280" y="31"/>
                </a:cubicBezTo>
                <a:cubicBezTo>
                  <a:pt x="280" y="49"/>
                  <a:pt x="280" y="49"/>
                  <a:pt x="280" y="49"/>
                </a:cubicBezTo>
                <a:cubicBezTo>
                  <a:pt x="280" y="54"/>
                  <a:pt x="284" y="57"/>
                  <a:pt x="288" y="57"/>
                </a:cubicBezTo>
                <a:cubicBezTo>
                  <a:pt x="292" y="57"/>
                  <a:pt x="296" y="54"/>
                  <a:pt x="296" y="49"/>
                </a:cubicBezTo>
                <a:cubicBezTo>
                  <a:pt x="296" y="31"/>
                  <a:pt x="296" y="31"/>
                  <a:pt x="296" y="31"/>
                </a:cubicBezTo>
                <a:cubicBezTo>
                  <a:pt x="296" y="14"/>
                  <a:pt x="282" y="0"/>
                  <a:pt x="265" y="0"/>
                </a:cubicBezTo>
                <a:cubicBezTo>
                  <a:pt x="31" y="0"/>
                  <a:pt x="31" y="0"/>
                  <a:pt x="31" y="0"/>
                </a:cubicBezTo>
                <a:cubicBezTo>
                  <a:pt x="14" y="0"/>
                  <a:pt x="0" y="14"/>
                  <a:pt x="0" y="31"/>
                </a:cubicBezTo>
                <a:cubicBezTo>
                  <a:pt x="0" y="265"/>
                  <a:pt x="0" y="265"/>
                  <a:pt x="0" y="265"/>
                </a:cubicBezTo>
                <a:cubicBezTo>
                  <a:pt x="0" y="282"/>
                  <a:pt x="14" y="296"/>
                  <a:pt x="31" y="296"/>
                </a:cubicBezTo>
                <a:cubicBezTo>
                  <a:pt x="265" y="296"/>
                  <a:pt x="265" y="296"/>
                  <a:pt x="265" y="296"/>
                </a:cubicBezTo>
                <a:cubicBezTo>
                  <a:pt x="282" y="296"/>
                  <a:pt x="296" y="282"/>
                  <a:pt x="296" y="265"/>
                </a:cubicBezTo>
                <a:cubicBezTo>
                  <a:pt x="296" y="81"/>
                  <a:pt x="296" y="81"/>
                  <a:pt x="296" y="81"/>
                </a:cubicBezTo>
                <a:cubicBezTo>
                  <a:pt x="296" y="77"/>
                  <a:pt x="292" y="73"/>
                  <a:pt x="288" y="73"/>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4400"/>
          </a:p>
        </p:txBody>
      </p:sp>
      <p:sp>
        <p:nvSpPr>
          <p:cNvPr id="45" name="Freeform 3"/>
          <p:cNvSpPr>
            <a:spLocks noChangeAspect="1"/>
          </p:cNvSpPr>
          <p:nvPr/>
        </p:nvSpPr>
        <p:spPr bwMode="auto">
          <a:xfrm>
            <a:off x="3591042" y="1618748"/>
            <a:ext cx="1977092" cy="2080910"/>
          </a:xfrm>
          <a:custGeom>
            <a:avLst/>
            <a:gdLst>
              <a:gd name="T0" fmla="*/ 2147483647 w 296"/>
              <a:gd name="T1" fmla="*/ 2147483647 h 296"/>
              <a:gd name="T2" fmla="*/ 2147483647 w 296"/>
              <a:gd name="T3" fmla="*/ 2147483647 h 296"/>
              <a:gd name="T4" fmla="*/ 2147483647 w 296"/>
              <a:gd name="T5" fmla="*/ 2147483647 h 296"/>
              <a:gd name="T6" fmla="*/ 2147483647 w 296"/>
              <a:gd name="T7" fmla="*/ 2147483647 h 296"/>
              <a:gd name="T8" fmla="*/ 2147483647 w 296"/>
              <a:gd name="T9" fmla="*/ 2147483647 h 296"/>
              <a:gd name="T10" fmla="*/ 2147483647 w 296"/>
              <a:gd name="T11" fmla="*/ 2147483647 h 296"/>
              <a:gd name="T12" fmla="*/ 2147483647 w 296"/>
              <a:gd name="T13" fmla="*/ 2147483647 h 296"/>
              <a:gd name="T14" fmla="*/ 2147483647 w 296"/>
              <a:gd name="T15" fmla="*/ 2147483647 h 296"/>
              <a:gd name="T16" fmla="*/ 2147483647 w 296"/>
              <a:gd name="T17" fmla="*/ 2147483647 h 296"/>
              <a:gd name="T18" fmla="*/ 2147483647 w 296"/>
              <a:gd name="T19" fmla="*/ 2147483647 h 296"/>
              <a:gd name="T20" fmla="*/ 2147483647 w 296"/>
              <a:gd name="T21" fmla="*/ 2147483647 h 296"/>
              <a:gd name="T22" fmla="*/ 2147483647 w 296"/>
              <a:gd name="T23" fmla="*/ 2147483647 h 296"/>
              <a:gd name="T24" fmla="*/ 2147483647 w 296"/>
              <a:gd name="T25" fmla="*/ 2147483647 h 296"/>
              <a:gd name="T26" fmla="*/ 2147483647 w 296"/>
              <a:gd name="T27" fmla="*/ 2147483647 h 296"/>
              <a:gd name="T28" fmla="*/ 2147483647 w 296"/>
              <a:gd name="T29" fmla="*/ 0 h 296"/>
              <a:gd name="T30" fmla="*/ 2147483647 w 296"/>
              <a:gd name="T31" fmla="*/ 0 h 296"/>
              <a:gd name="T32" fmla="*/ 0 w 296"/>
              <a:gd name="T33" fmla="*/ 2147483647 h 296"/>
              <a:gd name="T34" fmla="*/ 0 w 296"/>
              <a:gd name="T35" fmla="*/ 2147483647 h 296"/>
              <a:gd name="T36" fmla="*/ 2147483647 w 296"/>
              <a:gd name="T37" fmla="*/ 2147483647 h 296"/>
              <a:gd name="T38" fmla="*/ 2147483647 w 296"/>
              <a:gd name="T39" fmla="*/ 2147483647 h 296"/>
              <a:gd name="T40" fmla="*/ 2147483647 w 296"/>
              <a:gd name="T41" fmla="*/ 2147483647 h 296"/>
              <a:gd name="T42" fmla="*/ 2147483647 w 296"/>
              <a:gd name="T43" fmla="*/ 2147483647 h 296"/>
              <a:gd name="T44" fmla="*/ 2147483647 w 296"/>
              <a:gd name="T45" fmla="*/ 2147483647 h 29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6"/>
              <a:gd name="T70" fmla="*/ 0 h 296"/>
              <a:gd name="T71" fmla="*/ 296 w 296"/>
              <a:gd name="T72" fmla="*/ 296 h 29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6" h="296">
                <a:moveTo>
                  <a:pt x="288" y="73"/>
                </a:moveTo>
                <a:cubicBezTo>
                  <a:pt x="284" y="73"/>
                  <a:pt x="280" y="77"/>
                  <a:pt x="280" y="81"/>
                </a:cubicBezTo>
                <a:cubicBezTo>
                  <a:pt x="280" y="265"/>
                  <a:pt x="280" y="265"/>
                  <a:pt x="280" y="265"/>
                </a:cubicBezTo>
                <a:cubicBezTo>
                  <a:pt x="280" y="273"/>
                  <a:pt x="273" y="280"/>
                  <a:pt x="265" y="280"/>
                </a:cubicBezTo>
                <a:cubicBezTo>
                  <a:pt x="31" y="280"/>
                  <a:pt x="31" y="280"/>
                  <a:pt x="31" y="280"/>
                </a:cubicBezTo>
                <a:cubicBezTo>
                  <a:pt x="23" y="280"/>
                  <a:pt x="16" y="273"/>
                  <a:pt x="16" y="265"/>
                </a:cubicBezTo>
                <a:cubicBezTo>
                  <a:pt x="16" y="31"/>
                  <a:pt x="16" y="31"/>
                  <a:pt x="16" y="31"/>
                </a:cubicBezTo>
                <a:cubicBezTo>
                  <a:pt x="16" y="23"/>
                  <a:pt x="23" y="16"/>
                  <a:pt x="31" y="16"/>
                </a:cubicBezTo>
                <a:cubicBezTo>
                  <a:pt x="265" y="16"/>
                  <a:pt x="265" y="16"/>
                  <a:pt x="265" y="16"/>
                </a:cubicBezTo>
                <a:cubicBezTo>
                  <a:pt x="273" y="16"/>
                  <a:pt x="280" y="23"/>
                  <a:pt x="280" y="31"/>
                </a:cubicBezTo>
                <a:cubicBezTo>
                  <a:pt x="280" y="49"/>
                  <a:pt x="280" y="49"/>
                  <a:pt x="280" y="49"/>
                </a:cubicBezTo>
                <a:cubicBezTo>
                  <a:pt x="280" y="54"/>
                  <a:pt x="284" y="57"/>
                  <a:pt x="288" y="57"/>
                </a:cubicBezTo>
                <a:cubicBezTo>
                  <a:pt x="292" y="57"/>
                  <a:pt x="296" y="54"/>
                  <a:pt x="296" y="49"/>
                </a:cubicBezTo>
                <a:cubicBezTo>
                  <a:pt x="296" y="31"/>
                  <a:pt x="296" y="31"/>
                  <a:pt x="296" y="31"/>
                </a:cubicBezTo>
                <a:cubicBezTo>
                  <a:pt x="296" y="14"/>
                  <a:pt x="282" y="0"/>
                  <a:pt x="265" y="0"/>
                </a:cubicBezTo>
                <a:cubicBezTo>
                  <a:pt x="31" y="0"/>
                  <a:pt x="31" y="0"/>
                  <a:pt x="31" y="0"/>
                </a:cubicBezTo>
                <a:cubicBezTo>
                  <a:pt x="14" y="0"/>
                  <a:pt x="0" y="14"/>
                  <a:pt x="0" y="31"/>
                </a:cubicBezTo>
                <a:cubicBezTo>
                  <a:pt x="0" y="265"/>
                  <a:pt x="0" y="265"/>
                  <a:pt x="0" y="265"/>
                </a:cubicBezTo>
                <a:cubicBezTo>
                  <a:pt x="0" y="282"/>
                  <a:pt x="14" y="296"/>
                  <a:pt x="31" y="296"/>
                </a:cubicBezTo>
                <a:cubicBezTo>
                  <a:pt x="265" y="296"/>
                  <a:pt x="265" y="296"/>
                  <a:pt x="265" y="296"/>
                </a:cubicBezTo>
                <a:cubicBezTo>
                  <a:pt x="282" y="296"/>
                  <a:pt x="296" y="282"/>
                  <a:pt x="296" y="265"/>
                </a:cubicBezTo>
                <a:cubicBezTo>
                  <a:pt x="296" y="81"/>
                  <a:pt x="296" y="81"/>
                  <a:pt x="296" y="81"/>
                </a:cubicBezTo>
                <a:cubicBezTo>
                  <a:pt x="296" y="77"/>
                  <a:pt x="292" y="73"/>
                  <a:pt x="288" y="73"/>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4400"/>
          </a:p>
        </p:txBody>
      </p:sp>
      <p:sp>
        <p:nvSpPr>
          <p:cNvPr id="46" name="Freeform 3"/>
          <p:cNvSpPr>
            <a:spLocks noChangeAspect="1"/>
          </p:cNvSpPr>
          <p:nvPr/>
        </p:nvSpPr>
        <p:spPr bwMode="auto">
          <a:xfrm>
            <a:off x="6208361" y="1618748"/>
            <a:ext cx="1977092" cy="2080910"/>
          </a:xfrm>
          <a:custGeom>
            <a:avLst/>
            <a:gdLst>
              <a:gd name="T0" fmla="*/ 2147483647 w 296"/>
              <a:gd name="T1" fmla="*/ 2147483647 h 296"/>
              <a:gd name="T2" fmla="*/ 2147483647 w 296"/>
              <a:gd name="T3" fmla="*/ 2147483647 h 296"/>
              <a:gd name="T4" fmla="*/ 2147483647 w 296"/>
              <a:gd name="T5" fmla="*/ 2147483647 h 296"/>
              <a:gd name="T6" fmla="*/ 2147483647 w 296"/>
              <a:gd name="T7" fmla="*/ 2147483647 h 296"/>
              <a:gd name="T8" fmla="*/ 2147483647 w 296"/>
              <a:gd name="T9" fmla="*/ 2147483647 h 296"/>
              <a:gd name="T10" fmla="*/ 2147483647 w 296"/>
              <a:gd name="T11" fmla="*/ 2147483647 h 296"/>
              <a:gd name="T12" fmla="*/ 2147483647 w 296"/>
              <a:gd name="T13" fmla="*/ 2147483647 h 296"/>
              <a:gd name="T14" fmla="*/ 2147483647 w 296"/>
              <a:gd name="T15" fmla="*/ 2147483647 h 296"/>
              <a:gd name="T16" fmla="*/ 2147483647 w 296"/>
              <a:gd name="T17" fmla="*/ 2147483647 h 296"/>
              <a:gd name="T18" fmla="*/ 2147483647 w 296"/>
              <a:gd name="T19" fmla="*/ 2147483647 h 296"/>
              <a:gd name="T20" fmla="*/ 2147483647 w 296"/>
              <a:gd name="T21" fmla="*/ 2147483647 h 296"/>
              <a:gd name="T22" fmla="*/ 2147483647 w 296"/>
              <a:gd name="T23" fmla="*/ 2147483647 h 296"/>
              <a:gd name="T24" fmla="*/ 2147483647 w 296"/>
              <a:gd name="T25" fmla="*/ 2147483647 h 296"/>
              <a:gd name="T26" fmla="*/ 2147483647 w 296"/>
              <a:gd name="T27" fmla="*/ 2147483647 h 296"/>
              <a:gd name="T28" fmla="*/ 2147483647 w 296"/>
              <a:gd name="T29" fmla="*/ 0 h 296"/>
              <a:gd name="T30" fmla="*/ 2147483647 w 296"/>
              <a:gd name="T31" fmla="*/ 0 h 296"/>
              <a:gd name="T32" fmla="*/ 0 w 296"/>
              <a:gd name="T33" fmla="*/ 2147483647 h 296"/>
              <a:gd name="T34" fmla="*/ 0 w 296"/>
              <a:gd name="T35" fmla="*/ 2147483647 h 296"/>
              <a:gd name="T36" fmla="*/ 2147483647 w 296"/>
              <a:gd name="T37" fmla="*/ 2147483647 h 296"/>
              <a:gd name="T38" fmla="*/ 2147483647 w 296"/>
              <a:gd name="T39" fmla="*/ 2147483647 h 296"/>
              <a:gd name="T40" fmla="*/ 2147483647 w 296"/>
              <a:gd name="T41" fmla="*/ 2147483647 h 296"/>
              <a:gd name="T42" fmla="*/ 2147483647 w 296"/>
              <a:gd name="T43" fmla="*/ 2147483647 h 296"/>
              <a:gd name="T44" fmla="*/ 2147483647 w 296"/>
              <a:gd name="T45" fmla="*/ 2147483647 h 29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6"/>
              <a:gd name="T70" fmla="*/ 0 h 296"/>
              <a:gd name="T71" fmla="*/ 296 w 296"/>
              <a:gd name="T72" fmla="*/ 296 h 29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6" h="296">
                <a:moveTo>
                  <a:pt x="288" y="73"/>
                </a:moveTo>
                <a:cubicBezTo>
                  <a:pt x="284" y="73"/>
                  <a:pt x="280" y="77"/>
                  <a:pt x="280" y="81"/>
                </a:cubicBezTo>
                <a:cubicBezTo>
                  <a:pt x="280" y="265"/>
                  <a:pt x="280" y="265"/>
                  <a:pt x="280" y="265"/>
                </a:cubicBezTo>
                <a:cubicBezTo>
                  <a:pt x="280" y="273"/>
                  <a:pt x="273" y="280"/>
                  <a:pt x="265" y="280"/>
                </a:cubicBezTo>
                <a:cubicBezTo>
                  <a:pt x="31" y="280"/>
                  <a:pt x="31" y="280"/>
                  <a:pt x="31" y="280"/>
                </a:cubicBezTo>
                <a:cubicBezTo>
                  <a:pt x="23" y="280"/>
                  <a:pt x="16" y="273"/>
                  <a:pt x="16" y="265"/>
                </a:cubicBezTo>
                <a:cubicBezTo>
                  <a:pt x="16" y="31"/>
                  <a:pt x="16" y="31"/>
                  <a:pt x="16" y="31"/>
                </a:cubicBezTo>
                <a:cubicBezTo>
                  <a:pt x="16" y="23"/>
                  <a:pt x="23" y="16"/>
                  <a:pt x="31" y="16"/>
                </a:cubicBezTo>
                <a:cubicBezTo>
                  <a:pt x="265" y="16"/>
                  <a:pt x="265" y="16"/>
                  <a:pt x="265" y="16"/>
                </a:cubicBezTo>
                <a:cubicBezTo>
                  <a:pt x="273" y="16"/>
                  <a:pt x="280" y="23"/>
                  <a:pt x="280" y="31"/>
                </a:cubicBezTo>
                <a:cubicBezTo>
                  <a:pt x="280" y="49"/>
                  <a:pt x="280" y="49"/>
                  <a:pt x="280" y="49"/>
                </a:cubicBezTo>
                <a:cubicBezTo>
                  <a:pt x="280" y="54"/>
                  <a:pt x="284" y="57"/>
                  <a:pt x="288" y="57"/>
                </a:cubicBezTo>
                <a:cubicBezTo>
                  <a:pt x="292" y="57"/>
                  <a:pt x="296" y="54"/>
                  <a:pt x="296" y="49"/>
                </a:cubicBezTo>
                <a:cubicBezTo>
                  <a:pt x="296" y="31"/>
                  <a:pt x="296" y="31"/>
                  <a:pt x="296" y="31"/>
                </a:cubicBezTo>
                <a:cubicBezTo>
                  <a:pt x="296" y="14"/>
                  <a:pt x="282" y="0"/>
                  <a:pt x="265" y="0"/>
                </a:cubicBezTo>
                <a:cubicBezTo>
                  <a:pt x="31" y="0"/>
                  <a:pt x="31" y="0"/>
                  <a:pt x="31" y="0"/>
                </a:cubicBezTo>
                <a:cubicBezTo>
                  <a:pt x="14" y="0"/>
                  <a:pt x="0" y="14"/>
                  <a:pt x="0" y="31"/>
                </a:cubicBezTo>
                <a:cubicBezTo>
                  <a:pt x="0" y="265"/>
                  <a:pt x="0" y="265"/>
                  <a:pt x="0" y="265"/>
                </a:cubicBezTo>
                <a:cubicBezTo>
                  <a:pt x="0" y="282"/>
                  <a:pt x="14" y="296"/>
                  <a:pt x="31" y="296"/>
                </a:cubicBezTo>
                <a:cubicBezTo>
                  <a:pt x="265" y="296"/>
                  <a:pt x="265" y="296"/>
                  <a:pt x="265" y="296"/>
                </a:cubicBezTo>
                <a:cubicBezTo>
                  <a:pt x="282" y="296"/>
                  <a:pt x="296" y="282"/>
                  <a:pt x="296" y="265"/>
                </a:cubicBezTo>
                <a:cubicBezTo>
                  <a:pt x="296" y="81"/>
                  <a:pt x="296" y="81"/>
                  <a:pt x="296" y="81"/>
                </a:cubicBezTo>
                <a:cubicBezTo>
                  <a:pt x="296" y="77"/>
                  <a:pt x="292" y="73"/>
                  <a:pt x="288" y="73"/>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4400"/>
          </a:p>
        </p:txBody>
      </p:sp>
      <p:sp>
        <p:nvSpPr>
          <p:cNvPr id="47" name="TextBox 11"/>
          <p:cNvSpPr txBox="1">
            <a:spLocks noChangeArrowheads="1"/>
          </p:cNvSpPr>
          <p:nvPr/>
        </p:nvSpPr>
        <p:spPr bwMode="auto">
          <a:xfrm>
            <a:off x="2866203" y="2231136"/>
            <a:ext cx="815093" cy="859118"/>
          </a:xfrm>
          <a:prstGeom prst="rect">
            <a:avLst/>
          </a:prstGeom>
          <a:noFill/>
          <a:ln w="9525">
            <a:noFill/>
            <a:miter lim="800000"/>
            <a:headEnd/>
            <a:tailEnd/>
          </a:ln>
        </p:spPr>
        <p:txBody>
          <a:bodyPr lIns="0" tIns="0" rIns="0" bIns="0" anchor="ctr"/>
          <a:lstStyle/>
          <a:p>
            <a:pPr algn="ctr">
              <a:defRPr/>
            </a:pPr>
            <a:r>
              <a:rPr lang="en-US" sz="6600" b="1" dirty="0">
                <a:solidFill>
                  <a:srgbClr val="00A9D4"/>
                </a:solidFill>
                <a:latin typeface="Arial" pitchFamily="-65" charset="0"/>
                <a:ea typeface="Arial" pitchFamily="-65" charset="0"/>
                <a:cs typeface="Arial" pitchFamily="-65" charset="0"/>
              </a:rPr>
              <a:t>+</a:t>
            </a:r>
          </a:p>
        </p:txBody>
      </p:sp>
      <p:sp>
        <p:nvSpPr>
          <p:cNvPr id="48" name="TextBox 12"/>
          <p:cNvSpPr txBox="1">
            <a:spLocks noChangeArrowheads="1"/>
          </p:cNvSpPr>
          <p:nvPr/>
        </p:nvSpPr>
        <p:spPr bwMode="auto">
          <a:xfrm>
            <a:off x="5480702" y="2231136"/>
            <a:ext cx="815091" cy="859118"/>
          </a:xfrm>
          <a:prstGeom prst="rect">
            <a:avLst/>
          </a:prstGeom>
          <a:noFill/>
          <a:ln w="9525">
            <a:noFill/>
            <a:miter lim="800000"/>
            <a:headEnd/>
            <a:tailEnd/>
          </a:ln>
        </p:spPr>
        <p:txBody>
          <a:bodyPr lIns="0" tIns="0" rIns="0" bIns="0" anchor="ctr"/>
          <a:lstStyle/>
          <a:p>
            <a:pPr algn="ctr">
              <a:defRPr/>
            </a:pPr>
            <a:r>
              <a:rPr lang="en-US" sz="6600" b="1">
                <a:solidFill>
                  <a:srgbClr val="00A9D4"/>
                </a:solidFill>
                <a:latin typeface="Arial" pitchFamily="-65" charset="0"/>
                <a:ea typeface="Arial" pitchFamily="-65" charset="0"/>
                <a:cs typeface="Arial" pitchFamily="-65" charset="0"/>
              </a:rPr>
              <a:t>=</a:t>
            </a:r>
          </a:p>
        </p:txBody>
      </p:sp>
      <p:sp>
        <p:nvSpPr>
          <p:cNvPr id="49" name="TextBox 5"/>
          <p:cNvSpPr txBox="1">
            <a:spLocks noChangeArrowheads="1"/>
          </p:cNvSpPr>
          <p:nvPr/>
        </p:nvSpPr>
        <p:spPr bwMode="auto">
          <a:xfrm>
            <a:off x="928631" y="1596717"/>
            <a:ext cx="1977094" cy="208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r>
              <a:rPr lang="en-US" sz="1800" dirty="0">
                <a:solidFill>
                  <a:srgbClr val="00285F"/>
                </a:solidFill>
                <a:cs typeface="Arial" pitchFamily="34" charset="0"/>
              </a:rPr>
              <a:t>Product</a:t>
            </a:r>
            <a:br>
              <a:rPr lang="en-US" sz="1800" dirty="0">
                <a:solidFill>
                  <a:srgbClr val="00285F"/>
                </a:solidFill>
                <a:cs typeface="Arial" pitchFamily="34" charset="0"/>
              </a:rPr>
            </a:br>
            <a:r>
              <a:rPr lang="en-US" sz="1800" dirty="0">
                <a:solidFill>
                  <a:srgbClr val="00285F"/>
                </a:solidFill>
                <a:cs typeface="Arial" pitchFamily="34" charset="0"/>
              </a:rPr>
              <a:t>Service</a:t>
            </a:r>
            <a:br>
              <a:rPr lang="en-US" sz="1800" dirty="0">
                <a:solidFill>
                  <a:srgbClr val="00285F"/>
                </a:solidFill>
                <a:cs typeface="Arial" pitchFamily="34" charset="0"/>
              </a:rPr>
            </a:br>
            <a:r>
              <a:rPr lang="en-US" sz="1800" dirty="0">
                <a:solidFill>
                  <a:srgbClr val="00285F"/>
                </a:solidFill>
                <a:cs typeface="Arial" pitchFamily="34" charset="0"/>
              </a:rPr>
              <a:t>Resource</a:t>
            </a:r>
            <a:br>
              <a:rPr lang="en-US" sz="1800" dirty="0">
                <a:solidFill>
                  <a:srgbClr val="00285F"/>
                </a:solidFill>
                <a:cs typeface="Arial" pitchFamily="34" charset="0"/>
              </a:rPr>
            </a:br>
            <a:r>
              <a:rPr lang="en-US" sz="1800" dirty="0">
                <a:solidFill>
                  <a:srgbClr val="00285F"/>
                </a:solidFill>
                <a:cs typeface="Arial" pitchFamily="34" charset="0"/>
              </a:rPr>
              <a:t>Catalog</a:t>
            </a:r>
          </a:p>
        </p:txBody>
      </p:sp>
    </p:spTree>
    <p:extLst>
      <p:ext uri="{BB962C8B-B14F-4D97-AF65-F5344CB8AC3E}">
        <p14:creationId xmlns:p14="http://schemas.microsoft.com/office/powerpoint/2010/main" val="24610004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Title 1"/>
          <p:cNvSpPr>
            <a:spLocks noGrp="1"/>
          </p:cNvSpPr>
          <p:nvPr>
            <p:ph type="title"/>
          </p:nvPr>
        </p:nvSpPr>
        <p:spPr/>
        <p:txBody>
          <a:bodyPr/>
          <a:lstStyle/>
          <a:p>
            <a:r>
              <a:rPr lang="en-US" smtClean="0">
                <a:latin typeface="Ericsson Capital TT" pitchFamily="2" charset="0"/>
              </a:rPr>
              <a:t>Today’s Agenda</a:t>
            </a:r>
          </a:p>
        </p:txBody>
      </p:sp>
      <p:sp>
        <p:nvSpPr>
          <p:cNvPr id="6" name="Freeform 4"/>
          <p:cNvSpPr>
            <a:spLocks noChangeAspect="1" noEditPoints="1"/>
          </p:cNvSpPr>
          <p:nvPr/>
        </p:nvSpPr>
        <p:spPr bwMode="auto">
          <a:xfrm>
            <a:off x="527050" y="2150905"/>
            <a:ext cx="4741636" cy="3497800"/>
          </a:xfrm>
          <a:custGeom>
            <a:avLst/>
            <a:gdLst>
              <a:gd name="T0" fmla="*/ 2147483647 w 305"/>
              <a:gd name="T1" fmla="*/ 2147483647 h 300"/>
              <a:gd name="T2" fmla="*/ 2147483647 w 305"/>
              <a:gd name="T3" fmla="*/ 2147483647 h 300"/>
              <a:gd name="T4" fmla="*/ 2147483647 w 305"/>
              <a:gd name="T5" fmla="*/ 0 h 300"/>
              <a:gd name="T6" fmla="*/ 2147483647 w 305"/>
              <a:gd name="T7" fmla="*/ 2147483647 h 300"/>
              <a:gd name="T8" fmla="*/ 2147483647 w 305"/>
              <a:gd name="T9" fmla="*/ 2147483647 h 300"/>
              <a:gd name="T10" fmla="*/ 2147483647 w 305"/>
              <a:gd name="T11" fmla="*/ 2147483647 h 300"/>
              <a:gd name="T12" fmla="*/ 2147483647 w 305"/>
              <a:gd name="T13" fmla="*/ 2147483647 h 300"/>
              <a:gd name="T14" fmla="*/ 2147483647 w 305"/>
              <a:gd name="T15" fmla="*/ 2147483647 h 300"/>
              <a:gd name="T16" fmla="*/ 2147483647 w 305"/>
              <a:gd name="T17" fmla="*/ 2147483647 h 300"/>
              <a:gd name="T18" fmla="*/ 2147483647 w 305"/>
              <a:gd name="T19" fmla="*/ 2147483647 h 300"/>
              <a:gd name="T20" fmla="*/ 2147483647 w 305"/>
              <a:gd name="T21" fmla="*/ 2147483647 h 300"/>
              <a:gd name="T22" fmla="*/ 2147483647 w 305"/>
              <a:gd name="T23" fmla="*/ 2147483647 h 300"/>
              <a:gd name="T24" fmla="*/ 2147483647 w 305"/>
              <a:gd name="T25" fmla="*/ 2147483647 h 300"/>
              <a:gd name="T26" fmla="*/ 2147483647 w 305"/>
              <a:gd name="T27" fmla="*/ 2147483647 h 300"/>
              <a:gd name="T28" fmla="*/ 2147483647 w 305"/>
              <a:gd name="T29" fmla="*/ 2147483647 h 300"/>
              <a:gd name="T30" fmla="*/ 2147483647 w 305"/>
              <a:gd name="T31" fmla="*/ 2147483647 h 300"/>
              <a:gd name="T32" fmla="*/ 2147483647 w 305"/>
              <a:gd name="T33" fmla="*/ 2147483647 h 300"/>
              <a:gd name="T34" fmla="*/ 2147483647 w 305"/>
              <a:gd name="T35" fmla="*/ 2147483647 h 300"/>
              <a:gd name="T36" fmla="*/ 2147483647 w 305"/>
              <a:gd name="T37" fmla="*/ 2147483647 h 300"/>
              <a:gd name="T38" fmla="*/ 2147483647 w 305"/>
              <a:gd name="T39" fmla="*/ 2147483647 h 300"/>
              <a:gd name="T40" fmla="*/ 2147483647 w 305"/>
              <a:gd name="T41" fmla="*/ 2147483647 h 300"/>
              <a:gd name="T42" fmla="*/ 2147483647 w 305"/>
              <a:gd name="T43" fmla="*/ 2147483647 h 300"/>
              <a:gd name="T44" fmla="*/ 2147483647 w 305"/>
              <a:gd name="T45" fmla="*/ 2147483647 h 300"/>
              <a:gd name="T46" fmla="*/ 2147483647 w 305"/>
              <a:gd name="T47" fmla="*/ 2147483647 h 300"/>
              <a:gd name="T48" fmla="*/ 2147483647 w 305"/>
              <a:gd name="T49" fmla="*/ 2147483647 h 300"/>
              <a:gd name="T50" fmla="*/ 2147483647 w 305"/>
              <a:gd name="T51" fmla="*/ 2147483647 h 300"/>
              <a:gd name="T52" fmla="*/ 2147483647 w 305"/>
              <a:gd name="T53" fmla="*/ 2147483647 h 300"/>
              <a:gd name="T54" fmla="*/ 2147483647 w 305"/>
              <a:gd name="T55" fmla="*/ 2147483647 h 300"/>
              <a:gd name="T56" fmla="*/ 2147483647 w 305"/>
              <a:gd name="T57" fmla="*/ 2147483647 h 300"/>
              <a:gd name="T58" fmla="*/ 2147483647 w 305"/>
              <a:gd name="T59" fmla="*/ 2147483647 h 300"/>
              <a:gd name="T60" fmla="*/ 2147483647 w 305"/>
              <a:gd name="T61" fmla="*/ 2147483647 h 300"/>
              <a:gd name="T62" fmla="*/ 2147483647 w 305"/>
              <a:gd name="T63" fmla="*/ 2147483647 h 300"/>
              <a:gd name="T64" fmla="*/ 2147483647 w 305"/>
              <a:gd name="T65" fmla="*/ 2147483647 h 300"/>
              <a:gd name="T66" fmla="*/ 2147483647 w 305"/>
              <a:gd name="T67" fmla="*/ 2147483647 h 300"/>
              <a:gd name="T68" fmla="*/ 2147483647 w 305"/>
              <a:gd name="T69" fmla="*/ 2147483647 h 300"/>
              <a:gd name="T70" fmla="*/ 2147483647 w 305"/>
              <a:gd name="T71" fmla="*/ 2147483647 h 300"/>
              <a:gd name="T72" fmla="*/ 2147483647 w 305"/>
              <a:gd name="T73" fmla="*/ 2147483647 h 300"/>
              <a:gd name="T74" fmla="*/ 2147483647 w 305"/>
              <a:gd name="T75" fmla="*/ 2147483647 h 300"/>
              <a:gd name="T76" fmla="*/ 2147483647 w 305"/>
              <a:gd name="T77" fmla="*/ 2147483647 h 300"/>
              <a:gd name="T78" fmla="*/ 2147483647 w 305"/>
              <a:gd name="T79" fmla="*/ 2147483647 h 300"/>
              <a:gd name="T80" fmla="*/ 2147483647 w 305"/>
              <a:gd name="T81" fmla="*/ 2147483647 h 300"/>
              <a:gd name="T82" fmla="*/ 2147483647 w 305"/>
              <a:gd name="T83" fmla="*/ 2147483647 h 300"/>
              <a:gd name="T84" fmla="*/ 2147483647 w 305"/>
              <a:gd name="T85" fmla="*/ 2147483647 h 300"/>
              <a:gd name="T86" fmla="*/ 2147483647 w 305"/>
              <a:gd name="T87" fmla="*/ 2147483647 h 300"/>
              <a:gd name="T88" fmla="*/ 2147483647 w 305"/>
              <a:gd name="T89" fmla="*/ 2147483647 h 300"/>
              <a:gd name="T90" fmla="*/ 2147483647 w 305"/>
              <a:gd name="T91" fmla="*/ 2147483647 h 300"/>
              <a:gd name="T92" fmla="*/ 2147483647 w 305"/>
              <a:gd name="T93" fmla="*/ 2147483647 h 3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05"/>
              <a:gd name="T142" fmla="*/ 0 h 300"/>
              <a:gd name="T143" fmla="*/ 305 w 305"/>
              <a:gd name="T144" fmla="*/ 300 h 3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05" h="300">
                <a:moveTo>
                  <a:pt x="289" y="26"/>
                </a:moveTo>
                <a:cubicBezTo>
                  <a:pt x="287" y="26"/>
                  <a:pt x="286" y="27"/>
                  <a:pt x="284" y="27"/>
                </a:cubicBezTo>
                <a:cubicBezTo>
                  <a:pt x="284" y="27"/>
                  <a:pt x="267" y="34"/>
                  <a:pt x="243" y="43"/>
                </a:cubicBezTo>
                <a:cubicBezTo>
                  <a:pt x="240" y="18"/>
                  <a:pt x="240" y="18"/>
                  <a:pt x="240" y="18"/>
                </a:cubicBezTo>
                <a:cubicBezTo>
                  <a:pt x="240" y="13"/>
                  <a:pt x="238" y="10"/>
                  <a:pt x="236" y="6"/>
                </a:cubicBezTo>
                <a:cubicBezTo>
                  <a:pt x="233" y="3"/>
                  <a:pt x="229" y="0"/>
                  <a:pt x="224" y="0"/>
                </a:cubicBezTo>
                <a:cubicBezTo>
                  <a:pt x="222" y="0"/>
                  <a:pt x="221" y="0"/>
                  <a:pt x="219" y="1"/>
                </a:cubicBezTo>
                <a:cubicBezTo>
                  <a:pt x="219" y="1"/>
                  <a:pt x="196" y="9"/>
                  <a:pt x="171" y="19"/>
                </a:cubicBezTo>
                <a:cubicBezTo>
                  <a:pt x="147" y="28"/>
                  <a:pt x="121" y="38"/>
                  <a:pt x="114" y="40"/>
                </a:cubicBezTo>
                <a:cubicBezTo>
                  <a:pt x="114" y="40"/>
                  <a:pt x="114" y="40"/>
                  <a:pt x="114" y="40"/>
                </a:cubicBezTo>
                <a:cubicBezTo>
                  <a:pt x="113" y="39"/>
                  <a:pt x="112" y="35"/>
                  <a:pt x="110" y="31"/>
                </a:cubicBezTo>
                <a:cubicBezTo>
                  <a:pt x="109" y="29"/>
                  <a:pt x="108" y="27"/>
                  <a:pt x="105" y="25"/>
                </a:cubicBezTo>
                <a:cubicBezTo>
                  <a:pt x="103" y="22"/>
                  <a:pt x="99" y="21"/>
                  <a:pt x="96" y="21"/>
                </a:cubicBezTo>
                <a:cubicBezTo>
                  <a:pt x="93" y="21"/>
                  <a:pt x="90" y="22"/>
                  <a:pt x="88" y="23"/>
                </a:cubicBezTo>
                <a:cubicBezTo>
                  <a:pt x="69" y="30"/>
                  <a:pt x="18" y="49"/>
                  <a:pt x="18" y="49"/>
                </a:cubicBezTo>
                <a:cubicBezTo>
                  <a:pt x="13" y="50"/>
                  <a:pt x="9" y="52"/>
                  <a:pt x="5" y="56"/>
                </a:cubicBezTo>
                <a:cubicBezTo>
                  <a:pt x="2" y="60"/>
                  <a:pt x="0" y="66"/>
                  <a:pt x="0" y="72"/>
                </a:cubicBezTo>
                <a:cubicBezTo>
                  <a:pt x="0" y="73"/>
                  <a:pt x="0" y="75"/>
                  <a:pt x="1" y="77"/>
                </a:cubicBezTo>
                <a:cubicBezTo>
                  <a:pt x="1" y="77"/>
                  <a:pt x="1" y="77"/>
                  <a:pt x="1" y="77"/>
                </a:cubicBezTo>
                <a:cubicBezTo>
                  <a:pt x="30" y="285"/>
                  <a:pt x="30" y="285"/>
                  <a:pt x="30" y="285"/>
                </a:cubicBezTo>
                <a:cubicBezTo>
                  <a:pt x="30" y="285"/>
                  <a:pt x="30" y="285"/>
                  <a:pt x="30" y="285"/>
                </a:cubicBezTo>
                <a:cubicBezTo>
                  <a:pt x="30" y="286"/>
                  <a:pt x="31" y="287"/>
                  <a:pt x="31" y="288"/>
                </a:cubicBezTo>
                <a:cubicBezTo>
                  <a:pt x="32" y="291"/>
                  <a:pt x="34" y="294"/>
                  <a:pt x="36" y="296"/>
                </a:cubicBezTo>
                <a:cubicBezTo>
                  <a:pt x="39" y="299"/>
                  <a:pt x="44" y="300"/>
                  <a:pt x="48" y="300"/>
                </a:cubicBezTo>
                <a:cubicBezTo>
                  <a:pt x="51" y="300"/>
                  <a:pt x="54" y="300"/>
                  <a:pt x="56" y="299"/>
                </a:cubicBezTo>
                <a:cubicBezTo>
                  <a:pt x="204" y="243"/>
                  <a:pt x="204" y="243"/>
                  <a:pt x="204" y="243"/>
                </a:cubicBezTo>
                <a:cubicBezTo>
                  <a:pt x="208" y="241"/>
                  <a:pt x="210" y="237"/>
                  <a:pt x="209" y="233"/>
                </a:cubicBezTo>
                <a:cubicBezTo>
                  <a:pt x="207" y="228"/>
                  <a:pt x="202" y="226"/>
                  <a:pt x="198" y="228"/>
                </a:cubicBezTo>
                <a:cubicBezTo>
                  <a:pt x="51" y="284"/>
                  <a:pt x="51" y="284"/>
                  <a:pt x="51" y="284"/>
                </a:cubicBezTo>
                <a:cubicBezTo>
                  <a:pt x="50" y="284"/>
                  <a:pt x="49" y="284"/>
                  <a:pt x="48" y="284"/>
                </a:cubicBezTo>
                <a:cubicBezTo>
                  <a:pt x="47" y="284"/>
                  <a:pt x="47" y="284"/>
                  <a:pt x="46" y="284"/>
                </a:cubicBezTo>
                <a:cubicBezTo>
                  <a:pt x="46" y="284"/>
                  <a:pt x="46" y="284"/>
                  <a:pt x="46" y="284"/>
                </a:cubicBezTo>
                <a:cubicBezTo>
                  <a:pt x="46" y="283"/>
                  <a:pt x="46" y="283"/>
                  <a:pt x="46" y="283"/>
                </a:cubicBezTo>
                <a:cubicBezTo>
                  <a:pt x="46" y="283"/>
                  <a:pt x="46" y="283"/>
                  <a:pt x="46" y="283"/>
                </a:cubicBezTo>
                <a:cubicBezTo>
                  <a:pt x="46" y="283"/>
                  <a:pt x="46" y="283"/>
                  <a:pt x="46" y="283"/>
                </a:cubicBezTo>
                <a:cubicBezTo>
                  <a:pt x="46" y="283"/>
                  <a:pt x="46" y="283"/>
                  <a:pt x="46" y="283"/>
                </a:cubicBezTo>
                <a:cubicBezTo>
                  <a:pt x="79" y="123"/>
                  <a:pt x="79" y="123"/>
                  <a:pt x="79" y="123"/>
                </a:cubicBezTo>
                <a:cubicBezTo>
                  <a:pt x="79" y="123"/>
                  <a:pt x="80" y="123"/>
                  <a:pt x="80" y="122"/>
                </a:cubicBezTo>
                <a:cubicBezTo>
                  <a:pt x="80" y="122"/>
                  <a:pt x="80" y="122"/>
                  <a:pt x="80" y="122"/>
                </a:cubicBezTo>
                <a:cubicBezTo>
                  <a:pt x="80" y="122"/>
                  <a:pt x="80" y="121"/>
                  <a:pt x="81" y="121"/>
                </a:cubicBezTo>
                <a:cubicBezTo>
                  <a:pt x="81" y="121"/>
                  <a:pt x="81" y="121"/>
                  <a:pt x="81" y="121"/>
                </a:cubicBezTo>
                <a:cubicBezTo>
                  <a:pt x="81" y="120"/>
                  <a:pt x="82" y="120"/>
                  <a:pt x="84" y="119"/>
                </a:cubicBezTo>
                <a:cubicBezTo>
                  <a:pt x="84" y="119"/>
                  <a:pt x="84" y="119"/>
                  <a:pt x="84" y="119"/>
                </a:cubicBezTo>
                <a:cubicBezTo>
                  <a:pt x="84" y="119"/>
                  <a:pt x="84" y="119"/>
                  <a:pt x="84" y="119"/>
                </a:cubicBezTo>
                <a:cubicBezTo>
                  <a:pt x="84" y="119"/>
                  <a:pt x="123" y="104"/>
                  <a:pt x="163" y="89"/>
                </a:cubicBezTo>
                <a:cubicBezTo>
                  <a:pt x="211" y="72"/>
                  <a:pt x="282" y="45"/>
                  <a:pt x="289" y="43"/>
                </a:cubicBezTo>
                <a:cubicBezTo>
                  <a:pt x="289" y="43"/>
                  <a:pt x="289" y="43"/>
                  <a:pt x="289" y="43"/>
                </a:cubicBezTo>
                <a:cubicBezTo>
                  <a:pt x="289" y="43"/>
                  <a:pt x="289" y="43"/>
                  <a:pt x="289" y="43"/>
                </a:cubicBezTo>
                <a:cubicBezTo>
                  <a:pt x="253" y="203"/>
                  <a:pt x="253" y="203"/>
                  <a:pt x="253" y="203"/>
                </a:cubicBezTo>
                <a:cubicBezTo>
                  <a:pt x="252" y="205"/>
                  <a:pt x="251" y="207"/>
                  <a:pt x="251" y="207"/>
                </a:cubicBezTo>
                <a:cubicBezTo>
                  <a:pt x="250" y="208"/>
                  <a:pt x="250" y="208"/>
                  <a:pt x="248" y="209"/>
                </a:cubicBezTo>
                <a:cubicBezTo>
                  <a:pt x="248" y="209"/>
                  <a:pt x="248" y="209"/>
                  <a:pt x="248" y="209"/>
                </a:cubicBezTo>
                <a:cubicBezTo>
                  <a:pt x="226" y="217"/>
                  <a:pt x="226" y="217"/>
                  <a:pt x="226" y="217"/>
                </a:cubicBezTo>
                <a:cubicBezTo>
                  <a:pt x="222" y="219"/>
                  <a:pt x="219" y="224"/>
                  <a:pt x="221" y="228"/>
                </a:cubicBezTo>
                <a:cubicBezTo>
                  <a:pt x="223" y="232"/>
                  <a:pt x="227" y="234"/>
                  <a:pt x="231" y="232"/>
                </a:cubicBezTo>
                <a:cubicBezTo>
                  <a:pt x="231" y="232"/>
                  <a:pt x="231" y="232"/>
                  <a:pt x="231" y="232"/>
                </a:cubicBezTo>
                <a:cubicBezTo>
                  <a:pt x="253" y="224"/>
                  <a:pt x="253" y="224"/>
                  <a:pt x="253" y="224"/>
                </a:cubicBezTo>
                <a:cubicBezTo>
                  <a:pt x="257" y="223"/>
                  <a:pt x="261" y="220"/>
                  <a:pt x="263" y="217"/>
                </a:cubicBezTo>
                <a:cubicBezTo>
                  <a:pt x="266" y="214"/>
                  <a:pt x="267" y="211"/>
                  <a:pt x="268" y="208"/>
                </a:cubicBezTo>
                <a:cubicBezTo>
                  <a:pt x="268" y="208"/>
                  <a:pt x="268" y="208"/>
                  <a:pt x="268" y="208"/>
                </a:cubicBezTo>
                <a:cubicBezTo>
                  <a:pt x="305" y="47"/>
                  <a:pt x="305" y="47"/>
                  <a:pt x="305" y="47"/>
                </a:cubicBezTo>
                <a:cubicBezTo>
                  <a:pt x="305" y="45"/>
                  <a:pt x="305" y="44"/>
                  <a:pt x="305" y="43"/>
                </a:cubicBezTo>
                <a:cubicBezTo>
                  <a:pt x="305" y="34"/>
                  <a:pt x="298" y="27"/>
                  <a:pt x="289" y="26"/>
                </a:cubicBezTo>
                <a:close/>
                <a:moveTo>
                  <a:pt x="16" y="75"/>
                </a:moveTo>
                <a:cubicBezTo>
                  <a:pt x="16" y="74"/>
                  <a:pt x="16" y="73"/>
                  <a:pt x="16" y="72"/>
                </a:cubicBezTo>
                <a:cubicBezTo>
                  <a:pt x="16" y="68"/>
                  <a:pt x="17" y="67"/>
                  <a:pt x="17" y="67"/>
                </a:cubicBezTo>
                <a:cubicBezTo>
                  <a:pt x="18" y="66"/>
                  <a:pt x="19" y="65"/>
                  <a:pt x="23" y="64"/>
                </a:cubicBezTo>
                <a:cubicBezTo>
                  <a:pt x="23" y="64"/>
                  <a:pt x="23" y="64"/>
                  <a:pt x="23" y="64"/>
                </a:cubicBezTo>
                <a:cubicBezTo>
                  <a:pt x="23" y="64"/>
                  <a:pt x="23" y="64"/>
                  <a:pt x="23" y="64"/>
                </a:cubicBezTo>
                <a:cubicBezTo>
                  <a:pt x="23" y="64"/>
                  <a:pt x="75" y="44"/>
                  <a:pt x="93" y="38"/>
                </a:cubicBezTo>
                <a:cubicBezTo>
                  <a:pt x="94" y="37"/>
                  <a:pt x="95" y="37"/>
                  <a:pt x="95" y="37"/>
                </a:cubicBezTo>
                <a:cubicBezTo>
                  <a:pt x="96" y="37"/>
                  <a:pt x="96" y="38"/>
                  <a:pt x="96" y="39"/>
                </a:cubicBezTo>
                <a:cubicBezTo>
                  <a:pt x="97" y="41"/>
                  <a:pt x="98" y="44"/>
                  <a:pt x="100" y="48"/>
                </a:cubicBezTo>
                <a:cubicBezTo>
                  <a:pt x="102" y="51"/>
                  <a:pt x="107" y="56"/>
                  <a:pt x="114" y="56"/>
                </a:cubicBezTo>
                <a:cubicBezTo>
                  <a:pt x="116" y="56"/>
                  <a:pt x="118" y="56"/>
                  <a:pt x="119" y="55"/>
                </a:cubicBezTo>
                <a:cubicBezTo>
                  <a:pt x="132" y="51"/>
                  <a:pt x="211" y="21"/>
                  <a:pt x="223" y="16"/>
                </a:cubicBezTo>
                <a:cubicBezTo>
                  <a:pt x="223" y="17"/>
                  <a:pt x="224" y="18"/>
                  <a:pt x="224" y="18"/>
                </a:cubicBezTo>
                <a:cubicBezTo>
                  <a:pt x="224" y="19"/>
                  <a:pt x="224" y="19"/>
                  <a:pt x="224" y="19"/>
                </a:cubicBezTo>
                <a:cubicBezTo>
                  <a:pt x="224" y="19"/>
                  <a:pt x="224" y="19"/>
                  <a:pt x="224" y="19"/>
                </a:cubicBezTo>
                <a:cubicBezTo>
                  <a:pt x="228" y="48"/>
                  <a:pt x="228" y="48"/>
                  <a:pt x="228" y="48"/>
                </a:cubicBezTo>
                <a:cubicBezTo>
                  <a:pt x="195" y="61"/>
                  <a:pt x="155" y="75"/>
                  <a:pt x="133" y="84"/>
                </a:cubicBezTo>
                <a:cubicBezTo>
                  <a:pt x="113" y="91"/>
                  <a:pt x="113" y="91"/>
                  <a:pt x="113" y="91"/>
                </a:cubicBezTo>
                <a:cubicBezTo>
                  <a:pt x="100" y="96"/>
                  <a:pt x="100" y="96"/>
                  <a:pt x="100" y="96"/>
                </a:cubicBezTo>
                <a:cubicBezTo>
                  <a:pt x="88" y="100"/>
                  <a:pt x="81" y="103"/>
                  <a:pt x="79" y="104"/>
                </a:cubicBezTo>
                <a:cubicBezTo>
                  <a:pt x="74" y="105"/>
                  <a:pt x="70" y="108"/>
                  <a:pt x="67" y="112"/>
                </a:cubicBezTo>
                <a:cubicBezTo>
                  <a:pt x="67" y="113"/>
                  <a:pt x="67" y="113"/>
                  <a:pt x="66" y="114"/>
                </a:cubicBezTo>
                <a:cubicBezTo>
                  <a:pt x="66" y="114"/>
                  <a:pt x="66" y="114"/>
                  <a:pt x="66" y="114"/>
                </a:cubicBezTo>
                <a:cubicBezTo>
                  <a:pt x="66" y="115"/>
                  <a:pt x="65" y="115"/>
                  <a:pt x="65" y="116"/>
                </a:cubicBezTo>
                <a:cubicBezTo>
                  <a:pt x="65" y="116"/>
                  <a:pt x="65" y="116"/>
                  <a:pt x="65" y="117"/>
                </a:cubicBezTo>
                <a:cubicBezTo>
                  <a:pt x="65" y="117"/>
                  <a:pt x="65" y="117"/>
                  <a:pt x="65" y="117"/>
                </a:cubicBezTo>
                <a:cubicBezTo>
                  <a:pt x="64" y="118"/>
                  <a:pt x="64" y="119"/>
                  <a:pt x="64" y="119"/>
                </a:cubicBezTo>
                <a:cubicBezTo>
                  <a:pt x="64" y="119"/>
                  <a:pt x="64" y="119"/>
                  <a:pt x="64" y="119"/>
                </a:cubicBezTo>
                <a:cubicBezTo>
                  <a:pt x="64" y="120"/>
                  <a:pt x="64" y="120"/>
                  <a:pt x="64" y="120"/>
                </a:cubicBezTo>
                <a:cubicBezTo>
                  <a:pt x="39" y="237"/>
                  <a:pt x="39" y="237"/>
                  <a:pt x="39" y="237"/>
                </a:cubicBezTo>
                <a:lnTo>
                  <a:pt x="16" y="75"/>
                </a:lnTo>
                <a:close/>
              </a:path>
            </a:pathLst>
          </a:custGeom>
          <a:solidFill>
            <a:srgbClr val="E1E2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 name="Rectangle 4"/>
          <p:cNvSpPr>
            <a:spLocks noChangeArrowheads="1"/>
          </p:cNvSpPr>
          <p:nvPr/>
        </p:nvSpPr>
        <p:spPr bwMode="gray">
          <a:xfrm>
            <a:off x="2971799" y="1716311"/>
            <a:ext cx="5827373" cy="705404"/>
          </a:xfrm>
          <a:prstGeom prst="roundRect">
            <a:avLst>
              <a:gd name="adj" fmla="val 16667"/>
            </a:avLst>
          </a:prstGeom>
          <a:blipFill dpi="0" rotWithShape="1">
            <a:blip r:embed="rId3"/>
            <a:srcRect/>
            <a:stretch>
              <a:fillRect/>
            </a:stretch>
          </a:blipFill>
          <a:ln>
            <a:noFill/>
          </a:ln>
          <a:extLst>
            <a:ext uri="{91240B29-F687-4F45-9708-019B960494DF}">
              <a14:hiddenLine xmlns:a14="http://schemas.microsoft.com/office/drawing/2010/main" w="9525" algn="ctr">
                <a:solidFill>
                  <a:srgbClr val="000000"/>
                </a:solidFill>
                <a:round/>
                <a:headEnd/>
                <a:tailEnd/>
              </a14:hiddenLine>
            </a:ext>
          </a:extLst>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pPr>
            <a:r>
              <a:rPr lang="en-US" sz="1800" dirty="0" smtClean="0">
                <a:solidFill>
                  <a:schemeClr val="bg1"/>
                </a:solidFill>
              </a:rPr>
              <a:t>ERICSSON VISION AND STRATEGY</a:t>
            </a:r>
            <a:endParaRPr lang="en-US" sz="1800" dirty="0">
              <a:solidFill>
                <a:schemeClr val="bg1"/>
              </a:solidFill>
            </a:endParaRPr>
          </a:p>
        </p:txBody>
      </p:sp>
      <p:sp>
        <p:nvSpPr>
          <p:cNvPr id="8" name="Rectangle 4"/>
          <p:cNvSpPr>
            <a:spLocks noChangeArrowheads="1"/>
          </p:cNvSpPr>
          <p:nvPr/>
        </p:nvSpPr>
        <p:spPr bwMode="gray">
          <a:xfrm>
            <a:off x="2971799" y="2596328"/>
            <a:ext cx="5827373" cy="705404"/>
          </a:xfrm>
          <a:prstGeom prst="roundRect">
            <a:avLst>
              <a:gd name="adj" fmla="val 16667"/>
            </a:avLst>
          </a:prstGeom>
          <a:blipFill>
            <a:blip r:embed="rId4" cstate="print"/>
            <a:stretch>
              <a:fillRect/>
            </a:stretch>
          </a:blipFill>
          <a:ln>
            <a:noFill/>
          </a:ln>
          <a:extLst/>
        </p:spPr>
        <p:txBody>
          <a:bodyPr lIns="72009" tIns="72009" rIns="72009" bIns="72009" anchor="ctr"/>
          <a:lstStyle/>
          <a:p>
            <a:pPr marL="228600" indent="-228600" algn="l" eaLnBrk="0" hangingPunct="0">
              <a:lnSpc>
                <a:spcPct val="90000"/>
              </a:lnSpc>
              <a:spcAft>
                <a:spcPct val="70000"/>
              </a:spcAft>
              <a:buClr>
                <a:schemeClr val="hlink"/>
              </a:buClr>
              <a:buFont typeface="Ericsson Capital TT" pitchFamily="2" charset="0"/>
              <a:buNone/>
              <a:tabLst>
                <a:tab pos="1701800" algn="l"/>
              </a:tabLst>
            </a:pPr>
            <a:r>
              <a:rPr lang="en-US" sz="1800" dirty="0" smtClean="0">
                <a:solidFill>
                  <a:schemeClr val="bg1"/>
                </a:solidFill>
                <a:cs typeface="Arial" charset="0"/>
              </a:rPr>
              <a:t>ERICSSON CATALOG MANAGER</a:t>
            </a:r>
            <a:br>
              <a:rPr lang="en-US" sz="1800" dirty="0" smtClean="0">
                <a:solidFill>
                  <a:schemeClr val="bg1"/>
                </a:solidFill>
                <a:cs typeface="Arial" charset="0"/>
              </a:rPr>
            </a:br>
            <a:r>
              <a:rPr lang="en-US" sz="1800" dirty="0" smtClean="0">
                <a:solidFill>
                  <a:schemeClr val="bg1"/>
                </a:solidFill>
                <a:cs typeface="Arial" charset="0"/>
              </a:rPr>
              <a:t>RELEASE 14 ENHANCEMENTS AND ROADMAP</a:t>
            </a:r>
            <a:endParaRPr lang="en-US" sz="1800" dirty="0">
              <a:solidFill>
                <a:schemeClr val="bg1"/>
              </a:solidFill>
              <a:cs typeface="Arial" charset="0"/>
            </a:endParaRPr>
          </a:p>
        </p:txBody>
      </p:sp>
      <p:sp>
        <p:nvSpPr>
          <p:cNvPr id="9" name="Rectangle 4"/>
          <p:cNvSpPr>
            <a:spLocks noChangeArrowheads="1"/>
          </p:cNvSpPr>
          <p:nvPr/>
        </p:nvSpPr>
        <p:spPr bwMode="gray">
          <a:xfrm>
            <a:off x="2971799" y="3476345"/>
            <a:ext cx="5827373" cy="705404"/>
          </a:xfrm>
          <a:prstGeom prst="roundRect">
            <a:avLst>
              <a:gd name="adj" fmla="val 16667"/>
            </a:avLst>
          </a:prstGeom>
          <a:blipFill dpi="0" rotWithShape="1">
            <a:blip r:embed="rId5"/>
            <a:srcRect/>
            <a:stretch>
              <a:fillRect/>
            </a:stretch>
          </a:blipFill>
          <a:ln>
            <a:noFill/>
          </a:ln>
          <a:extLst>
            <a:ext uri="{91240B29-F687-4F45-9708-019B960494DF}">
              <a14:hiddenLine xmlns:a14="http://schemas.microsoft.com/office/drawing/2010/main" w="9525" algn="ctr">
                <a:solidFill>
                  <a:srgbClr val="000000"/>
                </a:solidFill>
                <a:round/>
                <a:headEnd/>
                <a:tailEnd/>
              </a14:hiddenLine>
            </a:ext>
          </a:extLst>
        </p:spPr>
        <p:txBody>
          <a:bodyPr lIns="72009" tIns="72009" rIns="72009" bIns="72009" anchor="ctr"/>
          <a:lstStyle/>
          <a:p>
            <a:pPr marL="228600" indent="-228600" algn="l" eaLnBrk="0" hangingPunct="0">
              <a:lnSpc>
                <a:spcPct val="90000"/>
              </a:lnSpc>
              <a:spcAft>
                <a:spcPct val="70000"/>
              </a:spcAft>
              <a:buClr>
                <a:schemeClr val="hlink"/>
              </a:buClr>
              <a:buFont typeface="Ericsson Capital TT" pitchFamily="2" charset="0"/>
              <a:buNone/>
              <a:tabLst>
                <a:tab pos="1701800" algn="l"/>
              </a:tabLst>
            </a:pPr>
            <a:r>
              <a:rPr lang="en-US" sz="1800" dirty="0" smtClean="0">
                <a:solidFill>
                  <a:schemeClr val="bg1"/>
                </a:solidFill>
              </a:rPr>
              <a:t>ERICSSON ORDER CARE</a:t>
            </a:r>
            <a:br>
              <a:rPr lang="en-US" sz="1800" dirty="0" smtClean="0">
                <a:solidFill>
                  <a:schemeClr val="bg1"/>
                </a:solidFill>
              </a:rPr>
            </a:br>
            <a:r>
              <a:rPr lang="en-US" sz="1800" dirty="0" smtClean="0">
                <a:solidFill>
                  <a:schemeClr val="bg1"/>
                </a:solidFill>
              </a:rPr>
              <a:t>RELEASE 14 ENHANCEMENTS AND ROADMAP</a:t>
            </a:r>
            <a:endParaRPr lang="en-US" sz="1800" dirty="0">
              <a:solidFill>
                <a:schemeClr val="bg1"/>
              </a:solidFill>
            </a:endParaRPr>
          </a:p>
        </p:txBody>
      </p:sp>
      <p:sp>
        <p:nvSpPr>
          <p:cNvPr id="10" name="Rectangle 4"/>
          <p:cNvSpPr>
            <a:spLocks noChangeArrowheads="1"/>
          </p:cNvSpPr>
          <p:nvPr/>
        </p:nvSpPr>
        <p:spPr bwMode="gray">
          <a:xfrm>
            <a:off x="2971799" y="4356362"/>
            <a:ext cx="5827373" cy="705404"/>
          </a:xfrm>
          <a:prstGeom prst="roundRect">
            <a:avLst>
              <a:gd name="adj" fmla="val 16667"/>
            </a:avLst>
          </a:prstGeom>
          <a:blipFill dpi="0" rotWithShape="1">
            <a:blip r:embed="rId6"/>
            <a:srcRect/>
            <a:stretch>
              <a:fillRect/>
            </a:stretch>
          </a:blipFill>
          <a:ln>
            <a:noFill/>
          </a:ln>
          <a:extLst/>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defRPr/>
            </a:pPr>
            <a:r>
              <a:rPr lang="en-US" sz="1800" dirty="0" smtClean="0">
                <a:solidFill>
                  <a:schemeClr val="bg1"/>
                </a:solidFill>
                <a:latin typeface="Arial" charset="0"/>
                <a:cs typeface="Arial" charset="0"/>
              </a:rPr>
              <a:t>BEST PRACTICES FOR UPGRADING TO 14.X</a:t>
            </a:r>
            <a:endParaRPr lang="en-US" sz="1800" dirty="0">
              <a:solidFill>
                <a:schemeClr val="bg1"/>
              </a:solidFill>
              <a:latin typeface="Arial" charset="0"/>
              <a:cs typeface="Arial" charset="0"/>
            </a:endParaRPr>
          </a:p>
        </p:txBody>
      </p:sp>
      <p:sp>
        <p:nvSpPr>
          <p:cNvPr id="19" name="Rectangle 4"/>
          <p:cNvSpPr>
            <a:spLocks noChangeArrowheads="1"/>
          </p:cNvSpPr>
          <p:nvPr/>
        </p:nvSpPr>
        <p:spPr bwMode="gray">
          <a:xfrm>
            <a:off x="2971799" y="5236378"/>
            <a:ext cx="5827373" cy="705404"/>
          </a:xfrm>
          <a:prstGeom prst="roundRect">
            <a:avLst>
              <a:gd name="adj" fmla="val 16667"/>
            </a:avLst>
          </a:prstGeom>
          <a:blipFill dpi="0" rotWithShape="1">
            <a:blip r:embed="rId7"/>
            <a:srcRect/>
            <a:stretch>
              <a:fillRect/>
            </a:stretch>
          </a:blipFill>
          <a:ln>
            <a:noFill/>
          </a:ln>
          <a:extLst/>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defRPr/>
            </a:pPr>
            <a:r>
              <a:rPr lang="en-US" sz="1800" dirty="0" smtClean="0">
                <a:solidFill>
                  <a:schemeClr val="bg1"/>
                </a:solidFill>
                <a:latin typeface="Arial" charset="0"/>
                <a:cs typeface="Arial" charset="0"/>
              </a:rPr>
              <a:t>WRAP-UP AND Q&amp;A</a:t>
            </a:r>
            <a:endParaRPr lang="en-US" sz="1800" dirty="0">
              <a:solidFill>
                <a:schemeClr val="bg1"/>
              </a:solidFill>
              <a:latin typeface="Arial" charset="0"/>
              <a:cs typeface="Arial" charset="0"/>
            </a:endParaRPr>
          </a:p>
        </p:txBody>
      </p:sp>
      <p:sp>
        <p:nvSpPr>
          <p:cNvPr id="11" name="Freeform 8"/>
          <p:cNvSpPr>
            <a:spLocks noChangeAspect="1"/>
          </p:cNvSpPr>
          <p:nvPr/>
        </p:nvSpPr>
        <p:spPr bwMode="auto">
          <a:xfrm>
            <a:off x="1901819" y="1645153"/>
            <a:ext cx="996049" cy="847719"/>
          </a:xfrm>
          <a:custGeom>
            <a:avLst/>
            <a:gdLst>
              <a:gd name="T0" fmla="*/ 2147483647 w 529"/>
              <a:gd name="T1" fmla="*/ 2147483647 h 450"/>
              <a:gd name="T2" fmla="*/ 2147483647 w 529"/>
              <a:gd name="T3" fmla="*/ 2147483647 h 450"/>
              <a:gd name="T4" fmla="*/ 2147483647 w 529"/>
              <a:gd name="T5" fmla="*/ 2147483647 h 450"/>
              <a:gd name="T6" fmla="*/ 2147483647 w 529"/>
              <a:gd name="T7" fmla="*/ 2147483647 h 450"/>
              <a:gd name="T8" fmla="*/ 2147483647 w 529"/>
              <a:gd name="T9" fmla="*/ 2147483647 h 450"/>
              <a:gd name="T10" fmla="*/ 2147483647 w 529"/>
              <a:gd name="T11" fmla="*/ 2147483647 h 450"/>
              <a:gd name="T12" fmla="*/ 2147483647 w 529"/>
              <a:gd name="T13" fmla="*/ 2147483647 h 450"/>
              <a:gd name="T14" fmla="*/ 0 w 529"/>
              <a:gd name="T15" fmla="*/ 2147483647 h 450"/>
              <a:gd name="T16" fmla="*/ 0 w 529"/>
              <a:gd name="T17" fmla="*/ 2147483647 h 450"/>
              <a:gd name="T18" fmla="*/ 2147483647 w 529"/>
              <a:gd name="T19" fmla="*/ 2147483647 h 450"/>
              <a:gd name="T20" fmla="*/ 2147483647 w 529"/>
              <a:gd name="T21" fmla="*/ 2147483647 h 450"/>
              <a:gd name="T22" fmla="*/ 2147483647 w 529"/>
              <a:gd name="T23" fmla="*/ 2147483647 h 450"/>
              <a:gd name="T24" fmla="*/ 2147483647 w 529"/>
              <a:gd name="T25" fmla="*/ 2147483647 h 450"/>
              <a:gd name="T26" fmla="*/ 2147483647 w 529"/>
              <a:gd name="T27" fmla="*/ 2147483647 h 4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9"/>
              <a:gd name="T43" fmla="*/ 0 h 450"/>
              <a:gd name="T44" fmla="*/ 529 w 529"/>
              <a:gd name="T45" fmla="*/ 450 h 4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9" h="450">
                <a:moveTo>
                  <a:pt x="524" y="241"/>
                </a:moveTo>
                <a:cubicBezTo>
                  <a:pt x="528" y="232"/>
                  <a:pt x="529" y="231"/>
                  <a:pt x="529" y="225"/>
                </a:cubicBezTo>
                <a:cubicBezTo>
                  <a:pt x="529" y="218"/>
                  <a:pt x="529" y="217"/>
                  <a:pt x="524" y="208"/>
                </a:cubicBezTo>
                <a:cubicBezTo>
                  <a:pt x="519" y="198"/>
                  <a:pt x="425" y="27"/>
                  <a:pt x="418" y="14"/>
                </a:cubicBezTo>
                <a:cubicBezTo>
                  <a:pt x="410" y="0"/>
                  <a:pt x="391" y="3"/>
                  <a:pt x="390" y="23"/>
                </a:cubicBezTo>
                <a:cubicBezTo>
                  <a:pt x="390" y="27"/>
                  <a:pt x="390" y="33"/>
                  <a:pt x="390" y="40"/>
                </a:cubicBezTo>
                <a:cubicBezTo>
                  <a:pt x="14" y="40"/>
                  <a:pt x="14" y="40"/>
                  <a:pt x="14" y="40"/>
                </a:cubicBezTo>
                <a:cubicBezTo>
                  <a:pt x="6" y="40"/>
                  <a:pt x="0" y="46"/>
                  <a:pt x="0" y="54"/>
                </a:cubicBezTo>
                <a:cubicBezTo>
                  <a:pt x="0" y="396"/>
                  <a:pt x="0" y="396"/>
                  <a:pt x="0" y="396"/>
                </a:cubicBezTo>
                <a:cubicBezTo>
                  <a:pt x="0" y="403"/>
                  <a:pt x="6" y="409"/>
                  <a:pt x="14" y="409"/>
                </a:cubicBezTo>
                <a:cubicBezTo>
                  <a:pt x="390" y="409"/>
                  <a:pt x="390" y="409"/>
                  <a:pt x="390" y="409"/>
                </a:cubicBezTo>
                <a:cubicBezTo>
                  <a:pt x="390" y="416"/>
                  <a:pt x="390" y="422"/>
                  <a:pt x="390" y="426"/>
                </a:cubicBezTo>
                <a:cubicBezTo>
                  <a:pt x="391" y="446"/>
                  <a:pt x="409" y="450"/>
                  <a:pt x="417" y="437"/>
                </a:cubicBezTo>
                <a:cubicBezTo>
                  <a:pt x="429" y="415"/>
                  <a:pt x="521" y="248"/>
                  <a:pt x="524" y="241"/>
                </a:cubicBezTo>
                <a:close/>
              </a:path>
            </a:pathLst>
          </a:custGeom>
          <a:blipFill dpi="0" rotWithShape="1">
            <a:blip r:embed="rId3"/>
            <a:srcRect/>
            <a:stretch>
              <a:fillRect/>
            </a:stretch>
          </a:blipFill>
          <a:ln>
            <a:noFill/>
          </a:ln>
          <a:extLst>
            <a:ext uri="{91240B29-F687-4F45-9708-019B960494DF}">
              <a14:hiddenLine xmlns:a14="http://schemas.microsoft.com/office/drawing/2010/main" w="9525" algn="ctr">
                <a:solidFill>
                  <a:srgbClr val="000000"/>
                </a:solidFill>
                <a:round/>
                <a:headEnd/>
                <a:tailEnd/>
              </a14:hiddenLine>
            </a:ext>
          </a:extLst>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pPr>
            <a:endParaRPr lang="en-US" sz="1800"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101423040"/>
              </p:ext>
            </p:extLst>
          </p:nvPr>
        </p:nvGraphicFramePr>
        <p:xfrm>
          <a:off x="-1503135" y="1645153"/>
          <a:ext cx="1373868" cy="4730658"/>
        </p:xfrm>
        <a:graphic>
          <a:graphicData uri="http://schemas.openxmlformats.org/drawingml/2006/table">
            <a:tbl>
              <a:tblPr bandRow="1">
                <a:tableStyleId>{E8034E78-7F5D-4C2E-B375-FC64B27BC917}</a:tableStyleId>
              </a:tblPr>
              <a:tblGrid>
                <a:gridCol w="1373868"/>
              </a:tblGrid>
              <a:tr h="852060">
                <a:tc>
                  <a:txBody>
                    <a:bodyPr/>
                    <a:lstStyle/>
                    <a:p>
                      <a:pPr algn="ctr"/>
                      <a:r>
                        <a:rPr lang="en-US" dirty="0" smtClean="0">
                          <a:solidFill>
                            <a:srgbClr val="FF0000"/>
                          </a:solidFill>
                        </a:rPr>
                        <a:t>20 min</a:t>
                      </a:r>
                      <a:endParaRPr lang="en-US" dirty="0">
                        <a:solidFill>
                          <a:srgbClr val="FF0000"/>
                        </a:solidFill>
                      </a:endParaRPr>
                    </a:p>
                  </a:txBody>
                  <a:tcPr anchor="ctr"/>
                </a:tc>
              </a:tr>
              <a:tr h="806203">
                <a:tc>
                  <a:txBody>
                    <a:bodyPr/>
                    <a:lstStyle/>
                    <a:p>
                      <a:pPr algn="ctr"/>
                      <a:r>
                        <a:rPr lang="en-US" dirty="0" smtClean="0">
                          <a:solidFill>
                            <a:srgbClr val="FF0000"/>
                          </a:solidFill>
                        </a:rPr>
                        <a:t>20 min</a:t>
                      </a:r>
                      <a:endParaRPr lang="en-US" dirty="0">
                        <a:solidFill>
                          <a:srgbClr val="FF0000"/>
                        </a:solidFill>
                      </a:endParaRPr>
                    </a:p>
                  </a:txBody>
                  <a:tcPr anchor="ctr"/>
                </a:tc>
              </a:tr>
              <a:tr h="892629">
                <a:tc>
                  <a:txBody>
                    <a:bodyPr/>
                    <a:lstStyle/>
                    <a:p>
                      <a:pPr algn="ctr"/>
                      <a:r>
                        <a:rPr lang="en-US" dirty="0" smtClean="0">
                          <a:solidFill>
                            <a:srgbClr val="FF0000"/>
                          </a:solidFill>
                        </a:rPr>
                        <a:t>15 min</a:t>
                      </a:r>
                      <a:endParaRPr lang="en-US" dirty="0">
                        <a:solidFill>
                          <a:srgbClr val="FF0000"/>
                        </a:solidFill>
                      </a:endParaRPr>
                    </a:p>
                  </a:txBody>
                  <a:tcPr anchor="ctr"/>
                </a:tc>
              </a:tr>
              <a:tr h="816429">
                <a:tc>
                  <a:txBody>
                    <a:bodyPr/>
                    <a:lstStyle/>
                    <a:p>
                      <a:pPr algn="ctr"/>
                      <a:r>
                        <a:rPr lang="en-US" dirty="0" smtClean="0">
                          <a:solidFill>
                            <a:srgbClr val="FF0000"/>
                          </a:solidFill>
                        </a:rPr>
                        <a:t>10 min</a:t>
                      </a:r>
                      <a:endParaRPr lang="en-US" dirty="0">
                        <a:solidFill>
                          <a:srgbClr val="FF0000"/>
                        </a:solidFill>
                      </a:endParaRPr>
                    </a:p>
                  </a:txBody>
                  <a:tcPr anchor="ctr"/>
                </a:tc>
              </a:tr>
              <a:tr h="1363337">
                <a:tc>
                  <a:txBody>
                    <a:bodyPr/>
                    <a:lstStyle/>
                    <a:p>
                      <a:pPr algn="ctr"/>
                      <a:r>
                        <a:rPr lang="en-US" dirty="0" smtClean="0">
                          <a:solidFill>
                            <a:srgbClr val="FF0000"/>
                          </a:solidFill>
                        </a:rPr>
                        <a:t>20 min</a:t>
                      </a:r>
                      <a:r>
                        <a:rPr lang="en-US" baseline="0" dirty="0" smtClean="0">
                          <a:solidFill>
                            <a:srgbClr val="FF0000"/>
                          </a:solidFill>
                        </a:rPr>
                        <a:t> </a:t>
                      </a:r>
                      <a:r>
                        <a:rPr lang="en-US" sz="1400" baseline="0" dirty="0" smtClean="0">
                          <a:solidFill>
                            <a:srgbClr val="FF0000"/>
                          </a:solidFill>
                        </a:rPr>
                        <a:t>(room for up to 3 minutes over each)</a:t>
                      </a:r>
                      <a:endParaRPr lang="en-US" sz="1400" dirty="0">
                        <a:solidFill>
                          <a:srgbClr val="FF0000"/>
                        </a:solidFill>
                      </a:endParaRPr>
                    </a:p>
                  </a:txBody>
                  <a:tcPr anchor="ctr"/>
                </a:tc>
              </a:tr>
            </a:tbl>
          </a:graphicData>
        </a:graphic>
      </p:graphicFrame>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Title 3"/>
          <p:cNvSpPr>
            <a:spLocks noGrp="1"/>
          </p:cNvSpPr>
          <p:nvPr>
            <p:ph type="title"/>
          </p:nvPr>
        </p:nvSpPr>
        <p:spPr/>
        <p:txBody>
          <a:bodyPr/>
          <a:lstStyle/>
          <a:p>
            <a:pPr eaLnBrk="1" hangingPunct="1">
              <a:defRPr/>
            </a:pPr>
            <a:r>
              <a:rPr lang="en-US" sz="3600" dirty="0" smtClean="0">
                <a:latin typeface="Ericsson Capital TT" pitchFamily="2" charset="0"/>
              </a:rPr>
              <a:t>Catalog-Driven Everything</a:t>
            </a:r>
            <a:endParaRPr lang="en-US" dirty="0" smtClean="0">
              <a:latin typeface="+mn-lt"/>
            </a:endParaRPr>
          </a:p>
        </p:txBody>
      </p:sp>
      <p:sp>
        <p:nvSpPr>
          <p:cNvPr id="65" name="Oval 31"/>
          <p:cNvSpPr>
            <a:spLocks noChangeArrowheads="1"/>
          </p:cNvSpPr>
          <p:nvPr/>
        </p:nvSpPr>
        <p:spPr bwMode="auto">
          <a:xfrm>
            <a:off x="2524130" y="3391727"/>
            <a:ext cx="1113610" cy="1113610"/>
          </a:xfrm>
          <a:prstGeom prst="ellipse">
            <a:avLst/>
          </a:prstGeom>
          <a:solidFill>
            <a:srgbClr val="00285F"/>
          </a:solidFill>
          <a:ln w="57150" algn="ctr">
            <a:solidFill>
              <a:srgbClr val="00285F"/>
            </a:solidFill>
            <a:round/>
            <a:headEnd/>
            <a:tailEnd/>
          </a:ln>
        </p:spPr>
        <p:txBody>
          <a:bodyPr wrap="none" lIns="72000" rIns="72000"/>
          <a:lstStyle/>
          <a:p>
            <a:pPr>
              <a:lnSpc>
                <a:spcPct val="95000"/>
              </a:lnSpc>
            </a:pPr>
            <a:endParaRPr lang="en-US" sz="1100" b="1">
              <a:solidFill>
                <a:schemeClr val="tx2"/>
              </a:solidFill>
              <a:cs typeface="Arial" pitchFamily="34" charset="0"/>
            </a:endParaRPr>
          </a:p>
        </p:txBody>
      </p:sp>
      <p:sp>
        <p:nvSpPr>
          <p:cNvPr id="66" name="Freeform 3"/>
          <p:cNvSpPr>
            <a:spLocks noChangeAspect="1"/>
          </p:cNvSpPr>
          <p:nvPr/>
        </p:nvSpPr>
        <p:spPr bwMode="auto">
          <a:xfrm rot="10800000">
            <a:off x="953515" y="1878924"/>
            <a:ext cx="4252090" cy="4409015"/>
          </a:xfrm>
          <a:custGeom>
            <a:avLst/>
            <a:gdLst>
              <a:gd name="T0" fmla="*/ 2147483647 w 1022"/>
              <a:gd name="T1" fmla="*/ 2147483647 h 1060"/>
              <a:gd name="T2" fmla="*/ 2147483647 w 1022"/>
              <a:gd name="T3" fmla="*/ 2147483647 h 1060"/>
              <a:gd name="T4" fmla="*/ 2147483647 w 1022"/>
              <a:gd name="T5" fmla="*/ 2147483647 h 1060"/>
              <a:gd name="T6" fmla="*/ 2147483647 w 1022"/>
              <a:gd name="T7" fmla="*/ 2147483647 h 1060"/>
              <a:gd name="T8" fmla="*/ 2147483647 w 1022"/>
              <a:gd name="T9" fmla="*/ 2147483647 h 1060"/>
              <a:gd name="T10" fmla="*/ 2147483647 w 1022"/>
              <a:gd name="T11" fmla="*/ 2147483647 h 1060"/>
              <a:gd name="T12" fmla="*/ 2147483647 w 1022"/>
              <a:gd name="T13" fmla="*/ 2147483647 h 1060"/>
              <a:gd name="T14" fmla="*/ 2147483647 w 1022"/>
              <a:gd name="T15" fmla="*/ 2147483647 h 1060"/>
              <a:gd name="T16" fmla="*/ 2147483647 w 1022"/>
              <a:gd name="T17" fmla="*/ 2147483647 h 1060"/>
              <a:gd name="T18" fmla="*/ 2147483647 w 1022"/>
              <a:gd name="T19" fmla="*/ 2147483647 h 1060"/>
              <a:gd name="T20" fmla="*/ 2147483647 w 1022"/>
              <a:gd name="T21" fmla="*/ 2147483647 h 1060"/>
              <a:gd name="T22" fmla="*/ 2147483647 w 1022"/>
              <a:gd name="T23" fmla="*/ 2147483647 h 1060"/>
              <a:gd name="T24" fmla="*/ 2147483647 w 1022"/>
              <a:gd name="T25" fmla="*/ 2147483647 h 1060"/>
              <a:gd name="T26" fmla="*/ 2147483647 w 1022"/>
              <a:gd name="T27" fmla="*/ 2147483647 h 1060"/>
              <a:gd name="T28" fmla="*/ 2147483647 w 1022"/>
              <a:gd name="T29" fmla="*/ 2147483647 h 1060"/>
              <a:gd name="T30" fmla="*/ 2147483647 w 1022"/>
              <a:gd name="T31" fmla="*/ 2147483647 h 1060"/>
              <a:gd name="T32" fmla="*/ 2147483647 w 1022"/>
              <a:gd name="T33" fmla="*/ 2147483647 h 1060"/>
              <a:gd name="T34" fmla="*/ 0 w 1022"/>
              <a:gd name="T35" fmla="*/ 2147483647 h 1060"/>
              <a:gd name="T36" fmla="*/ 2147483647 w 1022"/>
              <a:gd name="T37" fmla="*/ 2147483647 h 1060"/>
              <a:gd name="T38" fmla="*/ 2147483647 w 1022"/>
              <a:gd name="T39" fmla="*/ 2147483647 h 1060"/>
              <a:gd name="T40" fmla="*/ 2147483647 w 1022"/>
              <a:gd name="T41" fmla="*/ 2147483647 h 10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22"/>
              <a:gd name="T64" fmla="*/ 0 h 1060"/>
              <a:gd name="T65" fmla="*/ 1022 w 1022"/>
              <a:gd name="T66" fmla="*/ 1060 h 106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22" h="1060">
                <a:moveTo>
                  <a:pt x="522" y="38"/>
                </a:moveTo>
                <a:cubicBezTo>
                  <a:pt x="553" y="63"/>
                  <a:pt x="588" y="92"/>
                  <a:pt x="595" y="97"/>
                </a:cubicBezTo>
                <a:cubicBezTo>
                  <a:pt x="606" y="106"/>
                  <a:pt x="611" y="117"/>
                  <a:pt x="611" y="129"/>
                </a:cubicBezTo>
                <a:cubicBezTo>
                  <a:pt x="611" y="142"/>
                  <a:pt x="606" y="152"/>
                  <a:pt x="595" y="161"/>
                </a:cubicBezTo>
                <a:cubicBezTo>
                  <a:pt x="589" y="166"/>
                  <a:pt x="565" y="185"/>
                  <a:pt x="540" y="205"/>
                </a:cubicBezTo>
                <a:cubicBezTo>
                  <a:pt x="717" y="219"/>
                  <a:pt x="857" y="368"/>
                  <a:pt x="857" y="549"/>
                </a:cubicBezTo>
                <a:cubicBezTo>
                  <a:pt x="857" y="740"/>
                  <a:pt x="702" y="895"/>
                  <a:pt x="511" y="895"/>
                </a:cubicBezTo>
                <a:cubicBezTo>
                  <a:pt x="320" y="895"/>
                  <a:pt x="165" y="740"/>
                  <a:pt x="165" y="549"/>
                </a:cubicBezTo>
                <a:cubicBezTo>
                  <a:pt x="165" y="385"/>
                  <a:pt x="279" y="248"/>
                  <a:pt x="432" y="213"/>
                </a:cubicBezTo>
                <a:cubicBezTo>
                  <a:pt x="432" y="223"/>
                  <a:pt x="432" y="230"/>
                  <a:pt x="432" y="231"/>
                </a:cubicBezTo>
                <a:cubicBezTo>
                  <a:pt x="432" y="255"/>
                  <a:pt x="447" y="258"/>
                  <a:pt x="462" y="246"/>
                </a:cubicBezTo>
                <a:cubicBezTo>
                  <a:pt x="476" y="235"/>
                  <a:pt x="571" y="160"/>
                  <a:pt x="585" y="149"/>
                </a:cubicBezTo>
                <a:cubicBezTo>
                  <a:pt x="592" y="143"/>
                  <a:pt x="595" y="137"/>
                  <a:pt x="595" y="129"/>
                </a:cubicBezTo>
                <a:cubicBezTo>
                  <a:pt x="595" y="121"/>
                  <a:pt x="592" y="115"/>
                  <a:pt x="585" y="110"/>
                </a:cubicBezTo>
                <a:cubicBezTo>
                  <a:pt x="571" y="98"/>
                  <a:pt x="470" y="18"/>
                  <a:pt x="462" y="12"/>
                </a:cubicBezTo>
                <a:cubicBezTo>
                  <a:pt x="446" y="0"/>
                  <a:pt x="432" y="3"/>
                  <a:pt x="432" y="27"/>
                </a:cubicBezTo>
                <a:cubicBezTo>
                  <a:pt x="432" y="28"/>
                  <a:pt x="432" y="34"/>
                  <a:pt x="432" y="44"/>
                </a:cubicBezTo>
                <a:cubicBezTo>
                  <a:pt x="187" y="83"/>
                  <a:pt x="0" y="294"/>
                  <a:pt x="0" y="549"/>
                </a:cubicBezTo>
                <a:cubicBezTo>
                  <a:pt x="0" y="831"/>
                  <a:pt x="229" y="1060"/>
                  <a:pt x="511" y="1060"/>
                </a:cubicBezTo>
                <a:cubicBezTo>
                  <a:pt x="793" y="1060"/>
                  <a:pt x="1022" y="831"/>
                  <a:pt x="1022" y="549"/>
                </a:cubicBezTo>
                <a:cubicBezTo>
                  <a:pt x="1022" y="271"/>
                  <a:pt x="799" y="44"/>
                  <a:pt x="522" y="38"/>
                </a:cubicBezTo>
                <a:close/>
              </a:path>
            </a:pathLst>
          </a:custGeom>
          <a:solidFill>
            <a:srgbClr val="92CCE5"/>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bIns="82296" anchor="ctr"/>
          <a:lstStyle/>
          <a:p>
            <a:pPr>
              <a:spcBef>
                <a:spcPct val="50000"/>
              </a:spcBef>
            </a:pPr>
            <a:r>
              <a:rPr lang="en-US" sz="1200"/>
              <a:t>         </a:t>
            </a:r>
          </a:p>
        </p:txBody>
      </p:sp>
      <p:sp>
        <p:nvSpPr>
          <p:cNvPr id="67" name="Rectangle 2"/>
          <p:cNvSpPr>
            <a:spLocks noChangeArrowheads="1"/>
          </p:cNvSpPr>
          <p:nvPr/>
        </p:nvSpPr>
        <p:spPr bwMode="auto">
          <a:xfrm>
            <a:off x="2752685" y="5614818"/>
            <a:ext cx="933183" cy="291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nSpc>
                <a:spcPct val="95000"/>
              </a:lnSpc>
            </a:pPr>
            <a:r>
              <a:rPr lang="en-US" sz="1100" b="1" dirty="0">
                <a:solidFill>
                  <a:srgbClr val="FFFFFF"/>
                </a:solidFill>
                <a:cs typeface="Arial" pitchFamily="34" charset="0"/>
              </a:rPr>
              <a:t>Analytics</a:t>
            </a:r>
          </a:p>
        </p:txBody>
      </p:sp>
      <p:sp>
        <p:nvSpPr>
          <p:cNvPr id="68" name="Oval 31"/>
          <p:cNvSpPr>
            <a:spLocks noChangeArrowheads="1"/>
          </p:cNvSpPr>
          <p:nvPr/>
        </p:nvSpPr>
        <p:spPr bwMode="auto">
          <a:xfrm>
            <a:off x="2528262" y="1672454"/>
            <a:ext cx="1112233" cy="1113611"/>
          </a:xfrm>
          <a:prstGeom prst="ellipse">
            <a:avLst/>
          </a:prstGeom>
          <a:solidFill>
            <a:srgbClr val="FFFFFF"/>
          </a:solidFill>
          <a:ln w="57150" cap="flat" cmpd="sng" algn="ctr">
            <a:solidFill>
              <a:schemeClr val="accent2"/>
            </a:solidFill>
            <a:prstDash val="solid"/>
            <a:round/>
            <a:headEnd type="none" w="med" len="med"/>
            <a:tailEnd type="none" w="med" len="med"/>
          </a:ln>
          <a:scene3d>
            <a:camera prst="orthographicFront"/>
            <a:lightRig rig="threePt" dir="t"/>
          </a:scene3d>
          <a:sp3d>
            <a:bevelT prst="angle"/>
          </a:sp3d>
        </p:spPr>
        <p:txBody>
          <a:bodyPr wrap="none" lIns="72000" rIns="72000"/>
          <a:lstStyle/>
          <a:p>
            <a:pPr>
              <a:lnSpc>
                <a:spcPct val="95000"/>
              </a:lnSpc>
            </a:pPr>
            <a:endParaRPr lang="en-US" sz="1100" b="1">
              <a:solidFill>
                <a:schemeClr val="tx2"/>
              </a:solidFill>
              <a:cs typeface="Arial" pitchFamily="34" charset="0"/>
            </a:endParaRPr>
          </a:p>
        </p:txBody>
      </p:sp>
      <p:sp>
        <p:nvSpPr>
          <p:cNvPr id="69" name="Rectangle 61"/>
          <p:cNvSpPr>
            <a:spLocks noChangeArrowheads="1"/>
          </p:cNvSpPr>
          <p:nvPr/>
        </p:nvSpPr>
        <p:spPr bwMode="auto">
          <a:xfrm>
            <a:off x="2577817" y="1672454"/>
            <a:ext cx="1062678" cy="1106727"/>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87888A"/>
                </a:solidFill>
                <a:prstDash val="solid"/>
                <a:miter lim="800000"/>
                <a:headEnd type="none" w="med" len="med"/>
                <a:tailEnd type="none" w="med" len="med"/>
              </a14:hiddenLine>
            </a:ext>
          </a:extLst>
        </p:spPr>
        <p:txBody>
          <a:bodyPr anchor="ctr"/>
          <a:lstStyle/>
          <a:p>
            <a:pPr algn="ctr">
              <a:lnSpc>
                <a:spcPct val="95000"/>
              </a:lnSpc>
            </a:pPr>
            <a:r>
              <a:rPr lang="en-US" sz="1100" b="1">
                <a:solidFill>
                  <a:schemeClr val="tx2"/>
                </a:solidFill>
                <a:cs typeface="Arial" pitchFamily="34" charset="0"/>
              </a:rPr>
              <a:t>Leverage Partners, Agents,</a:t>
            </a:r>
            <a:br>
              <a:rPr lang="en-US" sz="1100" b="1">
                <a:solidFill>
                  <a:schemeClr val="tx2"/>
                </a:solidFill>
                <a:cs typeface="Arial" pitchFamily="34" charset="0"/>
              </a:rPr>
            </a:br>
            <a:r>
              <a:rPr lang="en-US" sz="1100" b="1">
                <a:solidFill>
                  <a:schemeClr val="tx2"/>
                </a:solidFill>
                <a:cs typeface="Arial" pitchFamily="34" charset="0"/>
              </a:rPr>
              <a:t>Self-Care</a:t>
            </a:r>
          </a:p>
        </p:txBody>
      </p:sp>
      <p:cxnSp>
        <p:nvCxnSpPr>
          <p:cNvPr id="70" name="Straight Arrow Connector 28"/>
          <p:cNvCxnSpPr>
            <a:cxnSpLocks noChangeShapeType="1"/>
          </p:cNvCxnSpPr>
          <p:nvPr/>
        </p:nvCxnSpPr>
        <p:spPr bwMode="auto">
          <a:xfrm flipV="1">
            <a:off x="2272227" y="4461297"/>
            <a:ext cx="335872" cy="335872"/>
          </a:xfrm>
          <a:prstGeom prst="straightConnector1">
            <a:avLst/>
          </a:prstGeom>
          <a:ln w="38100" cap="rnd" cmpd="sng" algn="ctr">
            <a:solidFill>
              <a:schemeClr val="bg1"/>
            </a:solidFill>
            <a:prstDash val="solid"/>
            <a:round/>
            <a:headEnd type="triangle" w="lg" len="med"/>
            <a:tailEnd type="triangle" w="lg" len="med"/>
          </a:ln>
        </p:spPr>
        <p:style>
          <a:lnRef idx="1">
            <a:schemeClr val="accent2"/>
          </a:lnRef>
          <a:fillRef idx="0">
            <a:schemeClr val="accent2"/>
          </a:fillRef>
          <a:effectRef idx="0">
            <a:schemeClr val="accent2"/>
          </a:effectRef>
          <a:fontRef idx="minor">
            <a:schemeClr val="tx1"/>
          </a:fontRef>
        </p:style>
      </p:cxnSp>
      <p:sp>
        <p:nvSpPr>
          <p:cNvPr id="71" name="Oval 31"/>
          <p:cNvSpPr>
            <a:spLocks noChangeArrowheads="1"/>
          </p:cNvSpPr>
          <p:nvPr/>
        </p:nvSpPr>
        <p:spPr bwMode="auto">
          <a:xfrm>
            <a:off x="1148981" y="2223061"/>
            <a:ext cx="1113610" cy="1113611"/>
          </a:xfrm>
          <a:prstGeom prst="ellipse">
            <a:avLst/>
          </a:prstGeom>
          <a:solidFill>
            <a:srgbClr val="FFFFFF"/>
          </a:solidFill>
          <a:ln w="57150" cap="flat" cmpd="sng" algn="ctr">
            <a:solidFill>
              <a:schemeClr val="accent2"/>
            </a:solidFill>
            <a:prstDash val="solid"/>
            <a:round/>
            <a:headEnd type="none" w="med" len="med"/>
            <a:tailEnd type="none" w="med" len="med"/>
          </a:ln>
          <a:scene3d>
            <a:camera prst="orthographicFront"/>
            <a:lightRig rig="threePt" dir="t"/>
          </a:scene3d>
          <a:sp3d>
            <a:bevelT prst="angle"/>
          </a:sp3d>
        </p:spPr>
        <p:txBody>
          <a:bodyPr wrap="none" lIns="72000" rIns="72000"/>
          <a:lstStyle/>
          <a:p>
            <a:pPr>
              <a:lnSpc>
                <a:spcPct val="95000"/>
              </a:lnSpc>
            </a:pPr>
            <a:endParaRPr lang="en-US" sz="1100" b="1">
              <a:solidFill>
                <a:schemeClr val="tx2"/>
              </a:solidFill>
              <a:cs typeface="Arial" pitchFamily="34" charset="0"/>
            </a:endParaRPr>
          </a:p>
        </p:txBody>
      </p:sp>
      <p:sp>
        <p:nvSpPr>
          <p:cNvPr id="72" name="Oval 31"/>
          <p:cNvSpPr>
            <a:spLocks noChangeArrowheads="1"/>
          </p:cNvSpPr>
          <p:nvPr/>
        </p:nvSpPr>
        <p:spPr bwMode="auto">
          <a:xfrm>
            <a:off x="665820" y="3514245"/>
            <a:ext cx="1113610" cy="1113611"/>
          </a:xfrm>
          <a:prstGeom prst="ellipse">
            <a:avLst/>
          </a:prstGeom>
          <a:solidFill>
            <a:srgbClr val="FFFFFF"/>
          </a:solidFill>
          <a:ln w="57150" cap="flat" cmpd="sng" algn="ctr">
            <a:gradFill>
              <a:gsLst>
                <a:gs pos="70000">
                  <a:schemeClr val="accent1"/>
                </a:gs>
                <a:gs pos="42000">
                  <a:schemeClr val="accent6">
                    <a:lumMod val="75000"/>
                  </a:schemeClr>
                </a:gs>
                <a:gs pos="50000">
                  <a:schemeClr val="accent1">
                    <a:tint val="44500"/>
                    <a:satMod val="160000"/>
                  </a:schemeClr>
                </a:gs>
                <a:gs pos="100000">
                  <a:schemeClr val="accent1">
                    <a:tint val="23500"/>
                    <a:satMod val="160000"/>
                  </a:schemeClr>
                </a:gs>
              </a:gsLst>
              <a:lin ang="5400000" scaled="0"/>
            </a:gradFill>
            <a:prstDash val="solid"/>
            <a:round/>
            <a:headEnd type="none" w="med" len="med"/>
            <a:tailEnd type="none" w="med" len="med"/>
          </a:ln>
          <a:scene3d>
            <a:camera prst="orthographicFront"/>
            <a:lightRig rig="threePt" dir="t"/>
          </a:scene3d>
          <a:sp3d>
            <a:bevelT prst="angle"/>
          </a:sp3d>
        </p:spPr>
        <p:txBody>
          <a:bodyPr wrap="none" lIns="72000" rIns="72000"/>
          <a:lstStyle/>
          <a:p>
            <a:pPr>
              <a:lnSpc>
                <a:spcPct val="95000"/>
              </a:lnSpc>
            </a:pPr>
            <a:endParaRPr lang="en-US" sz="1100" b="1">
              <a:solidFill>
                <a:schemeClr val="tx2"/>
              </a:solidFill>
              <a:cs typeface="Arial" pitchFamily="34" charset="0"/>
            </a:endParaRPr>
          </a:p>
        </p:txBody>
      </p:sp>
      <p:sp>
        <p:nvSpPr>
          <p:cNvPr id="73" name="Oval 31"/>
          <p:cNvSpPr>
            <a:spLocks noChangeArrowheads="1"/>
          </p:cNvSpPr>
          <p:nvPr/>
        </p:nvSpPr>
        <p:spPr bwMode="auto">
          <a:xfrm>
            <a:off x="1231573" y="4776522"/>
            <a:ext cx="1113610" cy="1112233"/>
          </a:xfrm>
          <a:prstGeom prst="ellipse">
            <a:avLst/>
          </a:prstGeom>
          <a:solidFill>
            <a:srgbClr val="FFFFFF"/>
          </a:solidFill>
          <a:ln w="57150" cap="flat" cmpd="sng" algn="ctr">
            <a:solidFill>
              <a:srgbClr val="89BA17"/>
            </a:solidFill>
            <a:prstDash val="solid"/>
            <a:round/>
            <a:headEnd type="none" w="med" len="med"/>
            <a:tailEnd type="none" w="med" len="med"/>
          </a:ln>
          <a:scene3d>
            <a:camera prst="orthographicFront"/>
            <a:lightRig rig="threePt" dir="t"/>
          </a:scene3d>
          <a:sp3d>
            <a:bevelT prst="angle"/>
          </a:sp3d>
        </p:spPr>
        <p:txBody>
          <a:bodyPr wrap="none" lIns="72000" rIns="72000"/>
          <a:lstStyle/>
          <a:p>
            <a:pPr>
              <a:lnSpc>
                <a:spcPct val="95000"/>
              </a:lnSpc>
            </a:pPr>
            <a:endParaRPr lang="en-US" sz="1100" b="1">
              <a:solidFill>
                <a:schemeClr val="tx2"/>
              </a:solidFill>
              <a:cs typeface="Arial" pitchFamily="34" charset="0"/>
            </a:endParaRPr>
          </a:p>
        </p:txBody>
      </p:sp>
      <p:sp>
        <p:nvSpPr>
          <p:cNvPr id="74" name="Rectangle 61"/>
          <p:cNvSpPr>
            <a:spLocks noChangeArrowheads="1"/>
          </p:cNvSpPr>
          <p:nvPr/>
        </p:nvSpPr>
        <p:spPr bwMode="auto">
          <a:xfrm>
            <a:off x="1257723" y="4810925"/>
            <a:ext cx="1087456" cy="1077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solidFill>
                  <a:srgbClr val="000000"/>
                </a:solidFill>
                <a:miter lim="800000"/>
                <a:headEnd/>
                <a:tailEnd/>
              </a14:hiddenLine>
            </a:ext>
          </a:extLst>
        </p:spPr>
        <p:txBody>
          <a:bodyPr anchor="ctr"/>
          <a:lstStyle/>
          <a:p>
            <a:pPr algn="ctr">
              <a:lnSpc>
                <a:spcPct val="95000"/>
              </a:lnSpc>
            </a:pPr>
            <a:r>
              <a:rPr lang="en-US" sz="1100" b="1">
                <a:solidFill>
                  <a:schemeClr val="tx2"/>
                </a:solidFill>
                <a:cs typeface="Arial" pitchFamily="34" charset="0"/>
              </a:rPr>
              <a:t>Apply Policy &amp; Deliver in Real-time</a:t>
            </a:r>
          </a:p>
        </p:txBody>
      </p:sp>
      <p:sp>
        <p:nvSpPr>
          <p:cNvPr id="75" name="Oval 31"/>
          <p:cNvSpPr>
            <a:spLocks noChangeArrowheads="1"/>
          </p:cNvSpPr>
          <p:nvPr/>
        </p:nvSpPr>
        <p:spPr bwMode="auto">
          <a:xfrm>
            <a:off x="3886890" y="2223061"/>
            <a:ext cx="1113610" cy="1113611"/>
          </a:xfrm>
          <a:prstGeom prst="ellipse">
            <a:avLst/>
          </a:prstGeom>
          <a:solidFill>
            <a:srgbClr val="FFFFFF"/>
          </a:solidFill>
          <a:ln w="57150" cap="flat" cmpd="sng" algn="ctr">
            <a:solidFill>
              <a:schemeClr val="tx2">
                <a:lumMod val="90000"/>
                <a:lumOff val="10000"/>
              </a:schemeClr>
            </a:solidFill>
            <a:prstDash val="solid"/>
            <a:round/>
            <a:headEnd type="none" w="med" len="med"/>
            <a:tailEnd type="none" w="med" len="med"/>
          </a:ln>
          <a:scene3d>
            <a:camera prst="orthographicFront"/>
            <a:lightRig rig="threePt" dir="t"/>
          </a:scene3d>
          <a:sp3d>
            <a:bevelT prst="angle"/>
          </a:sp3d>
        </p:spPr>
        <p:txBody>
          <a:bodyPr wrap="none" lIns="72000" rIns="72000"/>
          <a:lstStyle/>
          <a:p>
            <a:pPr>
              <a:lnSpc>
                <a:spcPct val="95000"/>
              </a:lnSpc>
            </a:pPr>
            <a:endParaRPr lang="en-US" sz="1100" b="1">
              <a:solidFill>
                <a:schemeClr val="tx2"/>
              </a:solidFill>
              <a:cs typeface="Arial" pitchFamily="34" charset="0"/>
            </a:endParaRPr>
          </a:p>
        </p:txBody>
      </p:sp>
      <p:sp>
        <p:nvSpPr>
          <p:cNvPr id="76" name="Rectangle 61"/>
          <p:cNvSpPr>
            <a:spLocks noChangeArrowheads="1"/>
          </p:cNvSpPr>
          <p:nvPr/>
        </p:nvSpPr>
        <p:spPr bwMode="auto">
          <a:xfrm>
            <a:off x="3886890" y="2229944"/>
            <a:ext cx="1113610" cy="1106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lnSpc>
                <a:spcPct val="95000"/>
              </a:lnSpc>
            </a:pPr>
            <a:r>
              <a:rPr lang="en-US" sz="1100" b="1" dirty="0" smtClean="0">
                <a:solidFill>
                  <a:schemeClr val="tx2"/>
                </a:solidFill>
                <a:cs typeface="Arial" pitchFamily="34" charset="0"/>
              </a:rPr>
              <a:t>Negotiate, Quote &amp; Order</a:t>
            </a:r>
            <a:endParaRPr lang="en-US" sz="1100" b="1" dirty="0">
              <a:solidFill>
                <a:schemeClr val="tx2"/>
              </a:solidFill>
              <a:cs typeface="Arial" pitchFamily="34" charset="0"/>
            </a:endParaRPr>
          </a:p>
        </p:txBody>
      </p:sp>
      <p:sp>
        <p:nvSpPr>
          <p:cNvPr id="77" name="Oval 31"/>
          <p:cNvSpPr>
            <a:spLocks noChangeArrowheads="1"/>
          </p:cNvSpPr>
          <p:nvPr/>
        </p:nvSpPr>
        <p:spPr bwMode="auto">
          <a:xfrm>
            <a:off x="4314991" y="3514245"/>
            <a:ext cx="1113610" cy="1113611"/>
          </a:xfrm>
          <a:prstGeom prst="ellipse">
            <a:avLst/>
          </a:prstGeom>
          <a:solidFill>
            <a:srgbClr val="FFFFFF"/>
          </a:solidFill>
          <a:ln w="57150" cap="flat" cmpd="sng" algn="ctr">
            <a:solidFill>
              <a:srgbClr val="89BA17"/>
            </a:solidFill>
            <a:prstDash val="solid"/>
            <a:round/>
            <a:headEnd type="none" w="med" len="med"/>
            <a:tailEnd type="none" w="med" len="med"/>
          </a:ln>
          <a:scene3d>
            <a:camera prst="orthographicFront"/>
            <a:lightRig rig="threePt" dir="t"/>
          </a:scene3d>
          <a:sp3d>
            <a:bevelT prst="angle"/>
          </a:sp3d>
        </p:spPr>
        <p:txBody>
          <a:bodyPr wrap="none" lIns="72000" rIns="72000"/>
          <a:lstStyle/>
          <a:p>
            <a:pPr>
              <a:lnSpc>
                <a:spcPct val="95000"/>
              </a:lnSpc>
            </a:pPr>
            <a:endParaRPr lang="en-US" sz="1100" b="1">
              <a:solidFill>
                <a:schemeClr val="tx2"/>
              </a:solidFill>
              <a:cs typeface="Arial" pitchFamily="34" charset="0"/>
            </a:endParaRPr>
          </a:p>
        </p:txBody>
      </p:sp>
      <p:sp>
        <p:nvSpPr>
          <p:cNvPr id="78" name="Oval 31"/>
          <p:cNvSpPr>
            <a:spLocks noChangeArrowheads="1"/>
          </p:cNvSpPr>
          <p:nvPr/>
        </p:nvSpPr>
        <p:spPr bwMode="auto">
          <a:xfrm>
            <a:off x="3804298" y="4776522"/>
            <a:ext cx="1113610" cy="1112233"/>
          </a:xfrm>
          <a:prstGeom prst="ellipse">
            <a:avLst/>
          </a:prstGeom>
          <a:solidFill>
            <a:srgbClr val="FFFFFF"/>
          </a:solidFill>
          <a:ln w="57150" cap="flat" cmpd="sng" algn="ctr">
            <a:solidFill>
              <a:schemeClr val="accent2"/>
            </a:solidFill>
            <a:prstDash val="solid"/>
            <a:round/>
            <a:headEnd type="none" w="med" len="med"/>
            <a:tailEnd type="none" w="med" len="med"/>
          </a:ln>
          <a:scene3d>
            <a:camera prst="orthographicFront"/>
            <a:lightRig rig="threePt" dir="t"/>
          </a:scene3d>
          <a:sp3d>
            <a:bevelT prst="angle"/>
          </a:sp3d>
        </p:spPr>
        <p:txBody>
          <a:bodyPr wrap="none" lIns="72000" rIns="72000"/>
          <a:lstStyle/>
          <a:p>
            <a:pPr>
              <a:lnSpc>
                <a:spcPct val="95000"/>
              </a:lnSpc>
            </a:pPr>
            <a:endParaRPr lang="en-US" sz="1100" b="1">
              <a:solidFill>
                <a:schemeClr val="tx2"/>
              </a:solidFill>
              <a:cs typeface="Arial" pitchFamily="34" charset="0"/>
            </a:endParaRPr>
          </a:p>
        </p:txBody>
      </p:sp>
      <p:cxnSp>
        <p:nvCxnSpPr>
          <p:cNvPr id="79" name="Straight Arrow Connector 28"/>
          <p:cNvCxnSpPr>
            <a:cxnSpLocks noChangeShapeType="1"/>
          </p:cNvCxnSpPr>
          <p:nvPr/>
        </p:nvCxnSpPr>
        <p:spPr bwMode="auto">
          <a:xfrm flipV="1">
            <a:off x="3546889" y="3200398"/>
            <a:ext cx="337249" cy="335872"/>
          </a:xfrm>
          <a:prstGeom prst="straightConnector1">
            <a:avLst/>
          </a:prstGeom>
          <a:ln w="38100" cap="rnd" cmpd="sng" algn="ctr">
            <a:solidFill>
              <a:schemeClr val="bg1"/>
            </a:solidFill>
            <a:prstDash val="solid"/>
            <a:round/>
            <a:headEnd type="triangle" w="lg" len="med"/>
            <a:tailEnd type="triangle" w="lg" len="med"/>
          </a:ln>
        </p:spPr>
        <p:style>
          <a:lnRef idx="1">
            <a:schemeClr val="accent2"/>
          </a:lnRef>
          <a:fillRef idx="0">
            <a:schemeClr val="accent2"/>
          </a:fillRef>
          <a:effectRef idx="0">
            <a:schemeClr val="accent2"/>
          </a:effectRef>
          <a:fontRef idx="minor">
            <a:schemeClr val="tx1"/>
          </a:fontRef>
        </p:style>
      </p:cxnSp>
      <p:cxnSp>
        <p:nvCxnSpPr>
          <p:cNvPr id="80" name="Straight Arrow Connector 28"/>
          <p:cNvCxnSpPr>
            <a:cxnSpLocks noChangeShapeType="1"/>
          </p:cNvCxnSpPr>
          <p:nvPr/>
        </p:nvCxnSpPr>
        <p:spPr bwMode="auto">
          <a:xfrm flipV="1">
            <a:off x="3698306" y="4035942"/>
            <a:ext cx="520327" cy="0"/>
          </a:xfrm>
          <a:prstGeom prst="straightConnector1">
            <a:avLst/>
          </a:prstGeom>
          <a:ln w="38100" cap="rnd" cmpd="sng" algn="ctr">
            <a:solidFill>
              <a:schemeClr val="bg1"/>
            </a:solidFill>
            <a:prstDash val="solid"/>
            <a:round/>
            <a:headEnd type="triangle" w="lg" len="med"/>
            <a:tailEnd type="triangle" w="lg" len="med"/>
          </a:ln>
        </p:spPr>
        <p:style>
          <a:lnRef idx="1">
            <a:schemeClr val="accent2"/>
          </a:lnRef>
          <a:fillRef idx="0">
            <a:schemeClr val="accent2"/>
          </a:fillRef>
          <a:effectRef idx="0">
            <a:schemeClr val="accent2"/>
          </a:effectRef>
          <a:fontRef idx="minor">
            <a:schemeClr val="tx1"/>
          </a:fontRef>
        </p:style>
      </p:cxnSp>
      <p:cxnSp>
        <p:nvCxnSpPr>
          <p:cNvPr id="81" name="Straight Arrow Connector 28"/>
          <p:cNvCxnSpPr>
            <a:cxnSpLocks noChangeShapeType="1"/>
          </p:cNvCxnSpPr>
          <p:nvPr/>
        </p:nvCxnSpPr>
        <p:spPr bwMode="auto">
          <a:xfrm flipV="1">
            <a:off x="1923965" y="4035942"/>
            <a:ext cx="523080" cy="0"/>
          </a:xfrm>
          <a:prstGeom prst="straightConnector1">
            <a:avLst/>
          </a:prstGeom>
          <a:ln w="38100" cap="rnd" cmpd="sng" algn="ctr">
            <a:solidFill>
              <a:schemeClr val="bg1"/>
            </a:solidFill>
            <a:prstDash val="solid"/>
            <a:round/>
            <a:headEnd type="triangle" w="lg" len="med"/>
            <a:tailEnd type="triangle" w="lg" len="med"/>
          </a:ln>
        </p:spPr>
        <p:style>
          <a:lnRef idx="1">
            <a:schemeClr val="accent2"/>
          </a:lnRef>
          <a:fillRef idx="0">
            <a:schemeClr val="accent2"/>
          </a:fillRef>
          <a:effectRef idx="0">
            <a:schemeClr val="accent2"/>
          </a:effectRef>
          <a:fontRef idx="minor">
            <a:schemeClr val="tx1"/>
          </a:fontRef>
        </p:style>
      </p:cxnSp>
      <p:cxnSp>
        <p:nvCxnSpPr>
          <p:cNvPr id="82" name="Straight Arrow Connector 28"/>
          <p:cNvCxnSpPr>
            <a:cxnSpLocks noChangeShapeType="1"/>
          </p:cNvCxnSpPr>
          <p:nvPr/>
        </p:nvCxnSpPr>
        <p:spPr bwMode="auto">
          <a:xfrm>
            <a:off x="3546889" y="4461297"/>
            <a:ext cx="337249" cy="349638"/>
          </a:xfrm>
          <a:prstGeom prst="straightConnector1">
            <a:avLst/>
          </a:prstGeom>
          <a:ln w="38100" cap="rnd" cmpd="sng" algn="ctr">
            <a:solidFill>
              <a:schemeClr val="bg1"/>
            </a:solidFill>
            <a:prstDash val="solid"/>
            <a:round/>
            <a:headEnd type="triangle" w="lg" len="med"/>
            <a:tailEnd type="triangle" w="lg" len="med"/>
          </a:ln>
        </p:spPr>
        <p:style>
          <a:lnRef idx="1">
            <a:schemeClr val="accent2"/>
          </a:lnRef>
          <a:fillRef idx="0">
            <a:schemeClr val="accent2"/>
          </a:fillRef>
          <a:effectRef idx="0">
            <a:schemeClr val="accent2"/>
          </a:effectRef>
          <a:fontRef idx="minor">
            <a:schemeClr val="tx1"/>
          </a:fontRef>
        </p:style>
      </p:cxnSp>
      <p:cxnSp>
        <p:nvCxnSpPr>
          <p:cNvPr id="83" name="Straight Arrow Connector 28"/>
          <p:cNvCxnSpPr>
            <a:cxnSpLocks noChangeShapeType="1"/>
          </p:cNvCxnSpPr>
          <p:nvPr/>
        </p:nvCxnSpPr>
        <p:spPr bwMode="auto">
          <a:xfrm>
            <a:off x="2241945" y="3200395"/>
            <a:ext cx="335872" cy="346885"/>
          </a:xfrm>
          <a:prstGeom prst="straightConnector1">
            <a:avLst/>
          </a:prstGeom>
          <a:ln w="38100" cap="rnd" cmpd="sng" algn="ctr">
            <a:solidFill>
              <a:schemeClr val="bg1"/>
            </a:solidFill>
            <a:prstDash val="solid"/>
            <a:round/>
            <a:headEnd type="triangle" w="lg" len="med"/>
            <a:tailEnd type="triangle" w="lg" len="med"/>
          </a:ln>
        </p:spPr>
        <p:style>
          <a:lnRef idx="1">
            <a:schemeClr val="accent2"/>
          </a:lnRef>
          <a:fillRef idx="0">
            <a:schemeClr val="accent2"/>
          </a:fillRef>
          <a:effectRef idx="0">
            <a:schemeClr val="accent2"/>
          </a:effectRef>
          <a:fontRef idx="minor">
            <a:schemeClr val="tx1"/>
          </a:fontRef>
        </p:style>
      </p:cxnSp>
      <p:cxnSp>
        <p:nvCxnSpPr>
          <p:cNvPr id="84" name="Straight Arrow Connector 28"/>
          <p:cNvCxnSpPr>
            <a:cxnSpLocks noChangeShapeType="1"/>
          </p:cNvCxnSpPr>
          <p:nvPr/>
        </p:nvCxnSpPr>
        <p:spPr bwMode="auto">
          <a:xfrm>
            <a:off x="3088504" y="2894810"/>
            <a:ext cx="0" cy="454254"/>
          </a:xfrm>
          <a:prstGeom prst="straightConnector1">
            <a:avLst/>
          </a:prstGeom>
          <a:ln w="38100" cap="rnd" cmpd="sng" algn="ctr">
            <a:solidFill>
              <a:schemeClr val="bg1"/>
            </a:solidFill>
            <a:prstDash val="solid"/>
            <a:round/>
            <a:headEnd type="triangle" w="lg" len="med"/>
            <a:tailEnd type="triangle" w="lg" len="med"/>
          </a:ln>
        </p:spPr>
        <p:style>
          <a:lnRef idx="1">
            <a:schemeClr val="accent2"/>
          </a:lnRef>
          <a:fillRef idx="0">
            <a:schemeClr val="accent2"/>
          </a:fillRef>
          <a:effectRef idx="0">
            <a:schemeClr val="accent2"/>
          </a:effectRef>
          <a:fontRef idx="minor">
            <a:schemeClr val="tx1"/>
          </a:fontRef>
        </p:style>
      </p:cxnSp>
      <p:sp>
        <p:nvSpPr>
          <p:cNvPr id="85" name="Rectangle 61"/>
          <p:cNvSpPr>
            <a:spLocks noChangeArrowheads="1"/>
          </p:cNvSpPr>
          <p:nvPr/>
        </p:nvSpPr>
        <p:spPr bwMode="auto">
          <a:xfrm>
            <a:off x="4356287" y="3547274"/>
            <a:ext cx="1072313" cy="1080574"/>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87888A"/>
                </a:solidFill>
                <a:prstDash val="solid"/>
                <a:miter lim="800000"/>
                <a:headEnd type="none" w="med" len="med"/>
                <a:tailEnd type="none" w="med" len="med"/>
              </a14:hiddenLine>
            </a:ext>
          </a:extLst>
        </p:spPr>
        <p:txBody>
          <a:bodyPr anchor="ctr"/>
          <a:lstStyle/>
          <a:p>
            <a:pPr algn="ctr">
              <a:lnSpc>
                <a:spcPct val="95000"/>
              </a:lnSpc>
            </a:pPr>
            <a:r>
              <a:rPr lang="en-US" sz="1100" b="1" dirty="0" smtClean="0">
                <a:solidFill>
                  <a:schemeClr val="tx2"/>
                </a:solidFill>
                <a:cs typeface="Arial" pitchFamily="34" charset="0"/>
              </a:rPr>
              <a:t>Fulfillment</a:t>
            </a:r>
            <a:endParaRPr lang="en-US" sz="1100" b="1" dirty="0">
              <a:solidFill>
                <a:schemeClr val="tx2"/>
              </a:solidFill>
              <a:cs typeface="Arial" pitchFamily="34" charset="0"/>
            </a:endParaRPr>
          </a:p>
        </p:txBody>
      </p:sp>
      <p:sp>
        <p:nvSpPr>
          <p:cNvPr id="86" name="Rectangle 61"/>
          <p:cNvSpPr>
            <a:spLocks noChangeArrowheads="1"/>
          </p:cNvSpPr>
          <p:nvPr/>
        </p:nvSpPr>
        <p:spPr bwMode="auto">
          <a:xfrm>
            <a:off x="3804299" y="4797160"/>
            <a:ext cx="1088832" cy="1069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lnSpc>
                <a:spcPct val="95000"/>
              </a:lnSpc>
            </a:pPr>
            <a:r>
              <a:rPr lang="en-US" sz="1100" b="1">
                <a:solidFill>
                  <a:schemeClr val="tx2"/>
                </a:solidFill>
                <a:cs typeface="Arial" pitchFamily="34" charset="0"/>
              </a:rPr>
              <a:t> Provision</a:t>
            </a:r>
            <a:br>
              <a:rPr lang="en-US" sz="1100" b="1">
                <a:solidFill>
                  <a:schemeClr val="tx2"/>
                </a:solidFill>
                <a:cs typeface="Arial" pitchFamily="34" charset="0"/>
              </a:rPr>
            </a:br>
            <a:r>
              <a:rPr lang="en-US" sz="1100" b="1">
                <a:solidFill>
                  <a:schemeClr val="tx2"/>
                </a:solidFill>
                <a:cs typeface="Arial" pitchFamily="34" charset="0"/>
              </a:rPr>
              <a:t>&amp; Activate</a:t>
            </a:r>
          </a:p>
        </p:txBody>
      </p:sp>
      <p:sp>
        <p:nvSpPr>
          <p:cNvPr id="87" name="Rectangle 61"/>
          <p:cNvSpPr>
            <a:spLocks noChangeArrowheads="1"/>
          </p:cNvSpPr>
          <p:nvPr/>
        </p:nvSpPr>
        <p:spPr bwMode="auto">
          <a:xfrm>
            <a:off x="678076" y="3563285"/>
            <a:ext cx="1110858" cy="1080574"/>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anchor="ctr"/>
          <a:lstStyle/>
          <a:p>
            <a:pPr algn="ctr">
              <a:lnSpc>
                <a:spcPct val="95000"/>
              </a:lnSpc>
            </a:pPr>
            <a:r>
              <a:rPr lang="en-US" sz="1100" b="1" dirty="0">
                <a:solidFill>
                  <a:schemeClr val="tx2"/>
                </a:solidFill>
                <a:cs typeface="Arial" pitchFamily="34" charset="0"/>
              </a:rPr>
              <a:t>Charge</a:t>
            </a:r>
            <a:br>
              <a:rPr lang="en-US" sz="1100" b="1" dirty="0">
                <a:solidFill>
                  <a:schemeClr val="tx2"/>
                </a:solidFill>
                <a:cs typeface="Arial" pitchFamily="34" charset="0"/>
              </a:rPr>
            </a:br>
            <a:r>
              <a:rPr lang="en-US" sz="1100" b="1" dirty="0">
                <a:solidFill>
                  <a:schemeClr val="tx2"/>
                </a:solidFill>
                <a:cs typeface="Arial" pitchFamily="34" charset="0"/>
              </a:rPr>
              <a:t>&amp; Bill</a:t>
            </a:r>
          </a:p>
        </p:txBody>
      </p:sp>
      <p:sp>
        <p:nvSpPr>
          <p:cNvPr id="88" name="Rectangle 61"/>
          <p:cNvSpPr>
            <a:spLocks noChangeArrowheads="1"/>
          </p:cNvSpPr>
          <p:nvPr/>
        </p:nvSpPr>
        <p:spPr bwMode="auto">
          <a:xfrm>
            <a:off x="1148981" y="2229944"/>
            <a:ext cx="1113610" cy="1106727"/>
          </a:xfrm>
          <a:prstGeom prst="rect">
            <a:avLst/>
          </a:prstGeom>
          <a:noFill/>
          <a:ln w="9525" cap="flat" cmpd="sng" algn="ctr">
            <a:noFill/>
            <a:prstDash val="solid"/>
            <a:miter lim="800000"/>
            <a:headEnd type="none" w="med" len="med"/>
            <a:tailEnd type="none" w="med" len="med"/>
          </a:ln>
          <a:scene3d>
            <a:camera prst="orthographicFront"/>
            <a:lightRig rig="threePt" dir="t"/>
          </a:scene3d>
          <a:sp3d>
            <a:bevelT prst="angle"/>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87888A"/>
                </a:solidFill>
                <a:prstDash val="solid"/>
                <a:miter lim="800000"/>
                <a:headEnd type="none" w="med" len="med"/>
                <a:tailEnd type="none" w="med" len="med"/>
              </a14:hiddenLine>
            </a:ext>
          </a:extLst>
        </p:spPr>
        <p:txBody>
          <a:bodyPr anchor="ctr"/>
          <a:lstStyle/>
          <a:p>
            <a:pPr>
              <a:lnSpc>
                <a:spcPct val="95000"/>
              </a:lnSpc>
            </a:pPr>
            <a:r>
              <a:rPr lang="en-US" sz="1100" b="1" dirty="0">
                <a:solidFill>
                  <a:schemeClr val="tx2"/>
                </a:solidFill>
                <a:cs typeface="Arial" pitchFamily="34" charset="0"/>
              </a:rPr>
              <a:t>Monitor &amp; Assure</a:t>
            </a:r>
          </a:p>
        </p:txBody>
      </p:sp>
      <p:sp>
        <p:nvSpPr>
          <p:cNvPr id="89" name="Rectangle 2"/>
          <p:cNvSpPr>
            <a:spLocks noChangeArrowheads="1"/>
          </p:cNvSpPr>
          <p:nvPr/>
        </p:nvSpPr>
        <p:spPr bwMode="auto">
          <a:xfrm>
            <a:off x="2302507" y="4557644"/>
            <a:ext cx="1555475" cy="57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0000"/>
              </a:lnSpc>
            </a:pPr>
            <a:r>
              <a:rPr lang="en-US" sz="1400" b="1" dirty="0">
                <a:solidFill>
                  <a:schemeClr val="bg1"/>
                </a:solidFill>
                <a:cs typeface="Arial" pitchFamily="34" charset="0"/>
              </a:rPr>
              <a:t>Enterprise </a:t>
            </a:r>
          </a:p>
          <a:p>
            <a:pPr algn="ctr">
              <a:lnSpc>
                <a:spcPct val="90000"/>
              </a:lnSpc>
            </a:pPr>
            <a:r>
              <a:rPr lang="en-US" sz="1400" b="1" dirty="0">
                <a:solidFill>
                  <a:schemeClr val="bg1"/>
                </a:solidFill>
                <a:cs typeface="Arial" pitchFamily="34" charset="0"/>
              </a:rPr>
              <a:t>catalog </a:t>
            </a:r>
          </a:p>
        </p:txBody>
      </p:sp>
      <p:sp>
        <p:nvSpPr>
          <p:cNvPr id="90" name="Freeform 3"/>
          <p:cNvSpPr>
            <a:spLocks noChangeAspect="1" noEditPoints="1"/>
          </p:cNvSpPr>
          <p:nvPr/>
        </p:nvSpPr>
        <p:spPr bwMode="auto">
          <a:xfrm>
            <a:off x="2781543" y="3596829"/>
            <a:ext cx="597413" cy="703405"/>
          </a:xfrm>
          <a:custGeom>
            <a:avLst/>
            <a:gdLst>
              <a:gd name="T0" fmla="*/ 2147483647 w 296"/>
              <a:gd name="T1" fmla="*/ 2147483647 h 349"/>
              <a:gd name="T2" fmla="*/ 2147483647 w 296"/>
              <a:gd name="T3" fmla="*/ 2147483647 h 349"/>
              <a:gd name="T4" fmla="*/ 2147483647 w 296"/>
              <a:gd name="T5" fmla="*/ 2147483647 h 349"/>
              <a:gd name="T6" fmla="*/ 2147483647 w 296"/>
              <a:gd name="T7" fmla="*/ 0 h 349"/>
              <a:gd name="T8" fmla="*/ 0 w 296"/>
              <a:gd name="T9" fmla="*/ 2147483647 h 349"/>
              <a:gd name="T10" fmla="*/ 0 w 296"/>
              <a:gd name="T11" fmla="*/ 2147483647 h 349"/>
              <a:gd name="T12" fmla="*/ 0 w 296"/>
              <a:gd name="T13" fmla="*/ 2147483647 h 349"/>
              <a:gd name="T14" fmla="*/ 0 w 296"/>
              <a:gd name="T15" fmla="*/ 2147483647 h 349"/>
              <a:gd name="T16" fmla="*/ 2147483647 w 296"/>
              <a:gd name="T17" fmla="*/ 2147483647 h 349"/>
              <a:gd name="T18" fmla="*/ 2147483647 w 296"/>
              <a:gd name="T19" fmla="*/ 2147483647 h 349"/>
              <a:gd name="T20" fmla="*/ 2147483647 w 296"/>
              <a:gd name="T21" fmla="*/ 2147483647 h 349"/>
              <a:gd name="T22" fmla="*/ 2147483647 w 296"/>
              <a:gd name="T23" fmla="*/ 2147483647 h 349"/>
              <a:gd name="T24" fmla="*/ 2147483647 w 296"/>
              <a:gd name="T25" fmla="*/ 2147483647 h 349"/>
              <a:gd name="T26" fmla="*/ 2147483647 w 296"/>
              <a:gd name="T27" fmla="*/ 2147483647 h 349"/>
              <a:gd name="T28" fmla="*/ 2147483647 w 296"/>
              <a:gd name="T29" fmla="*/ 2147483647 h 349"/>
              <a:gd name="T30" fmla="*/ 2147483647 w 296"/>
              <a:gd name="T31" fmla="*/ 2147483647 h 349"/>
              <a:gd name="T32" fmla="*/ 2147483647 w 296"/>
              <a:gd name="T33" fmla="*/ 2147483647 h 349"/>
              <a:gd name="T34" fmla="*/ 2147483647 w 296"/>
              <a:gd name="T35" fmla="*/ 2147483647 h 349"/>
              <a:gd name="T36" fmla="*/ 2147483647 w 296"/>
              <a:gd name="T37" fmla="*/ 2147483647 h 349"/>
              <a:gd name="T38" fmla="*/ 2147483647 w 296"/>
              <a:gd name="T39" fmla="*/ 2147483647 h 349"/>
              <a:gd name="T40" fmla="*/ 2147483647 w 296"/>
              <a:gd name="T41" fmla="*/ 2147483647 h 349"/>
              <a:gd name="T42" fmla="*/ 2147483647 w 296"/>
              <a:gd name="T43" fmla="*/ 2147483647 h 349"/>
              <a:gd name="T44" fmla="*/ 2147483647 w 296"/>
              <a:gd name="T45" fmla="*/ 2147483647 h 349"/>
              <a:gd name="T46" fmla="*/ 2147483647 w 296"/>
              <a:gd name="T47" fmla="*/ 2147483647 h 349"/>
              <a:gd name="T48" fmla="*/ 2147483647 w 296"/>
              <a:gd name="T49" fmla="*/ 2147483647 h 349"/>
              <a:gd name="T50" fmla="*/ 2147483647 w 296"/>
              <a:gd name="T51" fmla="*/ 2147483647 h 3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96" h="349">
                <a:moveTo>
                  <a:pt x="288" y="106"/>
                </a:moveTo>
                <a:cubicBezTo>
                  <a:pt x="293" y="106"/>
                  <a:pt x="296" y="103"/>
                  <a:pt x="296" y="98"/>
                </a:cubicBezTo>
                <a:cubicBezTo>
                  <a:pt x="296" y="53"/>
                  <a:pt x="296" y="53"/>
                  <a:pt x="296" y="53"/>
                </a:cubicBezTo>
                <a:cubicBezTo>
                  <a:pt x="296" y="18"/>
                  <a:pt x="248" y="0"/>
                  <a:pt x="148" y="0"/>
                </a:cubicBezTo>
                <a:cubicBezTo>
                  <a:pt x="48" y="0"/>
                  <a:pt x="0" y="18"/>
                  <a:pt x="0" y="53"/>
                </a:cubicBezTo>
                <a:cubicBezTo>
                  <a:pt x="0" y="54"/>
                  <a:pt x="0" y="55"/>
                  <a:pt x="0" y="55"/>
                </a:cubicBezTo>
                <a:cubicBezTo>
                  <a:pt x="0" y="55"/>
                  <a:pt x="0" y="56"/>
                  <a:pt x="0" y="56"/>
                </a:cubicBezTo>
                <a:cubicBezTo>
                  <a:pt x="0" y="286"/>
                  <a:pt x="0" y="286"/>
                  <a:pt x="0" y="286"/>
                </a:cubicBezTo>
                <a:cubicBezTo>
                  <a:pt x="0" y="327"/>
                  <a:pt x="50" y="349"/>
                  <a:pt x="148" y="349"/>
                </a:cubicBezTo>
                <a:cubicBezTo>
                  <a:pt x="242" y="349"/>
                  <a:pt x="296" y="326"/>
                  <a:pt x="296" y="286"/>
                </a:cubicBezTo>
                <a:cubicBezTo>
                  <a:pt x="296" y="130"/>
                  <a:pt x="296" y="130"/>
                  <a:pt x="296" y="130"/>
                </a:cubicBezTo>
                <a:cubicBezTo>
                  <a:pt x="296" y="126"/>
                  <a:pt x="293" y="122"/>
                  <a:pt x="288" y="122"/>
                </a:cubicBezTo>
                <a:cubicBezTo>
                  <a:pt x="284" y="122"/>
                  <a:pt x="280" y="126"/>
                  <a:pt x="280" y="130"/>
                </a:cubicBezTo>
                <a:cubicBezTo>
                  <a:pt x="280" y="286"/>
                  <a:pt x="280" y="286"/>
                  <a:pt x="280" y="286"/>
                </a:cubicBezTo>
                <a:cubicBezTo>
                  <a:pt x="280" y="315"/>
                  <a:pt x="230" y="333"/>
                  <a:pt x="148" y="333"/>
                </a:cubicBezTo>
                <a:cubicBezTo>
                  <a:pt x="88" y="333"/>
                  <a:pt x="16" y="325"/>
                  <a:pt x="16" y="286"/>
                </a:cubicBezTo>
                <a:cubicBezTo>
                  <a:pt x="16" y="83"/>
                  <a:pt x="16" y="83"/>
                  <a:pt x="16" y="83"/>
                </a:cubicBezTo>
                <a:cubicBezTo>
                  <a:pt x="37" y="99"/>
                  <a:pt x="81" y="106"/>
                  <a:pt x="148" y="106"/>
                </a:cubicBezTo>
                <a:cubicBezTo>
                  <a:pt x="215" y="106"/>
                  <a:pt x="259" y="99"/>
                  <a:pt x="280" y="83"/>
                </a:cubicBezTo>
                <a:cubicBezTo>
                  <a:pt x="280" y="98"/>
                  <a:pt x="280" y="98"/>
                  <a:pt x="280" y="98"/>
                </a:cubicBezTo>
                <a:cubicBezTo>
                  <a:pt x="280" y="103"/>
                  <a:pt x="284" y="106"/>
                  <a:pt x="288" y="106"/>
                </a:cubicBezTo>
                <a:close/>
                <a:moveTo>
                  <a:pt x="148" y="90"/>
                </a:moveTo>
                <a:cubicBezTo>
                  <a:pt x="63" y="90"/>
                  <a:pt x="16" y="77"/>
                  <a:pt x="16" y="53"/>
                </a:cubicBezTo>
                <a:cubicBezTo>
                  <a:pt x="16" y="30"/>
                  <a:pt x="63" y="16"/>
                  <a:pt x="148" y="16"/>
                </a:cubicBezTo>
                <a:cubicBezTo>
                  <a:pt x="232" y="16"/>
                  <a:pt x="280" y="30"/>
                  <a:pt x="280" y="53"/>
                </a:cubicBezTo>
                <a:cubicBezTo>
                  <a:pt x="280" y="77"/>
                  <a:pt x="233" y="90"/>
                  <a:pt x="148" y="90"/>
                </a:cubicBezTo>
                <a:close/>
              </a:path>
            </a:pathLst>
          </a:custGeom>
          <a:solidFill>
            <a:srgbClr val="FFFFFF"/>
          </a:solidFill>
          <a:ln w="9525" cap="flat" cmpd="sng" algn="ctr">
            <a:solidFill>
              <a:srgbClr val="FFFFFF"/>
            </a:solidFill>
            <a:prstDash val="solid"/>
            <a:round/>
            <a:headEnd type="none" w="med" len="med"/>
            <a:tailEnd type="none" w="med" len="med"/>
          </a:ln>
        </p:spPr>
        <p:txBody>
          <a:bodyPr/>
          <a:lstStyle/>
          <a:p>
            <a:endParaRPr lang="en-US" sz="1600"/>
          </a:p>
        </p:txBody>
      </p:sp>
      <p:grpSp>
        <p:nvGrpSpPr>
          <p:cNvPr id="9" name="Group 8"/>
          <p:cNvGrpSpPr/>
          <p:nvPr/>
        </p:nvGrpSpPr>
        <p:grpSpPr>
          <a:xfrm>
            <a:off x="6611856" y="3499383"/>
            <a:ext cx="1489015" cy="984885"/>
            <a:chOff x="6656682" y="3499383"/>
            <a:chExt cx="1489015" cy="984885"/>
          </a:xfrm>
        </p:grpSpPr>
        <p:cxnSp>
          <p:nvCxnSpPr>
            <p:cNvPr id="94" name="Straight Connector 58"/>
            <p:cNvCxnSpPr>
              <a:cxnSpLocks noChangeShapeType="1"/>
            </p:cNvCxnSpPr>
            <p:nvPr/>
          </p:nvCxnSpPr>
          <p:spPr bwMode="auto">
            <a:xfrm>
              <a:off x="6656682" y="3676498"/>
              <a:ext cx="397943" cy="0"/>
            </a:xfrm>
            <a:prstGeom prst="line">
              <a:avLst/>
            </a:prstGeom>
            <a:noFill/>
            <a:ln w="50800" algn="ctr">
              <a:solidFill>
                <a:schemeClr val="tx2">
                  <a:lumMod val="90000"/>
                  <a:lumOff val="10000"/>
                </a:schemeClr>
              </a:solidFill>
              <a:round/>
              <a:headEnd/>
              <a:tailEnd/>
            </a:ln>
            <a:extLst>
              <a:ext uri="{909E8E84-426E-40DD-AFC4-6F175D3DCCD1}">
                <a14:hiddenFill xmlns:a14="http://schemas.microsoft.com/office/drawing/2010/main">
                  <a:noFill/>
                </a14:hiddenFill>
              </a:ext>
            </a:extLst>
          </p:spPr>
        </p:cxnSp>
        <p:cxnSp>
          <p:nvCxnSpPr>
            <p:cNvPr id="95" name="Straight Connector 60"/>
            <p:cNvCxnSpPr>
              <a:cxnSpLocks noChangeShapeType="1"/>
            </p:cNvCxnSpPr>
            <p:nvPr/>
          </p:nvCxnSpPr>
          <p:spPr bwMode="auto">
            <a:xfrm>
              <a:off x="6656682" y="3984374"/>
              <a:ext cx="397943" cy="0"/>
            </a:xfrm>
            <a:prstGeom prst="line">
              <a:avLst/>
            </a:prstGeom>
            <a:noFill/>
            <a:ln w="50800" algn="ctr">
              <a:solidFill>
                <a:srgbClr val="89BA17"/>
              </a:solidFill>
              <a:round/>
              <a:headEnd/>
              <a:tailEnd/>
            </a:ln>
            <a:extLst>
              <a:ext uri="{909E8E84-426E-40DD-AFC4-6F175D3DCCD1}">
                <a14:hiddenFill xmlns:a14="http://schemas.microsoft.com/office/drawing/2010/main">
                  <a:noFill/>
                </a14:hiddenFill>
              </a:ext>
            </a:extLst>
          </p:spPr>
        </p:cxnSp>
        <p:sp>
          <p:nvSpPr>
            <p:cNvPr id="93" name="TextBox 5128"/>
            <p:cNvSpPr txBox="1">
              <a:spLocks noChangeArrowheads="1"/>
            </p:cNvSpPr>
            <p:nvPr/>
          </p:nvSpPr>
          <p:spPr bwMode="auto">
            <a:xfrm>
              <a:off x="7010347" y="3499383"/>
              <a:ext cx="1135350"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Aft>
                  <a:spcPts val="600"/>
                </a:spcAft>
              </a:pPr>
              <a:r>
                <a:rPr lang="en-US" sz="1600" dirty="0"/>
                <a:t>YE2013</a:t>
              </a:r>
            </a:p>
            <a:p>
              <a:pPr eaLnBrk="1" hangingPunct="1">
                <a:spcAft>
                  <a:spcPts val="600"/>
                </a:spcAft>
              </a:pPr>
              <a:r>
                <a:rPr lang="en-US" sz="1600" dirty="0"/>
                <a:t>YE2014</a:t>
              </a:r>
            </a:p>
            <a:p>
              <a:pPr eaLnBrk="1" hangingPunct="1">
                <a:spcAft>
                  <a:spcPts val="600"/>
                </a:spcAft>
              </a:pPr>
              <a:r>
                <a:rPr lang="en-US" sz="1600" dirty="0"/>
                <a:t>YE2015</a:t>
              </a:r>
            </a:p>
          </p:txBody>
        </p:sp>
        <p:cxnSp>
          <p:nvCxnSpPr>
            <p:cNvPr id="97" name="Straight Connector 60"/>
            <p:cNvCxnSpPr>
              <a:cxnSpLocks noChangeShapeType="1"/>
            </p:cNvCxnSpPr>
            <p:nvPr/>
          </p:nvCxnSpPr>
          <p:spPr bwMode="auto">
            <a:xfrm>
              <a:off x="6656682" y="4292249"/>
              <a:ext cx="397943" cy="0"/>
            </a:xfrm>
            <a:prstGeom prst="line">
              <a:avLst/>
            </a:prstGeom>
            <a:noFill/>
            <a:ln w="50800" algn="ctr">
              <a:solidFill>
                <a:schemeClr val="accent2"/>
              </a:solidFill>
              <a:round/>
              <a:headEnd/>
              <a:tailEnd/>
            </a:ln>
            <a:extLst>
              <a:ext uri="{909E8E84-426E-40DD-AFC4-6F175D3DCCD1}">
                <a14:hiddenFill xmlns:a14="http://schemas.microsoft.com/office/drawing/2010/main">
                  <a:noFill/>
                </a14:hiddenFill>
              </a:ext>
            </a:extLst>
          </p:spPr>
        </p:cxnSp>
      </p:grpSp>
      <p:sp>
        <p:nvSpPr>
          <p:cNvPr id="7" name="TextBox 6"/>
          <p:cNvSpPr txBox="1"/>
          <p:nvPr/>
        </p:nvSpPr>
        <p:spPr>
          <a:xfrm>
            <a:off x="6650881" y="2894810"/>
            <a:ext cx="1410964" cy="400110"/>
          </a:xfrm>
          <a:prstGeom prst="rect">
            <a:avLst/>
          </a:prstGeom>
          <a:noFill/>
        </p:spPr>
        <p:txBody>
          <a:bodyPr wrap="none" rtlCol="0">
            <a:spAutoFit/>
          </a:bodyPr>
          <a:lstStyle/>
          <a:p>
            <a:r>
              <a:rPr lang="en-US" dirty="0" smtClean="0"/>
              <a:t>Milestones</a:t>
            </a:r>
            <a:endParaRPr lang="en-US" dirty="0"/>
          </a:p>
        </p:txBody>
      </p:sp>
      <p:sp>
        <p:nvSpPr>
          <p:cNvPr id="8" name="Rounded Rectangle 7"/>
          <p:cNvSpPr/>
          <p:nvPr/>
        </p:nvSpPr>
        <p:spPr bwMode="auto">
          <a:xfrm>
            <a:off x="6262349" y="2779181"/>
            <a:ext cx="2188028" cy="1856935"/>
          </a:xfrm>
          <a:prstGeom prst="roundRect">
            <a:avLst>
              <a:gd name="adj" fmla="val 10219"/>
            </a:avLst>
          </a:prstGeom>
          <a:noFill/>
          <a:ln w="28575" cap="flat" cmpd="sng" algn="ctr">
            <a:solidFill>
              <a:srgbClr val="92CCE5"/>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smtClean="0">
              <a:ln w="38100">
                <a:solidFill>
                  <a:schemeClr val="tx1"/>
                </a:solidFill>
              </a:ln>
              <a:solidFill>
                <a:schemeClr val="tx1"/>
              </a:solidFill>
              <a:effectLst/>
              <a:latin typeface="Arial" charset="0"/>
            </a:endParaRPr>
          </a:p>
        </p:txBody>
      </p:sp>
    </p:spTree>
    <p:extLst>
      <p:ext uri="{BB962C8B-B14F-4D97-AF65-F5344CB8AC3E}">
        <p14:creationId xmlns:p14="http://schemas.microsoft.com/office/powerpoint/2010/main" val="374990949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4"/>
          <p:cNvSpPr>
            <a:spLocks noGrp="1"/>
          </p:cNvSpPr>
          <p:nvPr>
            <p:ph type="title"/>
          </p:nvPr>
        </p:nvSpPr>
        <p:spPr/>
        <p:txBody>
          <a:bodyPr/>
          <a:lstStyle/>
          <a:p>
            <a:r>
              <a:rPr lang="en-CA" altLang="en-US" dirty="0" smtClean="0">
                <a:latin typeface="Ericsson Capital TT" pitchFamily="2" charset="0"/>
              </a:rPr>
              <a:t>Architecture</a:t>
            </a:r>
          </a:p>
        </p:txBody>
      </p:sp>
      <p:sp>
        <p:nvSpPr>
          <p:cNvPr id="12" name="Freeform 3"/>
          <p:cNvSpPr>
            <a:spLocks noChangeAspect="1" noEditPoints="1"/>
          </p:cNvSpPr>
          <p:nvPr/>
        </p:nvSpPr>
        <p:spPr bwMode="auto">
          <a:xfrm>
            <a:off x="753863" y="3111500"/>
            <a:ext cx="676451" cy="884238"/>
          </a:xfrm>
          <a:custGeom>
            <a:avLst/>
            <a:gdLst>
              <a:gd name="T0" fmla="*/ 2147483647 w 310"/>
              <a:gd name="T1" fmla="*/ 2147483647 h 405"/>
              <a:gd name="T2" fmla="*/ 2147483647 w 310"/>
              <a:gd name="T3" fmla="*/ 2147483647 h 405"/>
              <a:gd name="T4" fmla="*/ 2147483647 w 310"/>
              <a:gd name="T5" fmla="*/ 2147483647 h 405"/>
              <a:gd name="T6" fmla="*/ 2147483647 w 310"/>
              <a:gd name="T7" fmla="*/ 2147483647 h 405"/>
              <a:gd name="T8" fmla="*/ 2147483647 w 310"/>
              <a:gd name="T9" fmla="*/ 2147483647 h 405"/>
              <a:gd name="T10" fmla="*/ 2147483647 w 310"/>
              <a:gd name="T11" fmla="*/ 2147483647 h 405"/>
              <a:gd name="T12" fmla="*/ 2147483647 w 310"/>
              <a:gd name="T13" fmla="*/ 2147483647 h 405"/>
              <a:gd name="T14" fmla="*/ 2147483647 w 310"/>
              <a:gd name="T15" fmla="*/ 2147483647 h 405"/>
              <a:gd name="T16" fmla="*/ 2147483647 w 310"/>
              <a:gd name="T17" fmla="*/ 2147483647 h 405"/>
              <a:gd name="T18" fmla="*/ 2147483647 w 310"/>
              <a:gd name="T19" fmla="*/ 2147483647 h 405"/>
              <a:gd name="T20" fmla="*/ 2147483647 w 310"/>
              <a:gd name="T21" fmla="*/ 2147483647 h 405"/>
              <a:gd name="T22" fmla="*/ 2147483647 w 310"/>
              <a:gd name="T23" fmla="*/ 2147483647 h 405"/>
              <a:gd name="T24" fmla="*/ 2147483647 w 310"/>
              <a:gd name="T25" fmla="*/ 2147483647 h 405"/>
              <a:gd name="T26" fmla="*/ 2147483647 w 310"/>
              <a:gd name="T27" fmla="*/ 2147483647 h 405"/>
              <a:gd name="T28" fmla="*/ 2147483647 w 310"/>
              <a:gd name="T29" fmla="*/ 2147483647 h 405"/>
              <a:gd name="T30" fmla="*/ 2147483647 w 310"/>
              <a:gd name="T31" fmla="*/ 0 h 405"/>
              <a:gd name="T32" fmla="*/ 2147483647 w 310"/>
              <a:gd name="T33" fmla="*/ 2147483647 h 405"/>
              <a:gd name="T34" fmla="*/ 2147483647 w 310"/>
              <a:gd name="T35" fmla="*/ 2147483647 h 405"/>
              <a:gd name="T36" fmla="*/ 0 w 310"/>
              <a:gd name="T37" fmla="*/ 2147483647 h 405"/>
              <a:gd name="T38" fmla="*/ 0 w 310"/>
              <a:gd name="T39" fmla="*/ 2147483647 h 405"/>
              <a:gd name="T40" fmla="*/ 2147483647 w 310"/>
              <a:gd name="T41" fmla="*/ 2147483647 h 405"/>
              <a:gd name="T42" fmla="*/ 2147483647 w 310"/>
              <a:gd name="T43" fmla="*/ 2147483647 h 405"/>
              <a:gd name="T44" fmla="*/ 2147483647 w 310"/>
              <a:gd name="T45" fmla="*/ 2147483647 h 405"/>
              <a:gd name="T46" fmla="*/ 2147483647 w 310"/>
              <a:gd name="T47" fmla="*/ 2147483647 h 405"/>
              <a:gd name="T48" fmla="*/ 2147483647 w 310"/>
              <a:gd name="T49" fmla="*/ 2147483647 h 405"/>
              <a:gd name="T50" fmla="*/ 2147483647 w 310"/>
              <a:gd name="T51" fmla="*/ 2147483647 h 405"/>
              <a:gd name="T52" fmla="*/ 2147483647 w 310"/>
              <a:gd name="T53" fmla="*/ 2147483647 h 405"/>
              <a:gd name="T54" fmla="*/ 2147483647 w 310"/>
              <a:gd name="T55" fmla="*/ 2147483647 h 405"/>
              <a:gd name="T56" fmla="*/ 2147483647 w 310"/>
              <a:gd name="T57" fmla="*/ 2147483647 h 405"/>
              <a:gd name="T58" fmla="*/ 2147483647 w 310"/>
              <a:gd name="T59" fmla="*/ 2147483647 h 405"/>
              <a:gd name="T60" fmla="*/ 2147483647 w 310"/>
              <a:gd name="T61" fmla="*/ 2147483647 h 405"/>
              <a:gd name="T62" fmla="*/ 2147483647 w 310"/>
              <a:gd name="T63" fmla="*/ 2147483647 h 405"/>
              <a:gd name="T64" fmla="*/ 2147483647 w 310"/>
              <a:gd name="T65" fmla="*/ 2147483647 h 405"/>
              <a:gd name="T66" fmla="*/ 2147483647 w 310"/>
              <a:gd name="T67" fmla="*/ 2147483647 h 405"/>
              <a:gd name="T68" fmla="*/ 2147483647 w 310"/>
              <a:gd name="T69" fmla="*/ 2147483647 h 405"/>
              <a:gd name="T70" fmla="*/ 2147483647 w 310"/>
              <a:gd name="T71" fmla="*/ 2147483647 h 405"/>
              <a:gd name="T72" fmla="*/ 2147483647 w 310"/>
              <a:gd name="T73" fmla="*/ 2147483647 h 405"/>
              <a:gd name="T74" fmla="*/ 2147483647 w 310"/>
              <a:gd name="T75" fmla="*/ 2147483647 h 405"/>
              <a:gd name="T76" fmla="*/ 2147483647 w 310"/>
              <a:gd name="T77" fmla="*/ 2147483647 h 405"/>
              <a:gd name="T78" fmla="*/ 2147483647 w 310"/>
              <a:gd name="T79" fmla="*/ 2147483647 h 405"/>
              <a:gd name="T80" fmla="*/ 2147483647 w 310"/>
              <a:gd name="T81" fmla="*/ 2147483647 h 405"/>
              <a:gd name="T82" fmla="*/ 2147483647 w 310"/>
              <a:gd name="T83" fmla="*/ 2147483647 h 405"/>
              <a:gd name="T84" fmla="*/ 2147483647 w 310"/>
              <a:gd name="T85" fmla="*/ 2147483647 h 405"/>
              <a:gd name="T86" fmla="*/ 2147483647 w 310"/>
              <a:gd name="T87" fmla="*/ 2147483647 h 405"/>
              <a:gd name="T88" fmla="*/ 2147483647 w 310"/>
              <a:gd name="T89" fmla="*/ 2147483647 h 405"/>
              <a:gd name="T90" fmla="*/ 2147483647 w 310"/>
              <a:gd name="T91" fmla="*/ 2147483647 h 405"/>
              <a:gd name="T92" fmla="*/ 2147483647 w 310"/>
              <a:gd name="T93" fmla="*/ 2147483647 h 405"/>
              <a:gd name="T94" fmla="*/ 2147483647 w 310"/>
              <a:gd name="T95" fmla="*/ 2147483647 h 405"/>
              <a:gd name="T96" fmla="*/ 2147483647 w 310"/>
              <a:gd name="T97" fmla="*/ 2147483647 h 405"/>
              <a:gd name="T98" fmla="*/ 2147483647 w 310"/>
              <a:gd name="T99" fmla="*/ 2147483647 h 405"/>
              <a:gd name="T100" fmla="*/ 2147483647 w 310"/>
              <a:gd name="T101" fmla="*/ 2147483647 h 405"/>
              <a:gd name="T102" fmla="*/ 2147483647 w 310"/>
              <a:gd name="T103" fmla="*/ 2147483647 h 405"/>
              <a:gd name="T104" fmla="*/ 2147483647 w 310"/>
              <a:gd name="T105" fmla="*/ 2147483647 h 405"/>
              <a:gd name="T106" fmla="*/ 2147483647 w 310"/>
              <a:gd name="T107" fmla="*/ 2147483647 h 405"/>
              <a:gd name="T108" fmla="*/ 2147483647 w 310"/>
              <a:gd name="T109" fmla="*/ 2147483647 h 405"/>
              <a:gd name="T110" fmla="*/ 2147483647 w 310"/>
              <a:gd name="T111" fmla="*/ 2147483647 h 405"/>
              <a:gd name="T112" fmla="*/ 2147483647 w 310"/>
              <a:gd name="T113" fmla="*/ 2147483647 h 405"/>
              <a:gd name="T114" fmla="*/ 2147483647 w 310"/>
              <a:gd name="T115" fmla="*/ 2147483647 h 405"/>
              <a:gd name="T116" fmla="*/ 2147483647 w 310"/>
              <a:gd name="T117" fmla="*/ 2147483647 h 4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10"/>
              <a:gd name="T178" fmla="*/ 0 h 405"/>
              <a:gd name="T179" fmla="*/ 310 w 310"/>
              <a:gd name="T180" fmla="*/ 405 h 40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10" h="405">
                <a:moveTo>
                  <a:pt x="285" y="213"/>
                </a:moveTo>
                <a:cubicBezTo>
                  <a:pt x="198" y="213"/>
                  <a:pt x="198" y="213"/>
                  <a:pt x="198" y="213"/>
                </a:cubicBezTo>
                <a:cubicBezTo>
                  <a:pt x="198" y="209"/>
                  <a:pt x="198" y="209"/>
                  <a:pt x="198" y="209"/>
                </a:cubicBezTo>
                <a:cubicBezTo>
                  <a:pt x="198" y="172"/>
                  <a:pt x="174" y="151"/>
                  <a:pt x="155" y="139"/>
                </a:cubicBezTo>
                <a:cubicBezTo>
                  <a:pt x="170" y="124"/>
                  <a:pt x="180" y="104"/>
                  <a:pt x="180" y="81"/>
                </a:cubicBezTo>
                <a:cubicBezTo>
                  <a:pt x="180" y="66"/>
                  <a:pt x="175" y="51"/>
                  <a:pt x="167" y="38"/>
                </a:cubicBezTo>
                <a:cubicBezTo>
                  <a:pt x="165" y="34"/>
                  <a:pt x="160" y="33"/>
                  <a:pt x="156" y="35"/>
                </a:cubicBezTo>
                <a:cubicBezTo>
                  <a:pt x="153" y="38"/>
                  <a:pt x="151" y="43"/>
                  <a:pt x="154" y="46"/>
                </a:cubicBezTo>
                <a:cubicBezTo>
                  <a:pt x="160" y="57"/>
                  <a:pt x="164" y="69"/>
                  <a:pt x="164" y="81"/>
                </a:cubicBezTo>
                <a:cubicBezTo>
                  <a:pt x="164" y="117"/>
                  <a:pt x="135" y="146"/>
                  <a:pt x="99" y="146"/>
                </a:cubicBezTo>
                <a:cubicBezTo>
                  <a:pt x="63" y="146"/>
                  <a:pt x="34" y="117"/>
                  <a:pt x="34" y="81"/>
                </a:cubicBezTo>
                <a:cubicBezTo>
                  <a:pt x="34" y="45"/>
                  <a:pt x="63" y="16"/>
                  <a:pt x="99" y="16"/>
                </a:cubicBezTo>
                <a:cubicBezTo>
                  <a:pt x="111" y="16"/>
                  <a:pt x="123" y="20"/>
                  <a:pt x="134" y="26"/>
                </a:cubicBezTo>
                <a:cubicBezTo>
                  <a:pt x="138" y="29"/>
                  <a:pt x="142" y="28"/>
                  <a:pt x="145" y="24"/>
                </a:cubicBezTo>
                <a:cubicBezTo>
                  <a:pt x="147" y="20"/>
                  <a:pt x="146" y="15"/>
                  <a:pt x="142" y="13"/>
                </a:cubicBezTo>
                <a:cubicBezTo>
                  <a:pt x="129" y="5"/>
                  <a:pt x="115" y="0"/>
                  <a:pt x="99" y="0"/>
                </a:cubicBezTo>
                <a:cubicBezTo>
                  <a:pt x="55" y="0"/>
                  <a:pt x="18" y="36"/>
                  <a:pt x="18" y="81"/>
                </a:cubicBezTo>
                <a:cubicBezTo>
                  <a:pt x="18" y="104"/>
                  <a:pt x="28" y="124"/>
                  <a:pt x="43" y="139"/>
                </a:cubicBezTo>
                <a:cubicBezTo>
                  <a:pt x="24" y="151"/>
                  <a:pt x="0" y="172"/>
                  <a:pt x="0" y="209"/>
                </a:cubicBezTo>
                <a:cubicBezTo>
                  <a:pt x="0" y="289"/>
                  <a:pt x="0" y="289"/>
                  <a:pt x="0" y="289"/>
                </a:cubicBezTo>
                <a:cubicBezTo>
                  <a:pt x="0" y="297"/>
                  <a:pt x="6" y="309"/>
                  <a:pt x="21" y="309"/>
                </a:cubicBezTo>
                <a:cubicBezTo>
                  <a:pt x="117" y="309"/>
                  <a:pt x="117" y="309"/>
                  <a:pt x="117" y="309"/>
                </a:cubicBezTo>
                <a:cubicBezTo>
                  <a:pt x="117" y="380"/>
                  <a:pt x="117" y="380"/>
                  <a:pt x="117" y="380"/>
                </a:cubicBezTo>
                <a:cubicBezTo>
                  <a:pt x="117" y="394"/>
                  <a:pt x="129" y="405"/>
                  <a:pt x="142" y="405"/>
                </a:cubicBezTo>
                <a:cubicBezTo>
                  <a:pt x="285" y="405"/>
                  <a:pt x="285" y="405"/>
                  <a:pt x="285" y="405"/>
                </a:cubicBezTo>
                <a:cubicBezTo>
                  <a:pt x="298" y="405"/>
                  <a:pt x="310" y="394"/>
                  <a:pt x="310" y="380"/>
                </a:cubicBezTo>
                <a:cubicBezTo>
                  <a:pt x="310" y="238"/>
                  <a:pt x="310" y="238"/>
                  <a:pt x="310" y="238"/>
                </a:cubicBezTo>
                <a:cubicBezTo>
                  <a:pt x="310" y="224"/>
                  <a:pt x="298" y="213"/>
                  <a:pt x="285" y="213"/>
                </a:cubicBezTo>
                <a:close/>
                <a:moveTo>
                  <a:pt x="117" y="238"/>
                </a:moveTo>
                <a:cubicBezTo>
                  <a:pt x="117" y="293"/>
                  <a:pt x="117" y="293"/>
                  <a:pt x="117" y="293"/>
                </a:cubicBezTo>
                <a:cubicBezTo>
                  <a:pt x="49" y="293"/>
                  <a:pt x="49" y="293"/>
                  <a:pt x="49" y="293"/>
                </a:cubicBezTo>
                <a:cubicBezTo>
                  <a:pt x="49" y="202"/>
                  <a:pt x="49" y="202"/>
                  <a:pt x="49" y="202"/>
                </a:cubicBezTo>
                <a:cubicBezTo>
                  <a:pt x="49" y="197"/>
                  <a:pt x="45" y="194"/>
                  <a:pt x="41" y="194"/>
                </a:cubicBezTo>
                <a:cubicBezTo>
                  <a:pt x="37" y="194"/>
                  <a:pt x="33" y="197"/>
                  <a:pt x="33" y="202"/>
                </a:cubicBezTo>
                <a:cubicBezTo>
                  <a:pt x="33" y="293"/>
                  <a:pt x="33" y="293"/>
                  <a:pt x="33" y="293"/>
                </a:cubicBezTo>
                <a:cubicBezTo>
                  <a:pt x="21" y="293"/>
                  <a:pt x="21" y="293"/>
                  <a:pt x="21" y="293"/>
                </a:cubicBezTo>
                <a:cubicBezTo>
                  <a:pt x="19" y="293"/>
                  <a:pt x="17" y="293"/>
                  <a:pt x="16" y="289"/>
                </a:cubicBezTo>
                <a:cubicBezTo>
                  <a:pt x="16" y="209"/>
                  <a:pt x="16" y="209"/>
                  <a:pt x="16" y="209"/>
                </a:cubicBezTo>
                <a:cubicBezTo>
                  <a:pt x="16" y="177"/>
                  <a:pt x="40" y="159"/>
                  <a:pt x="57" y="150"/>
                </a:cubicBezTo>
                <a:cubicBezTo>
                  <a:pt x="69" y="157"/>
                  <a:pt x="84" y="162"/>
                  <a:pt x="99" y="162"/>
                </a:cubicBezTo>
                <a:cubicBezTo>
                  <a:pt x="114" y="162"/>
                  <a:pt x="129" y="157"/>
                  <a:pt x="141" y="150"/>
                </a:cubicBezTo>
                <a:cubicBezTo>
                  <a:pt x="158" y="158"/>
                  <a:pt x="182" y="177"/>
                  <a:pt x="182" y="209"/>
                </a:cubicBezTo>
                <a:cubicBezTo>
                  <a:pt x="182" y="213"/>
                  <a:pt x="182" y="213"/>
                  <a:pt x="182" y="213"/>
                </a:cubicBezTo>
                <a:cubicBezTo>
                  <a:pt x="165" y="213"/>
                  <a:pt x="165" y="213"/>
                  <a:pt x="165" y="213"/>
                </a:cubicBezTo>
                <a:cubicBezTo>
                  <a:pt x="165" y="202"/>
                  <a:pt x="165" y="202"/>
                  <a:pt x="165" y="202"/>
                </a:cubicBezTo>
                <a:cubicBezTo>
                  <a:pt x="165" y="197"/>
                  <a:pt x="162" y="194"/>
                  <a:pt x="157" y="194"/>
                </a:cubicBezTo>
                <a:cubicBezTo>
                  <a:pt x="153" y="194"/>
                  <a:pt x="149" y="197"/>
                  <a:pt x="149" y="202"/>
                </a:cubicBezTo>
                <a:cubicBezTo>
                  <a:pt x="149" y="213"/>
                  <a:pt x="149" y="213"/>
                  <a:pt x="149" y="213"/>
                </a:cubicBezTo>
                <a:cubicBezTo>
                  <a:pt x="142" y="213"/>
                  <a:pt x="142" y="213"/>
                  <a:pt x="142" y="213"/>
                </a:cubicBezTo>
                <a:cubicBezTo>
                  <a:pt x="129" y="213"/>
                  <a:pt x="117" y="224"/>
                  <a:pt x="117" y="238"/>
                </a:cubicBezTo>
                <a:close/>
                <a:moveTo>
                  <a:pt x="294" y="380"/>
                </a:moveTo>
                <a:cubicBezTo>
                  <a:pt x="294" y="385"/>
                  <a:pt x="290" y="389"/>
                  <a:pt x="285" y="389"/>
                </a:cubicBezTo>
                <a:cubicBezTo>
                  <a:pt x="142" y="389"/>
                  <a:pt x="142" y="389"/>
                  <a:pt x="142" y="389"/>
                </a:cubicBezTo>
                <a:cubicBezTo>
                  <a:pt x="137" y="389"/>
                  <a:pt x="133" y="385"/>
                  <a:pt x="133" y="380"/>
                </a:cubicBezTo>
                <a:cubicBezTo>
                  <a:pt x="133" y="238"/>
                  <a:pt x="133" y="238"/>
                  <a:pt x="133" y="238"/>
                </a:cubicBezTo>
                <a:cubicBezTo>
                  <a:pt x="133" y="233"/>
                  <a:pt x="137" y="229"/>
                  <a:pt x="142" y="229"/>
                </a:cubicBezTo>
                <a:cubicBezTo>
                  <a:pt x="285" y="229"/>
                  <a:pt x="285" y="229"/>
                  <a:pt x="285" y="229"/>
                </a:cubicBezTo>
                <a:cubicBezTo>
                  <a:pt x="290" y="229"/>
                  <a:pt x="294" y="233"/>
                  <a:pt x="294" y="238"/>
                </a:cubicBezTo>
                <a:lnTo>
                  <a:pt x="294" y="380"/>
                </a:lnTo>
                <a:close/>
              </a:path>
            </a:pathLst>
          </a:custGeom>
          <a:solidFill>
            <a:schemeClr val="tx2">
              <a:lumMod val="90000"/>
              <a:lumOff val="10000"/>
            </a:schemeClr>
          </a:solidFill>
          <a:ln w="12700">
            <a:noFill/>
            <a:round/>
            <a:headEnd/>
            <a:tailEnd/>
          </a:ln>
        </p:spPr>
        <p:txBody>
          <a:bodyPr wrap="none" lIns="72000" rIns="72000"/>
          <a:lstStyle/>
          <a:p>
            <a:pPr algn="ctr">
              <a:spcBef>
                <a:spcPct val="50000"/>
              </a:spcBef>
              <a:defRPr/>
            </a:pPr>
            <a:endParaRPr lang="en-US">
              <a:latin typeface="Arial" charset="0"/>
              <a:cs typeface="+mn-cs"/>
            </a:endParaRPr>
          </a:p>
        </p:txBody>
      </p:sp>
      <p:sp>
        <p:nvSpPr>
          <p:cNvPr id="34" name="Rounded Rectangle 33"/>
          <p:cNvSpPr/>
          <p:nvPr/>
        </p:nvSpPr>
        <p:spPr bwMode="auto">
          <a:xfrm>
            <a:off x="2640304" y="1316038"/>
            <a:ext cx="2142492" cy="4800600"/>
          </a:xfrm>
          <a:prstGeom prst="roundRect">
            <a:avLst>
              <a:gd name="adj" fmla="val 8538"/>
            </a:avLst>
          </a:prstGeom>
          <a:solidFill>
            <a:srgbClr val="FFFFFF"/>
          </a:solidFill>
          <a:ln w="57150" cap="flat" cmpd="sng" algn="ctr">
            <a:solidFill>
              <a:srgbClr val="F08A00"/>
            </a:solidFill>
            <a:prstDash val="solid"/>
            <a:round/>
            <a:headEnd type="none" w="med" len="med"/>
            <a:tailEnd type="none" w="med" len="med"/>
          </a:ln>
          <a:effectLst/>
        </p:spPr>
        <p:txBody>
          <a:bodyPr wrap="none" lIns="72000" rIns="72000" anchor="ctr"/>
          <a:lstStyle/>
          <a:p>
            <a:pPr>
              <a:lnSpc>
                <a:spcPct val="85000"/>
              </a:lnSpc>
              <a:spcBef>
                <a:spcPct val="50000"/>
              </a:spcBef>
              <a:defRPr/>
            </a:pPr>
            <a:endParaRPr lang="en-CA" sz="3200">
              <a:latin typeface="Arial" charset="0"/>
              <a:cs typeface="+mn-cs"/>
            </a:endParaRPr>
          </a:p>
        </p:txBody>
      </p:sp>
      <p:grpSp>
        <p:nvGrpSpPr>
          <p:cNvPr id="47127" name="Group 29"/>
          <p:cNvGrpSpPr>
            <a:grpSpLocks/>
          </p:cNvGrpSpPr>
          <p:nvPr/>
        </p:nvGrpSpPr>
        <p:grpSpPr bwMode="auto">
          <a:xfrm>
            <a:off x="2837890" y="1880900"/>
            <a:ext cx="1747321" cy="699833"/>
            <a:chOff x="3745626" y="1660289"/>
            <a:chExt cx="1747837" cy="699917"/>
          </a:xfrm>
        </p:grpSpPr>
        <p:sp>
          <p:nvSpPr>
            <p:cNvPr id="47139" name="Freeform 3"/>
            <p:cNvSpPr>
              <a:spLocks noChangeAspect="1"/>
            </p:cNvSpPr>
            <p:nvPr/>
          </p:nvSpPr>
          <p:spPr bwMode="auto">
            <a:xfrm>
              <a:off x="3745626" y="1660289"/>
              <a:ext cx="1747837" cy="699917"/>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E321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nSpc>
                  <a:spcPct val="85000"/>
                </a:lnSpc>
              </a:pPr>
              <a:endParaRPr lang="en-US"/>
            </a:p>
          </p:txBody>
        </p:sp>
        <p:sp>
          <p:nvSpPr>
            <p:cNvPr id="15" name="Text Box 4"/>
            <p:cNvSpPr txBox="1">
              <a:spLocks noChangeArrowheads="1"/>
            </p:cNvSpPr>
            <p:nvPr/>
          </p:nvSpPr>
          <p:spPr bwMode="auto">
            <a:xfrm>
              <a:off x="3955016" y="1705381"/>
              <a:ext cx="1328286" cy="615627"/>
            </a:xfrm>
            <a:prstGeom prst="rect">
              <a:avLst/>
            </a:prstGeom>
            <a:solidFill>
              <a:srgbClr val="FFFFFF">
                <a:alpha val="0"/>
              </a:srgbClr>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rIns="72000" anchor="ct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algn="ctr" eaLnBrk="1" hangingPunct="1">
                <a:lnSpc>
                  <a:spcPct val="85000"/>
                </a:lnSpc>
                <a:defRPr/>
              </a:pPr>
              <a:r>
                <a:rPr lang="en-US" altLang="en-US" dirty="0" smtClean="0">
                  <a:solidFill>
                    <a:schemeClr val="tx1">
                      <a:lumMod val="50000"/>
                    </a:schemeClr>
                  </a:solidFill>
                  <a:latin typeface="+mn-lt"/>
                  <a:cs typeface="+mn-cs"/>
                </a:rPr>
                <a:t>Product </a:t>
              </a:r>
              <a:br>
                <a:rPr lang="en-US" altLang="en-US" dirty="0" smtClean="0">
                  <a:solidFill>
                    <a:schemeClr val="tx1">
                      <a:lumMod val="50000"/>
                    </a:schemeClr>
                  </a:solidFill>
                  <a:latin typeface="+mn-lt"/>
                  <a:cs typeface="+mn-cs"/>
                </a:rPr>
              </a:br>
              <a:r>
                <a:rPr lang="en-US" altLang="en-US" dirty="0" smtClean="0">
                  <a:solidFill>
                    <a:schemeClr val="tx1">
                      <a:lumMod val="50000"/>
                    </a:schemeClr>
                  </a:solidFill>
                  <a:latin typeface="+mn-lt"/>
                  <a:cs typeface="+mn-cs"/>
                </a:rPr>
                <a:t>View</a:t>
              </a:r>
              <a:endParaRPr lang="en-US" altLang="en-US" dirty="0">
                <a:solidFill>
                  <a:schemeClr val="tx1">
                    <a:lumMod val="50000"/>
                  </a:schemeClr>
                </a:solidFill>
                <a:latin typeface="+mn-lt"/>
                <a:cs typeface="+mn-cs"/>
              </a:endParaRPr>
            </a:p>
          </p:txBody>
        </p:sp>
      </p:grpSp>
      <p:sp>
        <p:nvSpPr>
          <p:cNvPr id="16" name="Freeform 11"/>
          <p:cNvSpPr>
            <a:spLocks noChangeAspect="1"/>
          </p:cNvSpPr>
          <p:nvPr/>
        </p:nvSpPr>
        <p:spPr bwMode="auto">
          <a:xfrm>
            <a:off x="2837999" y="2701925"/>
            <a:ext cx="1747102" cy="700088"/>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002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lnSpc>
                <a:spcPct val="85000"/>
              </a:lnSpc>
              <a:defRPr/>
            </a:pPr>
            <a:r>
              <a:rPr lang="en-CA" sz="2000" dirty="0">
                <a:solidFill>
                  <a:schemeClr val="tx1">
                    <a:lumMod val="50000"/>
                  </a:schemeClr>
                </a:solidFill>
                <a:latin typeface="Arial" charset="0"/>
                <a:cs typeface="+mn-cs"/>
              </a:rPr>
              <a:t>Fulfillment </a:t>
            </a:r>
            <a:br>
              <a:rPr lang="en-CA" sz="2000" dirty="0">
                <a:solidFill>
                  <a:schemeClr val="tx1">
                    <a:lumMod val="50000"/>
                  </a:schemeClr>
                </a:solidFill>
                <a:latin typeface="Arial" charset="0"/>
                <a:cs typeface="+mn-cs"/>
              </a:rPr>
            </a:br>
            <a:r>
              <a:rPr lang="en-CA" sz="2000" dirty="0">
                <a:solidFill>
                  <a:schemeClr val="tx1">
                    <a:lumMod val="50000"/>
                  </a:schemeClr>
                </a:solidFill>
                <a:latin typeface="Arial" charset="0"/>
                <a:cs typeface="+mn-cs"/>
              </a:rPr>
              <a:t>View</a:t>
            </a:r>
          </a:p>
        </p:txBody>
      </p:sp>
      <p:grpSp>
        <p:nvGrpSpPr>
          <p:cNvPr id="47129" name="Group 30"/>
          <p:cNvGrpSpPr>
            <a:grpSpLocks/>
          </p:cNvGrpSpPr>
          <p:nvPr/>
        </p:nvGrpSpPr>
        <p:grpSpPr bwMode="auto">
          <a:xfrm>
            <a:off x="2837890" y="3523714"/>
            <a:ext cx="1747321" cy="699833"/>
            <a:chOff x="3745627" y="3487027"/>
            <a:chExt cx="1747837" cy="699917"/>
          </a:xfrm>
        </p:grpSpPr>
        <p:sp>
          <p:nvSpPr>
            <p:cNvPr id="47137" name="Freeform 15"/>
            <p:cNvSpPr>
              <a:spLocks noChangeAspect="1"/>
            </p:cNvSpPr>
            <p:nvPr/>
          </p:nvSpPr>
          <p:spPr bwMode="auto">
            <a:xfrm>
              <a:off x="3745627" y="3487027"/>
              <a:ext cx="1747837" cy="699917"/>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7B066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nSpc>
                  <a:spcPct val="85000"/>
                </a:lnSpc>
              </a:pPr>
              <a:endParaRPr lang="en-US"/>
            </a:p>
          </p:txBody>
        </p:sp>
        <p:sp>
          <p:nvSpPr>
            <p:cNvPr id="26" name="Text Box 4"/>
            <p:cNvSpPr txBox="1">
              <a:spLocks noChangeArrowheads="1"/>
            </p:cNvSpPr>
            <p:nvPr/>
          </p:nvSpPr>
          <p:spPr bwMode="auto">
            <a:xfrm>
              <a:off x="3931191" y="3531172"/>
              <a:ext cx="1329476" cy="615627"/>
            </a:xfrm>
            <a:prstGeom prst="rect">
              <a:avLst/>
            </a:prstGeom>
            <a:solidFill>
              <a:srgbClr val="FFFFFF">
                <a:alpha val="0"/>
              </a:srgbClr>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rIns="72000" anchor="ct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algn="ctr" eaLnBrk="1" hangingPunct="1">
                <a:lnSpc>
                  <a:spcPct val="85000"/>
                </a:lnSpc>
                <a:defRPr/>
              </a:pPr>
              <a:r>
                <a:rPr lang="en-US" altLang="en-US" dirty="0" smtClean="0">
                  <a:solidFill>
                    <a:schemeClr val="tx1">
                      <a:lumMod val="50000"/>
                    </a:schemeClr>
                  </a:solidFill>
                  <a:latin typeface="+mn-lt"/>
                  <a:cs typeface="+mn-cs"/>
                </a:rPr>
                <a:t>Billing</a:t>
              </a:r>
              <a:br>
                <a:rPr lang="en-US" altLang="en-US" dirty="0" smtClean="0">
                  <a:solidFill>
                    <a:schemeClr val="tx1">
                      <a:lumMod val="50000"/>
                    </a:schemeClr>
                  </a:solidFill>
                  <a:latin typeface="+mn-lt"/>
                  <a:cs typeface="+mn-cs"/>
                </a:rPr>
              </a:br>
              <a:r>
                <a:rPr lang="en-US" altLang="en-US" dirty="0" smtClean="0">
                  <a:solidFill>
                    <a:schemeClr val="tx1">
                      <a:lumMod val="50000"/>
                    </a:schemeClr>
                  </a:solidFill>
                  <a:latin typeface="+mn-lt"/>
                  <a:cs typeface="+mn-cs"/>
                </a:rPr>
                <a:t>View</a:t>
              </a:r>
              <a:endParaRPr lang="en-US" altLang="en-US" dirty="0">
                <a:solidFill>
                  <a:schemeClr val="tx1">
                    <a:lumMod val="50000"/>
                  </a:schemeClr>
                </a:solidFill>
                <a:latin typeface="+mn-lt"/>
                <a:cs typeface="+mn-cs"/>
              </a:endParaRPr>
            </a:p>
          </p:txBody>
        </p:sp>
      </p:grpSp>
      <p:grpSp>
        <p:nvGrpSpPr>
          <p:cNvPr id="47130" name="Group 31"/>
          <p:cNvGrpSpPr>
            <a:grpSpLocks/>
          </p:cNvGrpSpPr>
          <p:nvPr/>
        </p:nvGrpSpPr>
        <p:grpSpPr bwMode="auto">
          <a:xfrm>
            <a:off x="2837890" y="4385972"/>
            <a:ext cx="1747321" cy="699832"/>
            <a:chOff x="3745627" y="4401427"/>
            <a:chExt cx="1747837" cy="699917"/>
          </a:xfrm>
        </p:grpSpPr>
        <p:sp>
          <p:nvSpPr>
            <p:cNvPr id="47135" name="Freeform 19"/>
            <p:cNvSpPr>
              <a:spLocks noChangeAspect="1"/>
            </p:cNvSpPr>
            <p:nvPr/>
          </p:nvSpPr>
          <p:spPr bwMode="auto">
            <a:xfrm>
              <a:off x="3745627" y="4401427"/>
              <a:ext cx="1747837" cy="699917"/>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nSpc>
                  <a:spcPct val="85000"/>
                </a:lnSpc>
              </a:pPr>
              <a:endParaRPr lang="en-US"/>
            </a:p>
          </p:txBody>
        </p:sp>
        <p:sp>
          <p:nvSpPr>
            <p:cNvPr id="27" name="Text Box 4"/>
            <p:cNvSpPr txBox="1">
              <a:spLocks noChangeArrowheads="1"/>
            </p:cNvSpPr>
            <p:nvPr/>
          </p:nvSpPr>
          <p:spPr bwMode="auto">
            <a:xfrm>
              <a:off x="3955017" y="4445128"/>
              <a:ext cx="1328286" cy="615627"/>
            </a:xfrm>
            <a:prstGeom prst="rect">
              <a:avLst/>
            </a:prstGeom>
            <a:solidFill>
              <a:srgbClr val="FFFFFF">
                <a:alpha val="0"/>
              </a:srgbClr>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rIns="72000" anchor="ct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algn="ctr" eaLnBrk="1" hangingPunct="1">
                <a:lnSpc>
                  <a:spcPct val="85000"/>
                </a:lnSpc>
                <a:defRPr/>
              </a:pPr>
              <a:r>
                <a:rPr lang="en-US" altLang="en-US" dirty="0" smtClean="0">
                  <a:solidFill>
                    <a:schemeClr val="tx1">
                      <a:lumMod val="50000"/>
                    </a:schemeClr>
                  </a:solidFill>
                  <a:latin typeface="+mn-lt"/>
                  <a:cs typeface="+mn-cs"/>
                </a:rPr>
                <a:t>Charging</a:t>
              </a:r>
              <a:br>
                <a:rPr lang="en-US" altLang="en-US" dirty="0" smtClean="0">
                  <a:solidFill>
                    <a:schemeClr val="tx1">
                      <a:lumMod val="50000"/>
                    </a:schemeClr>
                  </a:solidFill>
                  <a:latin typeface="+mn-lt"/>
                  <a:cs typeface="+mn-cs"/>
                </a:rPr>
              </a:br>
              <a:r>
                <a:rPr lang="en-US" altLang="en-US" dirty="0" smtClean="0">
                  <a:solidFill>
                    <a:schemeClr val="tx1">
                      <a:lumMod val="50000"/>
                    </a:schemeClr>
                  </a:solidFill>
                  <a:latin typeface="+mn-lt"/>
                  <a:cs typeface="+mn-cs"/>
                </a:rPr>
                <a:t>View</a:t>
              </a:r>
              <a:endParaRPr lang="en-US" altLang="en-US" dirty="0">
                <a:solidFill>
                  <a:schemeClr val="tx1">
                    <a:lumMod val="50000"/>
                  </a:schemeClr>
                </a:solidFill>
                <a:latin typeface="+mn-lt"/>
                <a:cs typeface="+mn-cs"/>
              </a:endParaRPr>
            </a:p>
          </p:txBody>
        </p:sp>
      </p:grpSp>
      <p:grpSp>
        <p:nvGrpSpPr>
          <p:cNvPr id="47131" name="Group 28"/>
          <p:cNvGrpSpPr>
            <a:grpSpLocks/>
          </p:cNvGrpSpPr>
          <p:nvPr/>
        </p:nvGrpSpPr>
        <p:grpSpPr bwMode="auto">
          <a:xfrm>
            <a:off x="2837890" y="5206989"/>
            <a:ext cx="1747321" cy="699833"/>
            <a:chOff x="3745625" y="4986440"/>
            <a:chExt cx="1747837" cy="699917"/>
          </a:xfrm>
        </p:grpSpPr>
        <p:sp>
          <p:nvSpPr>
            <p:cNvPr id="47133" name="Freeform 25"/>
            <p:cNvSpPr>
              <a:spLocks noChangeAspect="1"/>
            </p:cNvSpPr>
            <p:nvPr/>
          </p:nvSpPr>
          <p:spPr bwMode="auto">
            <a:xfrm>
              <a:off x="3745625" y="4986440"/>
              <a:ext cx="1747837" cy="699917"/>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nSpc>
                  <a:spcPct val="85000"/>
                </a:lnSpc>
              </a:pPr>
              <a:endParaRPr lang="en-US"/>
            </a:p>
          </p:txBody>
        </p:sp>
        <p:sp>
          <p:nvSpPr>
            <p:cNvPr id="28" name="Text Box 4"/>
            <p:cNvSpPr txBox="1">
              <a:spLocks noChangeArrowheads="1"/>
            </p:cNvSpPr>
            <p:nvPr/>
          </p:nvSpPr>
          <p:spPr bwMode="auto">
            <a:xfrm>
              <a:off x="3850183" y="5041120"/>
              <a:ext cx="1537952" cy="615627"/>
            </a:xfrm>
            <a:prstGeom prst="rect">
              <a:avLst/>
            </a:prstGeom>
            <a:solidFill>
              <a:srgbClr val="FFFFFF">
                <a:alpha val="0"/>
              </a:srgbClr>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rIns="72000" anchor="ct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algn="ctr" eaLnBrk="1" hangingPunct="1">
                <a:lnSpc>
                  <a:spcPct val="85000"/>
                </a:lnSpc>
                <a:defRPr/>
              </a:pPr>
              <a:r>
                <a:rPr lang="en-US" altLang="en-US" dirty="0" smtClean="0">
                  <a:solidFill>
                    <a:schemeClr val="tx1">
                      <a:lumMod val="50000"/>
                    </a:schemeClr>
                  </a:solidFill>
                  <a:latin typeface="+mn-lt"/>
                  <a:cs typeface="+mn-cs"/>
                </a:rPr>
                <a:t>Policy</a:t>
              </a:r>
              <a:br>
                <a:rPr lang="en-US" altLang="en-US" dirty="0" smtClean="0">
                  <a:solidFill>
                    <a:schemeClr val="tx1">
                      <a:lumMod val="50000"/>
                    </a:schemeClr>
                  </a:solidFill>
                  <a:latin typeface="+mn-lt"/>
                  <a:cs typeface="+mn-cs"/>
                </a:rPr>
              </a:br>
              <a:r>
                <a:rPr lang="en-US" altLang="en-US" dirty="0" smtClean="0">
                  <a:solidFill>
                    <a:schemeClr val="tx1">
                      <a:lumMod val="50000"/>
                    </a:schemeClr>
                  </a:solidFill>
                  <a:latin typeface="+mn-lt"/>
                  <a:cs typeface="+mn-cs"/>
                </a:rPr>
                <a:t>View</a:t>
              </a:r>
              <a:endParaRPr lang="en-US" altLang="en-US" dirty="0">
                <a:solidFill>
                  <a:schemeClr val="tx1">
                    <a:lumMod val="50000"/>
                  </a:schemeClr>
                </a:solidFill>
                <a:latin typeface="+mn-lt"/>
                <a:cs typeface="+mn-cs"/>
              </a:endParaRPr>
            </a:p>
          </p:txBody>
        </p:sp>
      </p:grpSp>
      <p:sp>
        <p:nvSpPr>
          <p:cNvPr id="47132" name="TextBox 35"/>
          <p:cNvSpPr txBox="1">
            <a:spLocks noChangeArrowheads="1"/>
          </p:cNvSpPr>
          <p:nvPr/>
        </p:nvSpPr>
        <p:spPr bwMode="auto">
          <a:xfrm>
            <a:off x="2667835" y="1423567"/>
            <a:ext cx="2087431" cy="406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8000">
                <a:solidFill>
                  <a:schemeClr val="tx1"/>
                </a:solidFill>
                <a:latin typeface="Arial" pitchFamily="34" charset="0"/>
                <a:ea typeface="MS PGothic" pitchFamily="34" charset="-128"/>
              </a:defRPr>
            </a:lvl1pPr>
            <a:lvl2pPr marL="742950" indent="-285750" eaLnBrk="0" hangingPunct="0">
              <a:defRPr sz="8000">
                <a:solidFill>
                  <a:schemeClr val="tx1"/>
                </a:solidFill>
                <a:latin typeface="Arial" pitchFamily="34" charset="0"/>
                <a:ea typeface="MS PGothic" pitchFamily="34" charset="-128"/>
              </a:defRPr>
            </a:lvl2pPr>
            <a:lvl3pPr marL="1143000" indent="-228600" eaLnBrk="0" hangingPunct="0">
              <a:defRPr sz="8000">
                <a:solidFill>
                  <a:schemeClr val="tx1"/>
                </a:solidFill>
                <a:latin typeface="Arial" pitchFamily="34" charset="0"/>
                <a:ea typeface="MS PGothic" pitchFamily="34" charset="-128"/>
              </a:defRPr>
            </a:lvl3pPr>
            <a:lvl4pPr marL="1600200" indent="-228600" eaLnBrk="0" hangingPunct="0">
              <a:defRPr sz="8000">
                <a:solidFill>
                  <a:schemeClr val="tx1"/>
                </a:solidFill>
                <a:latin typeface="Arial" pitchFamily="34" charset="0"/>
                <a:ea typeface="MS PGothic" pitchFamily="34" charset="-128"/>
              </a:defRPr>
            </a:lvl4pPr>
            <a:lvl5pPr marL="2057400" indent="-228600" eaLnBrk="0" hangingPunct="0">
              <a:defRPr sz="8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8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8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8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8000">
                <a:solidFill>
                  <a:schemeClr val="tx1"/>
                </a:solidFill>
                <a:latin typeface="Arial" pitchFamily="34" charset="0"/>
                <a:ea typeface="MS PGothic" pitchFamily="34" charset="-128"/>
              </a:defRPr>
            </a:lvl9pPr>
          </a:lstStyle>
          <a:p>
            <a:pPr algn="ctr" eaLnBrk="1" hangingPunct="1">
              <a:lnSpc>
                <a:spcPct val="85000"/>
              </a:lnSpc>
            </a:pPr>
            <a:r>
              <a:rPr lang="en-CA" altLang="en-US" sz="2400" dirty="0"/>
              <a:t>Logical Model</a:t>
            </a:r>
          </a:p>
        </p:txBody>
      </p:sp>
      <p:sp>
        <p:nvSpPr>
          <p:cNvPr id="56" name="Rounded Rectangle 55"/>
          <p:cNvSpPr/>
          <p:nvPr/>
        </p:nvSpPr>
        <p:spPr bwMode="auto">
          <a:xfrm flipH="1" flipV="1">
            <a:off x="1691128" y="1316040"/>
            <a:ext cx="770536" cy="4791075"/>
          </a:xfrm>
          <a:prstGeom prst="roundRect">
            <a:avLst>
              <a:gd name="adj" fmla="val 50000"/>
            </a:avLst>
          </a:prstGeom>
          <a:solidFill>
            <a:schemeClr val="bg2">
              <a:lumMod val="20000"/>
              <a:lumOff val="80000"/>
            </a:schemeClr>
          </a:solidFill>
          <a:ln w="12700" cap="flat" cmpd="sng" algn="ctr">
            <a:solidFill>
              <a:schemeClr val="tx1"/>
            </a:solidFill>
            <a:prstDash val="solid"/>
            <a:round/>
            <a:headEnd type="none" w="med" len="med"/>
            <a:tailEnd type="none" w="med" len="med"/>
          </a:ln>
          <a:effectLst/>
        </p:spPr>
        <p:txBody>
          <a:bodyPr vert="vert" wrap="none" lIns="72000" rIns="72000" anchor="ctr"/>
          <a:lstStyle/>
          <a:p>
            <a:pPr algn="ctr">
              <a:spcBef>
                <a:spcPct val="50000"/>
              </a:spcBef>
              <a:defRPr/>
            </a:pPr>
            <a:r>
              <a:rPr lang="en-CA" sz="2800" dirty="0">
                <a:latin typeface="Arial" charset="0"/>
                <a:cs typeface="+mn-cs"/>
              </a:rPr>
              <a:t>User Interface</a:t>
            </a:r>
          </a:p>
        </p:txBody>
      </p:sp>
    </p:spTree>
    <p:extLst>
      <p:ext uri="{BB962C8B-B14F-4D97-AF65-F5344CB8AC3E}">
        <p14:creationId xmlns:p14="http://schemas.microsoft.com/office/powerpoint/2010/main" val="3706011030"/>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4"/>
          <p:cNvSpPr>
            <a:spLocks noGrp="1"/>
          </p:cNvSpPr>
          <p:nvPr>
            <p:ph type="title"/>
          </p:nvPr>
        </p:nvSpPr>
        <p:spPr/>
        <p:txBody>
          <a:bodyPr/>
          <a:lstStyle/>
          <a:p>
            <a:r>
              <a:rPr lang="en-CA" altLang="en-US" dirty="0" smtClean="0">
                <a:latin typeface="Ericsson Capital TT" pitchFamily="2" charset="0"/>
              </a:rPr>
              <a:t>Architecture</a:t>
            </a:r>
          </a:p>
        </p:txBody>
      </p:sp>
      <p:sp>
        <p:nvSpPr>
          <p:cNvPr id="12" name="Freeform 3"/>
          <p:cNvSpPr>
            <a:spLocks noChangeAspect="1" noEditPoints="1"/>
          </p:cNvSpPr>
          <p:nvPr/>
        </p:nvSpPr>
        <p:spPr bwMode="auto">
          <a:xfrm>
            <a:off x="753863" y="3111500"/>
            <a:ext cx="676451" cy="884238"/>
          </a:xfrm>
          <a:custGeom>
            <a:avLst/>
            <a:gdLst>
              <a:gd name="T0" fmla="*/ 2147483647 w 310"/>
              <a:gd name="T1" fmla="*/ 2147483647 h 405"/>
              <a:gd name="T2" fmla="*/ 2147483647 w 310"/>
              <a:gd name="T3" fmla="*/ 2147483647 h 405"/>
              <a:gd name="T4" fmla="*/ 2147483647 w 310"/>
              <a:gd name="T5" fmla="*/ 2147483647 h 405"/>
              <a:gd name="T6" fmla="*/ 2147483647 w 310"/>
              <a:gd name="T7" fmla="*/ 2147483647 h 405"/>
              <a:gd name="T8" fmla="*/ 2147483647 w 310"/>
              <a:gd name="T9" fmla="*/ 2147483647 h 405"/>
              <a:gd name="T10" fmla="*/ 2147483647 w 310"/>
              <a:gd name="T11" fmla="*/ 2147483647 h 405"/>
              <a:gd name="T12" fmla="*/ 2147483647 w 310"/>
              <a:gd name="T13" fmla="*/ 2147483647 h 405"/>
              <a:gd name="T14" fmla="*/ 2147483647 w 310"/>
              <a:gd name="T15" fmla="*/ 2147483647 h 405"/>
              <a:gd name="T16" fmla="*/ 2147483647 w 310"/>
              <a:gd name="T17" fmla="*/ 2147483647 h 405"/>
              <a:gd name="T18" fmla="*/ 2147483647 w 310"/>
              <a:gd name="T19" fmla="*/ 2147483647 h 405"/>
              <a:gd name="T20" fmla="*/ 2147483647 w 310"/>
              <a:gd name="T21" fmla="*/ 2147483647 h 405"/>
              <a:gd name="T22" fmla="*/ 2147483647 w 310"/>
              <a:gd name="T23" fmla="*/ 2147483647 h 405"/>
              <a:gd name="T24" fmla="*/ 2147483647 w 310"/>
              <a:gd name="T25" fmla="*/ 2147483647 h 405"/>
              <a:gd name="T26" fmla="*/ 2147483647 w 310"/>
              <a:gd name="T27" fmla="*/ 2147483647 h 405"/>
              <a:gd name="T28" fmla="*/ 2147483647 w 310"/>
              <a:gd name="T29" fmla="*/ 2147483647 h 405"/>
              <a:gd name="T30" fmla="*/ 2147483647 w 310"/>
              <a:gd name="T31" fmla="*/ 0 h 405"/>
              <a:gd name="T32" fmla="*/ 2147483647 w 310"/>
              <a:gd name="T33" fmla="*/ 2147483647 h 405"/>
              <a:gd name="T34" fmla="*/ 2147483647 w 310"/>
              <a:gd name="T35" fmla="*/ 2147483647 h 405"/>
              <a:gd name="T36" fmla="*/ 0 w 310"/>
              <a:gd name="T37" fmla="*/ 2147483647 h 405"/>
              <a:gd name="T38" fmla="*/ 0 w 310"/>
              <a:gd name="T39" fmla="*/ 2147483647 h 405"/>
              <a:gd name="T40" fmla="*/ 2147483647 w 310"/>
              <a:gd name="T41" fmla="*/ 2147483647 h 405"/>
              <a:gd name="T42" fmla="*/ 2147483647 w 310"/>
              <a:gd name="T43" fmla="*/ 2147483647 h 405"/>
              <a:gd name="T44" fmla="*/ 2147483647 w 310"/>
              <a:gd name="T45" fmla="*/ 2147483647 h 405"/>
              <a:gd name="T46" fmla="*/ 2147483647 w 310"/>
              <a:gd name="T47" fmla="*/ 2147483647 h 405"/>
              <a:gd name="T48" fmla="*/ 2147483647 w 310"/>
              <a:gd name="T49" fmla="*/ 2147483647 h 405"/>
              <a:gd name="T50" fmla="*/ 2147483647 w 310"/>
              <a:gd name="T51" fmla="*/ 2147483647 h 405"/>
              <a:gd name="T52" fmla="*/ 2147483647 w 310"/>
              <a:gd name="T53" fmla="*/ 2147483647 h 405"/>
              <a:gd name="T54" fmla="*/ 2147483647 w 310"/>
              <a:gd name="T55" fmla="*/ 2147483647 h 405"/>
              <a:gd name="T56" fmla="*/ 2147483647 w 310"/>
              <a:gd name="T57" fmla="*/ 2147483647 h 405"/>
              <a:gd name="T58" fmla="*/ 2147483647 w 310"/>
              <a:gd name="T59" fmla="*/ 2147483647 h 405"/>
              <a:gd name="T60" fmla="*/ 2147483647 w 310"/>
              <a:gd name="T61" fmla="*/ 2147483647 h 405"/>
              <a:gd name="T62" fmla="*/ 2147483647 w 310"/>
              <a:gd name="T63" fmla="*/ 2147483647 h 405"/>
              <a:gd name="T64" fmla="*/ 2147483647 w 310"/>
              <a:gd name="T65" fmla="*/ 2147483647 h 405"/>
              <a:gd name="T66" fmla="*/ 2147483647 w 310"/>
              <a:gd name="T67" fmla="*/ 2147483647 h 405"/>
              <a:gd name="T68" fmla="*/ 2147483647 w 310"/>
              <a:gd name="T69" fmla="*/ 2147483647 h 405"/>
              <a:gd name="T70" fmla="*/ 2147483647 w 310"/>
              <a:gd name="T71" fmla="*/ 2147483647 h 405"/>
              <a:gd name="T72" fmla="*/ 2147483647 w 310"/>
              <a:gd name="T73" fmla="*/ 2147483647 h 405"/>
              <a:gd name="T74" fmla="*/ 2147483647 w 310"/>
              <a:gd name="T75" fmla="*/ 2147483647 h 405"/>
              <a:gd name="T76" fmla="*/ 2147483647 w 310"/>
              <a:gd name="T77" fmla="*/ 2147483647 h 405"/>
              <a:gd name="T78" fmla="*/ 2147483647 w 310"/>
              <a:gd name="T79" fmla="*/ 2147483647 h 405"/>
              <a:gd name="T80" fmla="*/ 2147483647 w 310"/>
              <a:gd name="T81" fmla="*/ 2147483647 h 405"/>
              <a:gd name="T82" fmla="*/ 2147483647 w 310"/>
              <a:gd name="T83" fmla="*/ 2147483647 h 405"/>
              <a:gd name="T84" fmla="*/ 2147483647 w 310"/>
              <a:gd name="T85" fmla="*/ 2147483647 h 405"/>
              <a:gd name="T86" fmla="*/ 2147483647 w 310"/>
              <a:gd name="T87" fmla="*/ 2147483647 h 405"/>
              <a:gd name="T88" fmla="*/ 2147483647 w 310"/>
              <a:gd name="T89" fmla="*/ 2147483647 h 405"/>
              <a:gd name="T90" fmla="*/ 2147483647 w 310"/>
              <a:gd name="T91" fmla="*/ 2147483647 h 405"/>
              <a:gd name="T92" fmla="*/ 2147483647 w 310"/>
              <a:gd name="T93" fmla="*/ 2147483647 h 405"/>
              <a:gd name="T94" fmla="*/ 2147483647 w 310"/>
              <a:gd name="T95" fmla="*/ 2147483647 h 405"/>
              <a:gd name="T96" fmla="*/ 2147483647 w 310"/>
              <a:gd name="T97" fmla="*/ 2147483647 h 405"/>
              <a:gd name="T98" fmla="*/ 2147483647 w 310"/>
              <a:gd name="T99" fmla="*/ 2147483647 h 405"/>
              <a:gd name="T100" fmla="*/ 2147483647 w 310"/>
              <a:gd name="T101" fmla="*/ 2147483647 h 405"/>
              <a:gd name="T102" fmla="*/ 2147483647 w 310"/>
              <a:gd name="T103" fmla="*/ 2147483647 h 405"/>
              <a:gd name="T104" fmla="*/ 2147483647 w 310"/>
              <a:gd name="T105" fmla="*/ 2147483647 h 405"/>
              <a:gd name="T106" fmla="*/ 2147483647 w 310"/>
              <a:gd name="T107" fmla="*/ 2147483647 h 405"/>
              <a:gd name="T108" fmla="*/ 2147483647 w 310"/>
              <a:gd name="T109" fmla="*/ 2147483647 h 405"/>
              <a:gd name="T110" fmla="*/ 2147483647 w 310"/>
              <a:gd name="T111" fmla="*/ 2147483647 h 405"/>
              <a:gd name="T112" fmla="*/ 2147483647 w 310"/>
              <a:gd name="T113" fmla="*/ 2147483647 h 405"/>
              <a:gd name="T114" fmla="*/ 2147483647 w 310"/>
              <a:gd name="T115" fmla="*/ 2147483647 h 405"/>
              <a:gd name="T116" fmla="*/ 2147483647 w 310"/>
              <a:gd name="T117" fmla="*/ 2147483647 h 4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10"/>
              <a:gd name="T178" fmla="*/ 0 h 405"/>
              <a:gd name="T179" fmla="*/ 310 w 310"/>
              <a:gd name="T180" fmla="*/ 405 h 40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10" h="405">
                <a:moveTo>
                  <a:pt x="285" y="213"/>
                </a:moveTo>
                <a:cubicBezTo>
                  <a:pt x="198" y="213"/>
                  <a:pt x="198" y="213"/>
                  <a:pt x="198" y="213"/>
                </a:cubicBezTo>
                <a:cubicBezTo>
                  <a:pt x="198" y="209"/>
                  <a:pt x="198" y="209"/>
                  <a:pt x="198" y="209"/>
                </a:cubicBezTo>
                <a:cubicBezTo>
                  <a:pt x="198" y="172"/>
                  <a:pt x="174" y="151"/>
                  <a:pt x="155" y="139"/>
                </a:cubicBezTo>
                <a:cubicBezTo>
                  <a:pt x="170" y="124"/>
                  <a:pt x="180" y="104"/>
                  <a:pt x="180" y="81"/>
                </a:cubicBezTo>
                <a:cubicBezTo>
                  <a:pt x="180" y="66"/>
                  <a:pt x="175" y="51"/>
                  <a:pt x="167" y="38"/>
                </a:cubicBezTo>
                <a:cubicBezTo>
                  <a:pt x="165" y="34"/>
                  <a:pt x="160" y="33"/>
                  <a:pt x="156" y="35"/>
                </a:cubicBezTo>
                <a:cubicBezTo>
                  <a:pt x="153" y="38"/>
                  <a:pt x="151" y="43"/>
                  <a:pt x="154" y="46"/>
                </a:cubicBezTo>
                <a:cubicBezTo>
                  <a:pt x="160" y="57"/>
                  <a:pt x="164" y="69"/>
                  <a:pt x="164" y="81"/>
                </a:cubicBezTo>
                <a:cubicBezTo>
                  <a:pt x="164" y="117"/>
                  <a:pt x="135" y="146"/>
                  <a:pt x="99" y="146"/>
                </a:cubicBezTo>
                <a:cubicBezTo>
                  <a:pt x="63" y="146"/>
                  <a:pt x="34" y="117"/>
                  <a:pt x="34" y="81"/>
                </a:cubicBezTo>
                <a:cubicBezTo>
                  <a:pt x="34" y="45"/>
                  <a:pt x="63" y="16"/>
                  <a:pt x="99" y="16"/>
                </a:cubicBezTo>
                <a:cubicBezTo>
                  <a:pt x="111" y="16"/>
                  <a:pt x="123" y="20"/>
                  <a:pt x="134" y="26"/>
                </a:cubicBezTo>
                <a:cubicBezTo>
                  <a:pt x="138" y="29"/>
                  <a:pt x="142" y="28"/>
                  <a:pt x="145" y="24"/>
                </a:cubicBezTo>
                <a:cubicBezTo>
                  <a:pt x="147" y="20"/>
                  <a:pt x="146" y="15"/>
                  <a:pt x="142" y="13"/>
                </a:cubicBezTo>
                <a:cubicBezTo>
                  <a:pt x="129" y="5"/>
                  <a:pt x="115" y="0"/>
                  <a:pt x="99" y="0"/>
                </a:cubicBezTo>
                <a:cubicBezTo>
                  <a:pt x="55" y="0"/>
                  <a:pt x="18" y="36"/>
                  <a:pt x="18" y="81"/>
                </a:cubicBezTo>
                <a:cubicBezTo>
                  <a:pt x="18" y="104"/>
                  <a:pt x="28" y="124"/>
                  <a:pt x="43" y="139"/>
                </a:cubicBezTo>
                <a:cubicBezTo>
                  <a:pt x="24" y="151"/>
                  <a:pt x="0" y="172"/>
                  <a:pt x="0" y="209"/>
                </a:cubicBezTo>
                <a:cubicBezTo>
                  <a:pt x="0" y="289"/>
                  <a:pt x="0" y="289"/>
                  <a:pt x="0" y="289"/>
                </a:cubicBezTo>
                <a:cubicBezTo>
                  <a:pt x="0" y="297"/>
                  <a:pt x="6" y="309"/>
                  <a:pt x="21" y="309"/>
                </a:cubicBezTo>
                <a:cubicBezTo>
                  <a:pt x="117" y="309"/>
                  <a:pt x="117" y="309"/>
                  <a:pt x="117" y="309"/>
                </a:cubicBezTo>
                <a:cubicBezTo>
                  <a:pt x="117" y="380"/>
                  <a:pt x="117" y="380"/>
                  <a:pt x="117" y="380"/>
                </a:cubicBezTo>
                <a:cubicBezTo>
                  <a:pt x="117" y="394"/>
                  <a:pt x="129" y="405"/>
                  <a:pt x="142" y="405"/>
                </a:cubicBezTo>
                <a:cubicBezTo>
                  <a:pt x="285" y="405"/>
                  <a:pt x="285" y="405"/>
                  <a:pt x="285" y="405"/>
                </a:cubicBezTo>
                <a:cubicBezTo>
                  <a:pt x="298" y="405"/>
                  <a:pt x="310" y="394"/>
                  <a:pt x="310" y="380"/>
                </a:cubicBezTo>
                <a:cubicBezTo>
                  <a:pt x="310" y="238"/>
                  <a:pt x="310" y="238"/>
                  <a:pt x="310" y="238"/>
                </a:cubicBezTo>
                <a:cubicBezTo>
                  <a:pt x="310" y="224"/>
                  <a:pt x="298" y="213"/>
                  <a:pt x="285" y="213"/>
                </a:cubicBezTo>
                <a:close/>
                <a:moveTo>
                  <a:pt x="117" y="238"/>
                </a:moveTo>
                <a:cubicBezTo>
                  <a:pt x="117" y="293"/>
                  <a:pt x="117" y="293"/>
                  <a:pt x="117" y="293"/>
                </a:cubicBezTo>
                <a:cubicBezTo>
                  <a:pt x="49" y="293"/>
                  <a:pt x="49" y="293"/>
                  <a:pt x="49" y="293"/>
                </a:cubicBezTo>
                <a:cubicBezTo>
                  <a:pt x="49" y="202"/>
                  <a:pt x="49" y="202"/>
                  <a:pt x="49" y="202"/>
                </a:cubicBezTo>
                <a:cubicBezTo>
                  <a:pt x="49" y="197"/>
                  <a:pt x="45" y="194"/>
                  <a:pt x="41" y="194"/>
                </a:cubicBezTo>
                <a:cubicBezTo>
                  <a:pt x="37" y="194"/>
                  <a:pt x="33" y="197"/>
                  <a:pt x="33" y="202"/>
                </a:cubicBezTo>
                <a:cubicBezTo>
                  <a:pt x="33" y="293"/>
                  <a:pt x="33" y="293"/>
                  <a:pt x="33" y="293"/>
                </a:cubicBezTo>
                <a:cubicBezTo>
                  <a:pt x="21" y="293"/>
                  <a:pt x="21" y="293"/>
                  <a:pt x="21" y="293"/>
                </a:cubicBezTo>
                <a:cubicBezTo>
                  <a:pt x="19" y="293"/>
                  <a:pt x="17" y="293"/>
                  <a:pt x="16" y="289"/>
                </a:cubicBezTo>
                <a:cubicBezTo>
                  <a:pt x="16" y="209"/>
                  <a:pt x="16" y="209"/>
                  <a:pt x="16" y="209"/>
                </a:cubicBezTo>
                <a:cubicBezTo>
                  <a:pt x="16" y="177"/>
                  <a:pt x="40" y="159"/>
                  <a:pt x="57" y="150"/>
                </a:cubicBezTo>
                <a:cubicBezTo>
                  <a:pt x="69" y="157"/>
                  <a:pt x="84" y="162"/>
                  <a:pt x="99" y="162"/>
                </a:cubicBezTo>
                <a:cubicBezTo>
                  <a:pt x="114" y="162"/>
                  <a:pt x="129" y="157"/>
                  <a:pt x="141" y="150"/>
                </a:cubicBezTo>
                <a:cubicBezTo>
                  <a:pt x="158" y="158"/>
                  <a:pt x="182" y="177"/>
                  <a:pt x="182" y="209"/>
                </a:cubicBezTo>
                <a:cubicBezTo>
                  <a:pt x="182" y="213"/>
                  <a:pt x="182" y="213"/>
                  <a:pt x="182" y="213"/>
                </a:cubicBezTo>
                <a:cubicBezTo>
                  <a:pt x="165" y="213"/>
                  <a:pt x="165" y="213"/>
                  <a:pt x="165" y="213"/>
                </a:cubicBezTo>
                <a:cubicBezTo>
                  <a:pt x="165" y="202"/>
                  <a:pt x="165" y="202"/>
                  <a:pt x="165" y="202"/>
                </a:cubicBezTo>
                <a:cubicBezTo>
                  <a:pt x="165" y="197"/>
                  <a:pt x="162" y="194"/>
                  <a:pt x="157" y="194"/>
                </a:cubicBezTo>
                <a:cubicBezTo>
                  <a:pt x="153" y="194"/>
                  <a:pt x="149" y="197"/>
                  <a:pt x="149" y="202"/>
                </a:cubicBezTo>
                <a:cubicBezTo>
                  <a:pt x="149" y="213"/>
                  <a:pt x="149" y="213"/>
                  <a:pt x="149" y="213"/>
                </a:cubicBezTo>
                <a:cubicBezTo>
                  <a:pt x="142" y="213"/>
                  <a:pt x="142" y="213"/>
                  <a:pt x="142" y="213"/>
                </a:cubicBezTo>
                <a:cubicBezTo>
                  <a:pt x="129" y="213"/>
                  <a:pt x="117" y="224"/>
                  <a:pt x="117" y="238"/>
                </a:cubicBezTo>
                <a:close/>
                <a:moveTo>
                  <a:pt x="294" y="380"/>
                </a:moveTo>
                <a:cubicBezTo>
                  <a:pt x="294" y="385"/>
                  <a:pt x="290" y="389"/>
                  <a:pt x="285" y="389"/>
                </a:cubicBezTo>
                <a:cubicBezTo>
                  <a:pt x="142" y="389"/>
                  <a:pt x="142" y="389"/>
                  <a:pt x="142" y="389"/>
                </a:cubicBezTo>
                <a:cubicBezTo>
                  <a:pt x="137" y="389"/>
                  <a:pt x="133" y="385"/>
                  <a:pt x="133" y="380"/>
                </a:cubicBezTo>
                <a:cubicBezTo>
                  <a:pt x="133" y="238"/>
                  <a:pt x="133" y="238"/>
                  <a:pt x="133" y="238"/>
                </a:cubicBezTo>
                <a:cubicBezTo>
                  <a:pt x="133" y="233"/>
                  <a:pt x="137" y="229"/>
                  <a:pt x="142" y="229"/>
                </a:cubicBezTo>
                <a:cubicBezTo>
                  <a:pt x="285" y="229"/>
                  <a:pt x="285" y="229"/>
                  <a:pt x="285" y="229"/>
                </a:cubicBezTo>
                <a:cubicBezTo>
                  <a:pt x="290" y="229"/>
                  <a:pt x="294" y="233"/>
                  <a:pt x="294" y="238"/>
                </a:cubicBezTo>
                <a:lnTo>
                  <a:pt x="294" y="380"/>
                </a:lnTo>
                <a:close/>
              </a:path>
            </a:pathLst>
          </a:custGeom>
          <a:solidFill>
            <a:schemeClr val="tx2">
              <a:lumMod val="90000"/>
              <a:lumOff val="10000"/>
            </a:schemeClr>
          </a:solidFill>
          <a:ln w="12700">
            <a:noFill/>
            <a:round/>
            <a:headEnd/>
            <a:tailEnd/>
          </a:ln>
        </p:spPr>
        <p:txBody>
          <a:bodyPr wrap="none" lIns="72000" rIns="72000"/>
          <a:lstStyle/>
          <a:p>
            <a:pPr algn="ctr">
              <a:spcBef>
                <a:spcPct val="50000"/>
              </a:spcBef>
              <a:defRPr/>
            </a:pPr>
            <a:endParaRPr lang="en-US">
              <a:latin typeface="Arial" charset="0"/>
              <a:cs typeface="+mn-cs"/>
            </a:endParaRPr>
          </a:p>
        </p:txBody>
      </p:sp>
      <p:sp>
        <p:nvSpPr>
          <p:cNvPr id="34" name="Rounded Rectangle 33"/>
          <p:cNvSpPr/>
          <p:nvPr/>
        </p:nvSpPr>
        <p:spPr bwMode="auto">
          <a:xfrm>
            <a:off x="2640304" y="1316038"/>
            <a:ext cx="2142492" cy="4800600"/>
          </a:xfrm>
          <a:prstGeom prst="roundRect">
            <a:avLst>
              <a:gd name="adj" fmla="val 8538"/>
            </a:avLst>
          </a:prstGeom>
          <a:solidFill>
            <a:srgbClr val="FFFFFF"/>
          </a:solidFill>
          <a:ln w="57150" cap="flat" cmpd="sng" algn="ctr">
            <a:solidFill>
              <a:srgbClr val="F08A00"/>
            </a:solidFill>
            <a:prstDash val="solid"/>
            <a:round/>
            <a:headEnd type="none" w="med" len="med"/>
            <a:tailEnd type="none" w="med" len="med"/>
          </a:ln>
          <a:effectLst/>
        </p:spPr>
        <p:txBody>
          <a:bodyPr wrap="none" lIns="72000" rIns="72000" anchor="ctr"/>
          <a:lstStyle/>
          <a:p>
            <a:pPr>
              <a:lnSpc>
                <a:spcPct val="85000"/>
              </a:lnSpc>
              <a:spcBef>
                <a:spcPct val="50000"/>
              </a:spcBef>
              <a:defRPr/>
            </a:pPr>
            <a:endParaRPr lang="en-CA" sz="3200">
              <a:latin typeface="Arial" charset="0"/>
              <a:cs typeface="+mn-cs"/>
            </a:endParaRPr>
          </a:p>
        </p:txBody>
      </p:sp>
      <p:grpSp>
        <p:nvGrpSpPr>
          <p:cNvPr id="47127" name="Group 29"/>
          <p:cNvGrpSpPr>
            <a:grpSpLocks/>
          </p:cNvGrpSpPr>
          <p:nvPr/>
        </p:nvGrpSpPr>
        <p:grpSpPr bwMode="auto">
          <a:xfrm>
            <a:off x="2837890" y="1880900"/>
            <a:ext cx="1747321" cy="699833"/>
            <a:chOff x="3745626" y="1660289"/>
            <a:chExt cx="1747837" cy="699917"/>
          </a:xfrm>
        </p:grpSpPr>
        <p:sp>
          <p:nvSpPr>
            <p:cNvPr id="47139" name="Freeform 3"/>
            <p:cNvSpPr>
              <a:spLocks noChangeAspect="1"/>
            </p:cNvSpPr>
            <p:nvPr/>
          </p:nvSpPr>
          <p:spPr bwMode="auto">
            <a:xfrm>
              <a:off x="3745626" y="1660289"/>
              <a:ext cx="1747837" cy="699917"/>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E321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nSpc>
                  <a:spcPct val="85000"/>
                </a:lnSpc>
              </a:pPr>
              <a:endParaRPr lang="en-US"/>
            </a:p>
          </p:txBody>
        </p:sp>
        <p:sp>
          <p:nvSpPr>
            <p:cNvPr id="15" name="Text Box 4"/>
            <p:cNvSpPr txBox="1">
              <a:spLocks noChangeArrowheads="1"/>
            </p:cNvSpPr>
            <p:nvPr/>
          </p:nvSpPr>
          <p:spPr bwMode="auto">
            <a:xfrm>
              <a:off x="3955016" y="1705381"/>
              <a:ext cx="1328286" cy="615627"/>
            </a:xfrm>
            <a:prstGeom prst="rect">
              <a:avLst/>
            </a:prstGeom>
            <a:solidFill>
              <a:srgbClr val="FFFFFF">
                <a:alpha val="0"/>
              </a:srgbClr>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rIns="72000" anchor="ct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algn="ctr" eaLnBrk="1" hangingPunct="1">
                <a:lnSpc>
                  <a:spcPct val="85000"/>
                </a:lnSpc>
                <a:defRPr/>
              </a:pPr>
              <a:r>
                <a:rPr lang="en-US" altLang="en-US" dirty="0" smtClean="0">
                  <a:solidFill>
                    <a:schemeClr val="tx1">
                      <a:lumMod val="50000"/>
                    </a:schemeClr>
                  </a:solidFill>
                  <a:latin typeface="+mn-lt"/>
                  <a:cs typeface="+mn-cs"/>
                </a:rPr>
                <a:t>Product </a:t>
              </a:r>
              <a:br>
                <a:rPr lang="en-US" altLang="en-US" dirty="0" smtClean="0">
                  <a:solidFill>
                    <a:schemeClr val="tx1">
                      <a:lumMod val="50000"/>
                    </a:schemeClr>
                  </a:solidFill>
                  <a:latin typeface="+mn-lt"/>
                  <a:cs typeface="+mn-cs"/>
                </a:rPr>
              </a:br>
              <a:r>
                <a:rPr lang="en-US" altLang="en-US" dirty="0" smtClean="0">
                  <a:solidFill>
                    <a:schemeClr val="tx1">
                      <a:lumMod val="50000"/>
                    </a:schemeClr>
                  </a:solidFill>
                  <a:latin typeface="+mn-lt"/>
                  <a:cs typeface="+mn-cs"/>
                </a:rPr>
                <a:t>View</a:t>
              </a:r>
              <a:endParaRPr lang="en-US" altLang="en-US" dirty="0">
                <a:solidFill>
                  <a:schemeClr val="tx1">
                    <a:lumMod val="50000"/>
                  </a:schemeClr>
                </a:solidFill>
                <a:latin typeface="+mn-lt"/>
                <a:cs typeface="+mn-cs"/>
              </a:endParaRPr>
            </a:p>
          </p:txBody>
        </p:sp>
      </p:grpSp>
      <p:sp>
        <p:nvSpPr>
          <p:cNvPr id="16" name="Freeform 11"/>
          <p:cNvSpPr>
            <a:spLocks noChangeAspect="1"/>
          </p:cNvSpPr>
          <p:nvPr/>
        </p:nvSpPr>
        <p:spPr bwMode="auto">
          <a:xfrm>
            <a:off x="2837999" y="2701925"/>
            <a:ext cx="1747102" cy="700088"/>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002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lnSpc>
                <a:spcPct val="85000"/>
              </a:lnSpc>
              <a:defRPr/>
            </a:pPr>
            <a:r>
              <a:rPr lang="en-CA" sz="2000" dirty="0">
                <a:solidFill>
                  <a:schemeClr val="tx1">
                    <a:lumMod val="50000"/>
                  </a:schemeClr>
                </a:solidFill>
                <a:latin typeface="Arial" charset="0"/>
                <a:cs typeface="+mn-cs"/>
              </a:rPr>
              <a:t>Fulfillment </a:t>
            </a:r>
            <a:br>
              <a:rPr lang="en-CA" sz="2000" dirty="0">
                <a:solidFill>
                  <a:schemeClr val="tx1">
                    <a:lumMod val="50000"/>
                  </a:schemeClr>
                </a:solidFill>
                <a:latin typeface="Arial" charset="0"/>
                <a:cs typeface="+mn-cs"/>
              </a:rPr>
            </a:br>
            <a:r>
              <a:rPr lang="en-CA" sz="2000" dirty="0">
                <a:solidFill>
                  <a:schemeClr val="tx1">
                    <a:lumMod val="50000"/>
                  </a:schemeClr>
                </a:solidFill>
                <a:latin typeface="Arial" charset="0"/>
                <a:cs typeface="+mn-cs"/>
              </a:rPr>
              <a:t>View</a:t>
            </a:r>
          </a:p>
        </p:txBody>
      </p:sp>
      <p:grpSp>
        <p:nvGrpSpPr>
          <p:cNvPr id="47129" name="Group 30"/>
          <p:cNvGrpSpPr>
            <a:grpSpLocks/>
          </p:cNvGrpSpPr>
          <p:nvPr/>
        </p:nvGrpSpPr>
        <p:grpSpPr bwMode="auto">
          <a:xfrm>
            <a:off x="2837890" y="3523714"/>
            <a:ext cx="1747321" cy="699833"/>
            <a:chOff x="3745627" y="3487027"/>
            <a:chExt cx="1747837" cy="699917"/>
          </a:xfrm>
        </p:grpSpPr>
        <p:sp>
          <p:nvSpPr>
            <p:cNvPr id="47137" name="Freeform 15"/>
            <p:cNvSpPr>
              <a:spLocks noChangeAspect="1"/>
            </p:cNvSpPr>
            <p:nvPr/>
          </p:nvSpPr>
          <p:spPr bwMode="auto">
            <a:xfrm>
              <a:off x="3745627" y="3487027"/>
              <a:ext cx="1747837" cy="699917"/>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7B066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nSpc>
                  <a:spcPct val="85000"/>
                </a:lnSpc>
              </a:pPr>
              <a:endParaRPr lang="en-US"/>
            </a:p>
          </p:txBody>
        </p:sp>
        <p:sp>
          <p:nvSpPr>
            <p:cNvPr id="26" name="Text Box 4"/>
            <p:cNvSpPr txBox="1">
              <a:spLocks noChangeArrowheads="1"/>
            </p:cNvSpPr>
            <p:nvPr/>
          </p:nvSpPr>
          <p:spPr bwMode="auto">
            <a:xfrm>
              <a:off x="3931191" y="3531172"/>
              <a:ext cx="1329476" cy="615627"/>
            </a:xfrm>
            <a:prstGeom prst="rect">
              <a:avLst/>
            </a:prstGeom>
            <a:solidFill>
              <a:srgbClr val="FFFFFF">
                <a:alpha val="0"/>
              </a:srgbClr>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rIns="72000" anchor="ct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algn="ctr" eaLnBrk="1" hangingPunct="1">
                <a:lnSpc>
                  <a:spcPct val="85000"/>
                </a:lnSpc>
                <a:defRPr/>
              </a:pPr>
              <a:r>
                <a:rPr lang="en-US" altLang="en-US" dirty="0" smtClean="0">
                  <a:solidFill>
                    <a:schemeClr val="tx1">
                      <a:lumMod val="50000"/>
                    </a:schemeClr>
                  </a:solidFill>
                  <a:latin typeface="+mn-lt"/>
                  <a:cs typeface="+mn-cs"/>
                </a:rPr>
                <a:t>Billing</a:t>
              </a:r>
              <a:br>
                <a:rPr lang="en-US" altLang="en-US" dirty="0" smtClean="0">
                  <a:solidFill>
                    <a:schemeClr val="tx1">
                      <a:lumMod val="50000"/>
                    </a:schemeClr>
                  </a:solidFill>
                  <a:latin typeface="+mn-lt"/>
                  <a:cs typeface="+mn-cs"/>
                </a:rPr>
              </a:br>
              <a:r>
                <a:rPr lang="en-US" altLang="en-US" dirty="0" smtClean="0">
                  <a:solidFill>
                    <a:schemeClr val="tx1">
                      <a:lumMod val="50000"/>
                    </a:schemeClr>
                  </a:solidFill>
                  <a:latin typeface="+mn-lt"/>
                  <a:cs typeface="+mn-cs"/>
                </a:rPr>
                <a:t>View</a:t>
              </a:r>
              <a:endParaRPr lang="en-US" altLang="en-US" dirty="0">
                <a:solidFill>
                  <a:schemeClr val="tx1">
                    <a:lumMod val="50000"/>
                  </a:schemeClr>
                </a:solidFill>
                <a:latin typeface="+mn-lt"/>
                <a:cs typeface="+mn-cs"/>
              </a:endParaRPr>
            </a:p>
          </p:txBody>
        </p:sp>
      </p:grpSp>
      <p:grpSp>
        <p:nvGrpSpPr>
          <p:cNvPr id="47130" name="Group 31"/>
          <p:cNvGrpSpPr>
            <a:grpSpLocks/>
          </p:cNvGrpSpPr>
          <p:nvPr/>
        </p:nvGrpSpPr>
        <p:grpSpPr bwMode="auto">
          <a:xfrm>
            <a:off x="2837890" y="4385972"/>
            <a:ext cx="1747321" cy="699832"/>
            <a:chOff x="3745627" y="4401427"/>
            <a:chExt cx="1747837" cy="699917"/>
          </a:xfrm>
        </p:grpSpPr>
        <p:sp>
          <p:nvSpPr>
            <p:cNvPr id="47135" name="Freeform 19"/>
            <p:cNvSpPr>
              <a:spLocks noChangeAspect="1"/>
            </p:cNvSpPr>
            <p:nvPr/>
          </p:nvSpPr>
          <p:spPr bwMode="auto">
            <a:xfrm>
              <a:off x="3745627" y="4401427"/>
              <a:ext cx="1747837" cy="699917"/>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nSpc>
                  <a:spcPct val="85000"/>
                </a:lnSpc>
              </a:pPr>
              <a:endParaRPr lang="en-US"/>
            </a:p>
          </p:txBody>
        </p:sp>
        <p:sp>
          <p:nvSpPr>
            <p:cNvPr id="27" name="Text Box 4"/>
            <p:cNvSpPr txBox="1">
              <a:spLocks noChangeArrowheads="1"/>
            </p:cNvSpPr>
            <p:nvPr/>
          </p:nvSpPr>
          <p:spPr bwMode="auto">
            <a:xfrm>
              <a:off x="3955017" y="4445128"/>
              <a:ext cx="1328286" cy="615627"/>
            </a:xfrm>
            <a:prstGeom prst="rect">
              <a:avLst/>
            </a:prstGeom>
            <a:solidFill>
              <a:srgbClr val="FFFFFF">
                <a:alpha val="0"/>
              </a:srgbClr>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rIns="72000" anchor="ct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algn="ctr" eaLnBrk="1" hangingPunct="1">
                <a:lnSpc>
                  <a:spcPct val="85000"/>
                </a:lnSpc>
                <a:defRPr/>
              </a:pPr>
              <a:r>
                <a:rPr lang="en-US" altLang="en-US" dirty="0" smtClean="0">
                  <a:solidFill>
                    <a:schemeClr val="tx1">
                      <a:lumMod val="50000"/>
                    </a:schemeClr>
                  </a:solidFill>
                  <a:latin typeface="+mn-lt"/>
                  <a:cs typeface="+mn-cs"/>
                </a:rPr>
                <a:t>Charging</a:t>
              </a:r>
              <a:br>
                <a:rPr lang="en-US" altLang="en-US" dirty="0" smtClean="0">
                  <a:solidFill>
                    <a:schemeClr val="tx1">
                      <a:lumMod val="50000"/>
                    </a:schemeClr>
                  </a:solidFill>
                  <a:latin typeface="+mn-lt"/>
                  <a:cs typeface="+mn-cs"/>
                </a:rPr>
              </a:br>
              <a:r>
                <a:rPr lang="en-US" altLang="en-US" dirty="0" smtClean="0">
                  <a:solidFill>
                    <a:schemeClr val="tx1">
                      <a:lumMod val="50000"/>
                    </a:schemeClr>
                  </a:solidFill>
                  <a:latin typeface="+mn-lt"/>
                  <a:cs typeface="+mn-cs"/>
                </a:rPr>
                <a:t>View</a:t>
              </a:r>
              <a:endParaRPr lang="en-US" altLang="en-US" dirty="0">
                <a:solidFill>
                  <a:schemeClr val="tx1">
                    <a:lumMod val="50000"/>
                  </a:schemeClr>
                </a:solidFill>
                <a:latin typeface="+mn-lt"/>
                <a:cs typeface="+mn-cs"/>
              </a:endParaRPr>
            </a:p>
          </p:txBody>
        </p:sp>
      </p:grpSp>
      <p:grpSp>
        <p:nvGrpSpPr>
          <p:cNvPr id="47131" name="Group 28"/>
          <p:cNvGrpSpPr>
            <a:grpSpLocks/>
          </p:cNvGrpSpPr>
          <p:nvPr/>
        </p:nvGrpSpPr>
        <p:grpSpPr bwMode="auto">
          <a:xfrm>
            <a:off x="2837890" y="5206989"/>
            <a:ext cx="1747321" cy="699833"/>
            <a:chOff x="3745625" y="4986440"/>
            <a:chExt cx="1747837" cy="699917"/>
          </a:xfrm>
        </p:grpSpPr>
        <p:sp>
          <p:nvSpPr>
            <p:cNvPr id="47133" name="Freeform 25"/>
            <p:cNvSpPr>
              <a:spLocks noChangeAspect="1"/>
            </p:cNvSpPr>
            <p:nvPr/>
          </p:nvSpPr>
          <p:spPr bwMode="auto">
            <a:xfrm>
              <a:off x="3745625" y="4986440"/>
              <a:ext cx="1747837" cy="699917"/>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nSpc>
                  <a:spcPct val="85000"/>
                </a:lnSpc>
              </a:pPr>
              <a:endParaRPr lang="en-US"/>
            </a:p>
          </p:txBody>
        </p:sp>
        <p:sp>
          <p:nvSpPr>
            <p:cNvPr id="28" name="Text Box 4"/>
            <p:cNvSpPr txBox="1">
              <a:spLocks noChangeArrowheads="1"/>
            </p:cNvSpPr>
            <p:nvPr/>
          </p:nvSpPr>
          <p:spPr bwMode="auto">
            <a:xfrm>
              <a:off x="3850183" y="5041120"/>
              <a:ext cx="1537952" cy="615627"/>
            </a:xfrm>
            <a:prstGeom prst="rect">
              <a:avLst/>
            </a:prstGeom>
            <a:solidFill>
              <a:srgbClr val="FFFFFF">
                <a:alpha val="0"/>
              </a:srgbClr>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rIns="72000" anchor="ct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algn="ctr" eaLnBrk="1" hangingPunct="1">
                <a:lnSpc>
                  <a:spcPct val="85000"/>
                </a:lnSpc>
                <a:defRPr/>
              </a:pPr>
              <a:r>
                <a:rPr lang="en-US" altLang="en-US" dirty="0" smtClean="0">
                  <a:solidFill>
                    <a:schemeClr val="tx1">
                      <a:lumMod val="50000"/>
                    </a:schemeClr>
                  </a:solidFill>
                  <a:latin typeface="+mn-lt"/>
                  <a:cs typeface="+mn-cs"/>
                </a:rPr>
                <a:t>Policy</a:t>
              </a:r>
              <a:br>
                <a:rPr lang="en-US" altLang="en-US" dirty="0" smtClean="0">
                  <a:solidFill>
                    <a:schemeClr val="tx1">
                      <a:lumMod val="50000"/>
                    </a:schemeClr>
                  </a:solidFill>
                  <a:latin typeface="+mn-lt"/>
                  <a:cs typeface="+mn-cs"/>
                </a:rPr>
              </a:br>
              <a:r>
                <a:rPr lang="en-US" altLang="en-US" dirty="0" smtClean="0">
                  <a:solidFill>
                    <a:schemeClr val="tx1">
                      <a:lumMod val="50000"/>
                    </a:schemeClr>
                  </a:solidFill>
                  <a:latin typeface="+mn-lt"/>
                  <a:cs typeface="+mn-cs"/>
                </a:rPr>
                <a:t>View</a:t>
              </a:r>
              <a:endParaRPr lang="en-US" altLang="en-US" dirty="0">
                <a:solidFill>
                  <a:schemeClr val="tx1">
                    <a:lumMod val="50000"/>
                  </a:schemeClr>
                </a:solidFill>
                <a:latin typeface="+mn-lt"/>
                <a:cs typeface="+mn-cs"/>
              </a:endParaRPr>
            </a:p>
          </p:txBody>
        </p:sp>
      </p:grpSp>
      <p:sp>
        <p:nvSpPr>
          <p:cNvPr id="47132" name="TextBox 35"/>
          <p:cNvSpPr txBox="1">
            <a:spLocks noChangeArrowheads="1"/>
          </p:cNvSpPr>
          <p:nvPr/>
        </p:nvSpPr>
        <p:spPr bwMode="auto">
          <a:xfrm>
            <a:off x="2667835" y="1423567"/>
            <a:ext cx="2087431" cy="406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8000">
                <a:solidFill>
                  <a:schemeClr val="tx1"/>
                </a:solidFill>
                <a:latin typeface="Arial" pitchFamily="34" charset="0"/>
                <a:ea typeface="MS PGothic" pitchFamily="34" charset="-128"/>
              </a:defRPr>
            </a:lvl1pPr>
            <a:lvl2pPr marL="742950" indent="-285750" eaLnBrk="0" hangingPunct="0">
              <a:defRPr sz="8000">
                <a:solidFill>
                  <a:schemeClr val="tx1"/>
                </a:solidFill>
                <a:latin typeface="Arial" pitchFamily="34" charset="0"/>
                <a:ea typeface="MS PGothic" pitchFamily="34" charset="-128"/>
              </a:defRPr>
            </a:lvl2pPr>
            <a:lvl3pPr marL="1143000" indent="-228600" eaLnBrk="0" hangingPunct="0">
              <a:defRPr sz="8000">
                <a:solidFill>
                  <a:schemeClr val="tx1"/>
                </a:solidFill>
                <a:latin typeface="Arial" pitchFamily="34" charset="0"/>
                <a:ea typeface="MS PGothic" pitchFamily="34" charset="-128"/>
              </a:defRPr>
            </a:lvl3pPr>
            <a:lvl4pPr marL="1600200" indent="-228600" eaLnBrk="0" hangingPunct="0">
              <a:defRPr sz="8000">
                <a:solidFill>
                  <a:schemeClr val="tx1"/>
                </a:solidFill>
                <a:latin typeface="Arial" pitchFamily="34" charset="0"/>
                <a:ea typeface="MS PGothic" pitchFamily="34" charset="-128"/>
              </a:defRPr>
            </a:lvl4pPr>
            <a:lvl5pPr marL="2057400" indent="-228600" eaLnBrk="0" hangingPunct="0">
              <a:defRPr sz="8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8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8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8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8000">
                <a:solidFill>
                  <a:schemeClr val="tx1"/>
                </a:solidFill>
                <a:latin typeface="Arial" pitchFamily="34" charset="0"/>
                <a:ea typeface="MS PGothic" pitchFamily="34" charset="-128"/>
              </a:defRPr>
            </a:lvl9pPr>
          </a:lstStyle>
          <a:p>
            <a:pPr algn="ctr" eaLnBrk="1" hangingPunct="1">
              <a:lnSpc>
                <a:spcPct val="85000"/>
              </a:lnSpc>
            </a:pPr>
            <a:r>
              <a:rPr lang="en-CA" altLang="en-US" sz="2400" dirty="0"/>
              <a:t>Logical Model</a:t>
            </a:r>
          </a:p>
        </p:txBody>
      </p:sp>
      <p:sp>
        <p:nvSpPr>
          <p:cNvPr id="38" name="Rounded Rectangle 37"/>
          <p:cNvSpPr/>
          <p:nvPr/>
        </p:nvSpPr>
        <p:spPr bwMode="auto">
          <a:xfrm>
            <a:off x="5988022" y="1316038"/>
            <a:ext cx="2143683" cy="4800600"/>
          </a:xfrm>
          <a:prstGeom prst="roundRect">
            <a:avLst>
              <a:gd name="adj" fmla="val 8542"/>
            </a:avLst>
          </a:prstGeom>
          <a:solidFill>
            <a:srgbClr val="FFFFFF"/>
          </a:solidFill>
          <a:ln w="57150" cap="flat" cmpd="sng" algn="ctr">
            <a:solidFill>
              <a:srgbClr val="007B78"/>
            </a:solidFill>
            <a:prstDash val="solid"/>
            <a:round/>
            <a:headEnd type="none" w="med" len="med"/>
            <a:tailEnd type="none" w="med" len="med"/>
          </a:ln>
          <a:effectLst/>
        </p:spPr>
        <p:txBody>
          <a:bodyPr wrap="none" lIns="72000" rIns="72000" anchor="ctr"/>
          <a:lstStyle/>
          <a:p>
            <a:pPr>
              <a:lnSpc>
                <a:spcPct val="85000"/>
              </a:lnSpc>
              <a:spcBef>
                <a:spcPct val="50000"/>
              </a:spcBef>
              <a:defRPr/>
            </a:pPr>
            <a:endParaRPr lang="en-CA">
              <a:latin typeface="Arial" charset="0"/>
              <a:cs typeface="+mn-cs"/>
            </a:endParaRPr>
          </a:p>
        </p:txBody>
      </p:sp>
      <p:grpSp>
        <p:nvGrpSpPr>
          <p:cNvPr id="36870" name="Group 38"/>
          <p:cNvGrpSpPr>
            <a:grpSpLocks/>
          </p:cNvGrpSpPr>
          <p:nvPr/>
        </p:nvGrpSpPr>
        <p:grpSpPr bwMode="auto">
          <a:xfrm>
            <a:off x="6185717" y="1880355"/>
            <a:ext cx="1748293" cy="700922"/>
            <a:chOff x="3745626" y="1660289"/>
            <a:chExt cx="1747837" cy="699917"/>
          </a:xfrm>
        </p:grpSpPr>
        <p:sp>
          <p:nvSpPr>
            <p:cNvPr id="47124" name="Freeform 3"/>
            <p:cNvSpPr>
              <a:spLocks noChangeAspect="1"/>
            </p:cNvSpPr>
            <p:nvPr/>
          </p:nvSpPr>
          <p:spPr bwMode="auto">
            <a:xfrm>
              <a:off x="3745626" y="1660289"/>
              <a:ext cx="1747837" cy="699917"/>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E321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nSpc>
                  <a:spcPct val="85000"/>
                </a:lnSpc>
              </a:pPr>
              <a:endParaRPr lang="en-US"/>
            </a:p>
          </p:txBody>
        </p:sp>
        <p:sp>
          <p:nvSpPr>
            <p:cNvPr id="41" name="Text Box 4"/>
            <p:cNvSpPr txBox="1">
              <a:spLocks noChangeArrowheads="1"/>
            </p:cNvSpPr>
            <p:nvPr/>
          </p:nvSpPr>
          <p:spPr bwMode="auto">
            <a:xfrm>
              <a:off x="3955176" y="1716833"/>
              <a:ext cx="1328737" cy="614671"/>
            </a:xfrm>
            <a:prstGeom prst="rect">
              <a:avLst/>
            </a:prstGeom>
            <a:solidFill>
              <a:srgbClr val="FFFFFF">
                <a:alpha val="0"/>
              </a:srgbClr>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rIns="72000" anchor="ct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algn="ctr" eaLnBrk="1" hangingPunct="1">
                <a:lnSpc>
                  <a:spcPct val="85000"/>
                </a:lnSpc>
                <a:defRPr/>
              </a:pPr>
              <a:r>
                <a:rPr lang="en-US" altLang="en-US" dirty="0" smtClean="0">
                  <a:solidFill>
                    <a:schemeClr val="tx1">
                      <a:lumMod val="50000"/>
                    </a:schemeClr>
                  </a:solidFill>
                  <a:latin typeface="+mn-lt"/>
                  <a:cs typeface="+mn-cs"/>
                </a:rPr>
                <a:t>Product Adaptor</a:t>
              </a:r>
              <a:endParaRPr lang="en-US" altLang="en-US" dirty="0">
                <a:solidFill>
                  <a:schemeClr val="tx1">
                    <a:lumMod val="50000"/>
                  </a:schemeClr>
                </a:solidFill>
                <a:latin typeface="+mn-lt"/>
                <a:cs typeface="+mn-cs"/>
              </a:endParaRPr>
            </a:p>
          </p:txBody>
        </p:sp>
      </p:grpSp>
      <p:sp>
        <p:nvSpPr>
          <p:cNvPr id="42" name="Freeform 11"/>
          <p:cNvSpPr>
            <a:spLocks noChangeAspect="1"/>
          </p:cNvSpPr>
          <p:nvPr/>
        </p:nvSpPr>
        <p:spPr bwMode="auto">
          <a:xfrm>
            <a:off x="6185717" y="2701925"/>
            <a:ext cx="1748293" cy="700088"/>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002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lnSpc>
                <a:spcPct val="85000"/>
              </a:lnSpc>
              <a:defRPr/>
            </a:pPr>
            <a:r>
              <a:rPr lang="en-CA" sz="2000" dirty="0">
                <a:solidFill>
                  <a:schemeClr val="tx1">
                    <a:lumMod val="50000"/>
                  </a:schemeClr>
                </a:solidFill>
                <a:latin typeface="Arial" charset="0"/>
                <a:cs typeface="+mn-cs"/>
              </a:rPr>
              <a:t>Fulfillment  Adaptor</a:t>
            </a:r>
          </a:p>
        </p:txBody>
      </p:sp>
      <p:grpSp>
        <p:nvGrpSpPr>
          <p:cNvPr id="36872" name="Group 42"/>
          <p:cNvGrpSpPr>
            <a:grpSpLocks/>
          </p:cNvGrpSpPr>
          <p:nvPr/>
        </p:nvGrpSpPr>
        <p:grpSpPr bwMode="auto">
          <a:xfrm>
            <a:off x="6185717" y="3523952"/>
            <a:ext cx="1748293" cy="699356"/>
            <a:chOff x="3745627" y="3487027"/>
            <a:chExt cx="1747837" cy="699917"/>
          </a:xfrm>
        </p:grpSpPr>
        <p:sp>
          <p:nvSpPr>
            <p:cNvPr id="47122" name="Freeform 15"/>
            <p:cNvSpPr>
              <a:spLocks noChangeAspect="1"/>
            </p:cNvSpPr>
            <p:nvPr/>
          </p:nvSpPr>
          <p:spPr bwMode="auto">
            <a:xfrm>
              <a:off x="3745627" y="3487027"/>
              <a:ext cx="1747837" cy="699917"/>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7B066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nSpc>
                  <a:spcPct val="85000"/>
                </a:lnSpc>
              </a:pPr>
              <a:endParaRPr lang="en-US"/>
            </a:p>
          </p:txBody>
        </p:sp>
        <p:sp>
          <p:nvSpPr>
            <p:cNvPr id="45" name="Text Box 4"/>
            <p:cNvSpPr txBox="1">
              <a:spLocks noChangeArrowheads="1"/>
            </p:cNvSpPr>
            <p:nvPr/>
          </p:nvSpPr>
          <p:spPr bwMode="auto">
            <a:xfrm>
              <a:off x="3931364" y="3541501"/>
              <a:ext cx="1329927" cy="616047"/>
            </a:xfrm>
            <a:prstGeom prst="rect">
              <a:avLst/>
            </a:prstGeom>
            <a:solidFill>
              <a:srgbClr val="FFFFFF">
                <a:alpha val="0"/>
              </a:srgbClr>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rIns="72000" anchor="ct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algn="ctr" eaLnBrk="1" hangingPunct="1">
                <a:lnSpc>
                  <a:spcPct val="85000"/>
                </a:lnSpc>
                <a:defRPr/>
              </a:pPr>
              <a:r>
                <a:rPr lang="en-US" altLang="en-US" dirty="0" smtClean="0">
                  <a:solidFill>
                    <a:schemeClr val="tx1">
                      <a:lumMod val="50000"/>
                    </a:schemeClr>
                  </a:solidFill>
                  <a:latin typeface="+mn-lt"/>
                  <a:cs typeface="+mn-cs"/>
                </a:rPr>
                <a:t>Billing</a:t>
              </a:r>
              <a:br>
                <a:rPr lang="en-US" altLang="en-US" dirty="0" smtClean="0">
                  <a:solidFill>
                    <a:schemeClr val="tx1">
                      <a:lumMod val="50000"/>
                    </a:schemeClr>
                  </a:solidFill>
                  <a:latin typeface="+mn-lt"/>
                  <a:cs typeface="+mn-cs"/>
                </a:rPr>
              </a:br>
              <a:r>
                <a:rPr lang="en-US" altLang="en-US" dirty="0" smtClean="0">
                  <a:solidFill>
                    <a:schemeClr val="tx1">
                      <a:lumMod val="50000"/>
                    </a:schemeClr>
                  </a:solidFill>
                  <a:latin typeface="+mn-lt"/>
                  <a:cs typeface="+mn-cs"/>
                </a:rPr>
                <a:t>Adaptor</a:t>
              </a:r>
              <a:endParaRPr lang="en-US" altLang="en-US" dirty="0">
                <a:solidFill>
                  <a:schemeClr val="tx1">
                    <a:lumMod val="50000"/>
                  </a:schemeClr>
                </a:solidFill>
                <a:latin typeface="+mn-lt"/>
                <a:cs typeface="+mn-cs"/>
              </a:endParaRPr>
            </a:p>
          </p:txBody>
        </p:sp>
      </p:grpSp>
      <p:grpSp>
        <p:nvGrpSpPr>
          <p:cNvPr id="36873" name="Group 45"/>
          <p:cNvGrpSpPr>
            <a:grpSpLocks/>
          </p:cNvGrpSpPr>
          <p:nvPr/>
        </p:nvGrpSpPr>
        <p:grpSpPr bwMode="auto">
          <a:xfrm>
            <a:off x="6185717" y="4385863"/>
            <a:ext cx="1748293" cy="700050"/>
            <a:chOff x="3745627" y="4401427"/>
            <a:chExt cx="1747837" cy="699917"/>
          </a:xfrm>
        </p:grpSpPr>
        <p:sp>
          <p:nvSpPr>
            <p:cNvPr id="47120" name="Freeform 19"/>
            <p:cNvSpPr>
              <a:spLocks noChangeAspect="1"/>
            </p:cNvSpPr>
            <p:nvPr/>
          </p:nvSpPr>
          <p:spPr bwMode="auto">
            <a:xfrm>
              <a:off x="3745627" y="4401427"/>
              <a:ext cx="1747837" cy="699917"/>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nSpc>
                  <a:spcPct val="85000"/>
                </a:lnSpc>
              </a:pPr>
              <a:endParaRPr lang="en-US"/>
            </a:p>
          </p:txBody>
        </p:sp>
        <p:sp>
          <p:nvSpPr>
            <p:cNvPr id="48" name="Text Box 4"/>
            <p:cNvSpPr txBox="1">
              <a:spLocks noChangeArrowheads="1"/>
            </p:cNvSpPr>
            <p:nvPr/>
          </p:nvSpPr>
          <p:spPr bwMode="auto">
            <a:xfrm>
              <a:off x="3955177" y="4434950"/>
              <a:ext cx="1328737" cy="615436"/>
            </a:xfrm>
            <a:prstGeom prst="rect">
              <a:avLst/>
            </a:prstGeom>
            <a:solidFill>
              <a:srgbClr val="FFFFFF">
                <a:alpha val="0"/>
              </a:srgbClr>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rIns="72000" anchor="ct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algn="ctr" eaLnBrk="1" hangingPunct="1">
                <a:lnSpc>
                  <a:spcPct val="85000"/>
                </a:lnSpc>
                <a:defRPr/>
              </a:pPr>
              <a:r>
                <a:rPr lang="en-US" altLang="en-US" dirty="0" smtClean="0">
                  <a:solidFill>
                    <a:schemeClr val="tx1">
                      <a:lumMod val="50000"/>
                    </a:schemeClr>
                  </a:solidFill>
                  <a:latin typeface="+mn-lt"/>
                  <a:cs typeface="+mn-cs"/>
                </a:rPr>
                <a:t>Charging</a:t>
              </a:r>
              <a:br>
                <a:rPr lang="en-US" altLang="en-US" dirty="0" smtClean="0">
                  <a:solidFill>
                    <a:schemeClr val="tx1">
                      <a:lumMod val="50000"/>
                    </a:schemeClr>
                  </a:solidFill>
                  <a:latin typeface="+mn-lt"/>
                  <a:cs typeface="+mn-cs"/>
                </a:rPr>
              </a:br>
              <a:r>
                <a:rPr lang="en-US" altLang="en-US" dirty="0" smtClean="0">
                  <a:solidFill>
                    <a:schemeClr val="tx1">
                      <a:lumMod val="50000"/>
                    </a:schemeClr>
                  </a:solidFill>
                  <a:latin typeface="+mn-lt"/>
                  <a:cs typeface="+mn-cs"/>
                </a:rPr>
                <a:t>Adaptor</a:t>
              </a:r>
              <a:endParaRPr lang="en-US" altLang="en-US" dirty="0">
                <a:solidFill>
                  <a:schemeClr val="tx1">
                    <a:lumMod val="50000"/>
                  </a:schemeClr>
                </a:solidFill>
                <a:latin typeface="+mn-lt"/>
                <a:cs typeface="+mn-cs"/>
              </a:endParaRPr>
            </a:p>
          </p:txBody>
        </p:sp>
      </p:grpSp>
      <p:grpSp>
        <p:nvGrpSpPr>
          <p:cNvPr id="36874" name="Group 48"/>
          <p:cNvGrpSpPr>
            <a:grpSpLocks/>
          </p:cNvGrpSpPr>
          <p:nvPr/>
        </p:nvGrpSpPr>
        <p:grpSpPr bwMode="auto">
          <a:xfrm>
            <a:off x="6185717" y="5206878"/>
            <a:ext cx="1748293" cy="700054"/>
            <a:chOff x="3745625" y="4986440"/>
            <a:chExt cx="1747837" cy="699917"/>
          </a:xfrm>
        </p:grpSpPr>
        <p:sp>
          <p:nvSpPr>
            <p:cNvPr id="47118" name="Freeform 25"/>
            <p:cNvSpPr>
              <a:spLocks noChangeAspect="1"/>
            </p:cNvSpPr>
            <p:nvPr/>
          </p:nvSpPr>
          <p:spPr bwMode="auto">
            <a:xfrm>
              <a:off x="3745625" y="4986440"/>
              <a:ext cx="1747837" cy="699917"/>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nSpc>
                  <a:spcPct val="85000"/>
                </a:lnSpc>
              </a:pPr>
              <a:endParaRPr lang="en-US"/>
            </a:p>
          </p:txBody>
        </p:sp>
        <p:sp>
          <p:nvSpPr>
            <p:cNvPr id="51" name="Text Box 4"/>
            <p:cNvSpPr txBox="1">
              <a:spLocks noChangeArrowheads="1"/>
            </p:cNvSpPr>
            <p:nvPr/>
          </p:nvSpPr>
          <p:spPr bwMode="auto">
            <a:xfrm>
              <a:off x="3850400" y="5029975"/>
              <a:ext cx="1538287" cy="615432"/>
            </a:xfrm>
            <a:prstGeom prst="rect">
              <a:avLst/>
            </a:prstGeom>
            <a:solidFill>
              <a:srgbClr val="FFFFFF">
                <a:alpha val="0"/>
              </a:srgbClr>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rIns="72000" anchor="ct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algn="ctr" eaLnBrk="1" hangingPunct="1">
                <a:lnSpc>
                  <a:spcPct val="85000"/>
                </a:lnSpc>
                <a:defRPr/>
              </a:pPr>
              <a:r>
                <a:rPr lang="en-US" altLang="en-US" dirty="0" smtClean="0">
                  <a:solidFill>
                    <a:schemeClr val="tx1">
                      <a:lumMod val="50000"/>
                    </a:schemeClr>
                  </a:solidFill>
                  <a:latin typeface="+mn-lt"/>
                  <a:cs typeface="+mn-cs"/>
                </a:rPr>
                <a:t>Policy</a:t>
              </a:r>
              <a:br>
                <a:rPr lang="en-US" altLang="en-US" dirty="0" smtClean="0">
                  <a:solidFill>
                    <a:schemeClr val="tx1">
                      <a:lumMod val="50000"/>
                    </a:schemeClr>
                  </a:solidFill>
                  <a:latin typeface="+mn-lt"/>
                  <a:cs typeface="+mn-cs"/>
                </a:rPr>
              </a:br>
              <a:r>
                <a:rPr lang="en-US" altLang="en-US" dirty="0" smtClean="0">
                  <a:solidFill>
                    <a:schemeClr val="tx1">
                      <a:lumMod val="50000"/>
                    </a:schemeClr>
                  </a:solidFill>
                  <a:latin typeface="+mn-lt"/>
                  <a:cs typeface="+mn-cs"/>
                </a:rPr>
                <a:t>Adaptor</a:t>
              </a:r>
              <a:endParaRPr lang="en-US" altLang="en-US" dirty="0">
                <a:solidFill>
                  <a:schemeClr val="tx1">
                    <a:lumMod val="50000"/>
                  </a:schemeClr>
                </a:solidFill>
                <a:latin typeface="+mn-lt"/>
                <a:cs typeface="+mn-cs"/>
              </a:endParaRPr>
            </a:p>
          </p:txBody>
        </p:sp>
      </p:grpSp>
      <p:sp>
        <p:nvSpPr>
          <p:cNvPr id="36875" name="TextBox 51"/>
          <p:cNvSpPr txBox="1">
            <a:spLocks noChangeArrowheads="1"/>
          </p:cNvSpPr>
          <p:nvPr/>
        </p:nvSpPr>
        <p:spPr bwMode="auto">
          <a:xfrm>
            <a:off x="6351176" y="1423567"/>
            <a:ext cx="1417376" cy="406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8000">
                <a:solidFill>
                  <a:schemeClr val="tx1"/>
                </a:solidFill>
                <a:latin typeface="Arial" pitchFamily="34" charset="0"/>
                <a:ea typeface="MS PGothic" pitchFamily="34" charset="-128"/>
              </a:defRPr>
            </a:lvl1pPr>
            <a:lvl2pPr marL="742950" indent="-285750" eaLnBrk="0" hangingPunct="0">
              <a:defRPr sz="8000">
                <a:solidFill>
                  <a:schemeClr val="tx1"/>
                </a:solidFill>
                <a:latin typeface="Arial" pitchFamily="34" charset="0"/>
                <a:ea typeface="MS PGothic" pitchFamily="34" charset="-128"/>
              </a:defRPr>
            </a:lvl2pPr>
            <a:lvl3pPr marL="1143000" indent="-228600" eaLnBrk="0" hangingPunct="0">
              <a:defRPr sz="8000">
                <a:solidFill>
                  <a:schemeClr val="tx1"/>
                </a:solidFill>
                <a:latin typeface="Arial" pitchFamily="34" charset="0"/>
                <a:ea typeface="MS PGothic" pitchFamily="34" charset="-128"/>
              </a:defRPr>
            </a:lvl3pPr>
            <a:lvl4pPr marL="1600200" indent="-228600" eaLnBrk="0" hangingPunct="0">
              <a:defRPr sz="8000">
                <a:solidFill>
                  <a:schemeClr val="tx1"/>
                </a:solidFill>
                <a:latin typeface="Arial" pitchFamily="34" charset="0"/>
                <a:ea typeface="MS PGothic" pitchFamily="34" charset="-128"/>
              </a:defRPr>
            </a:lvl4pPr>
            <a:lvl5pPr marL="2057400" indent="-228600" eaLnBrk="0" hangingPunct="0">
              <a:defRPr sz="8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8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8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8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8000">
                <a:solidFill>
                  <a:schemeClr val="tx1"/>
                </a:solidFill>
                <a:latin typeface="Arial" pitchFamily="34" charset="0"/>
                <a:ea typeface="MS PGothic" pitchFamily="34" charset="-128"/>
              </a:defRPr>
            </a:lvl9pPr>
          </a:lstStyle>
          <a:p>
            <a:pPr algn="ctr" eaLnBrk="1" hangingPunct="1">
              <a:lnSpc>
                <a:spcPct val="85000"/>
              </a:lnSpc>
            </a:pPr>
            <a:r>
              <a:rPr lang="en-CA" altLang="en-US" sz="2400" dirty="0"/>
              <a:t>Adaptors</a:t>
            </a:r>
          </a:p>
        </p:txBody>
      </p:sp>
      <p:sp>
        <p:nvSpPr>
          <p:cNvPr id="56" name="Rounded Rectangle 55"/>
          <p:cNvSpPr/>
          <p:nvPr/>
        </p:nvSpPr>
        <p:spPr bwMode="auto">
          <a:xfrm flipH="1" flipV="1">
            <a:off x="1691128" y="1316040"/>
            <a:ext cx="770536" cy="4791075"/>
          </a:xfrm>
          <a:prstGeom prst="roundRect">
            <a:avLst>
              <a:gd name="adj" fmla="val 50000"/>
            </a:avLst>
          </a:prstGeom>
          <a:solidFill>
            <a:schemeClr val="bg2">
              <a:lumMod val="20000"/>
              <a:lumOff val="80000"/>
            </a:schemeClr>
          </a:solidFill>
          <a:ln w="12700" cap="flat" cmpd="sng" algn="ctr">
            <a:solidFill>
              <a:schemeClr val="tx1"/>
            </a:solidFill>
            <a:prstDash val="solid"/>
            <a:round/>
            <a:headEnd type="none" w="med" len="med"/>
            <a:tailEnd type="none" w="med" len="med"/>
          </a:ln>
          <a:effectLst/>
        </p:spPr>
        <p:txBody>
          <a:bodyPr vert="vert" wrap="none" lIns="72000" rIns="72000" anchor="ctr"/>
          <a:lstStyle/>
          <a:p>
            <a:pPr algn="ctr">
              <a:spcBef>
                <a:spcPct val="50000"/>
              </a:spcBef>
              <a:defRPr/>
            </a:pPr>
            <a:r>
              <a:rPr lang="en-CA" sz="2800" dirty="0">
                <a:latin typeface="Arial" charset="0"/>
                <a:cs typeface="+mn-cs"/>
              </a:rPr>
              <a:t>User Interface</a:t>
            </a:r>
          </a:p>
        </p:txBody>
      </p:sp>
      <p:sp>
        <p:nvSpPr>
          <p:cNvPr id="57" name="Rounded Rectangle 56"/>
          <p:cNvSpPr/>
          <p:nvPr/>
        </p:nvSpPr>
        <p:spPr bwMode="auto">
          <a:xfrm flipV="1">
            <a:off x="5005501" y="1316040"/>
            <a:ext cx="771726" cy="4791075"/>
          </a:xfrm>
          <a:prstGeom prst="roundRect">
            <a:avLst>
              <a:gd name="adj" fmla="val 50000"/>
            </a:avLst>
          </a:prstGeom>
          <a:solidFill>
            <a:schemeClr val="bg2">
              <a:lumMod val="20000"/>
              <a:lumOff val="80000"/>
            </a:schemeClr>
          </a:solidFill>
          <a:ln w="12700" cap="flat" cmpd="sng" algn="ctr">
            <a:solidFill>
              <a:schemeClr val="tx1"/>
            </a:solidFill>
            <a:prstDash val="solid"/>
            <a:round/>
            <a:headEnd type="none" w="med" len="med"/>
            <a:tailEnd type="none" w="med" len="med"/>
          </a:ln>
          <a:effectLst/>
        </p:spPr>
        <p:txBody>
          <a:bodyPr vert="vert" wrap="none" lIns="72000" rIns="72000" anchor="ctr"/>
          <a:lstStyle/>
          <a:p>
            <a:pPr algn="ctr">
              <a:lnSpc>
                <a:spcPct val="85000"/>
              </a:lnSpc>
              <a:spcBef>
                <a:spcPct val="50000"/>
              </a:spcBef>
              <a:defRPr/>
            </a:pPr>
            <a:r>
              <a:rPr lang="en-CA" sz="2800" dirty="0">
                <a:latin typeface="Arial" charset="0"/>
                <a:cs typeface="+mn-cs"/>
              </a:rPr>
              <a:t>Publication Framework</a:t>
            </a:r>
          </a:p>
        </p:txBody>
      </p:sp>
    </p:spTree>
    <p:extLst>
      <p:ext uri="{BB962C8B-B14F-4D97-AF65-F5344CB8AC3E}">
        <p14:creationId xmlns:p14="http://schemas.microsoft.com/office/powerpoint/2010/main" val="409790249"/>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396875" y="1800231"/>
          <a:ext cx="8351838" cy="3851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8131" name="Title 1"/>
          <p:cNvSpPr>
            <a:spLocks noGrp="1"/>
          </p:cNvSpPr>
          <p:nvPr>
            <p:ph type="title"/>
          </p:nvPr>
        </p:nvSpPr>
        <p:spPr>
          <a:xfrm>
            <a:off x="394201" y="239713"/>
            <a:ext cx="7494554" cy="1085850"/>
          </a:xfrm>
        </p:spPr>
        <p:txBody>
          <a:bodyPr/>
          <a:lstStyle/>
          <a:p>
            <a:r>
              <a:rPr lang="en-CA" altLang="en-US" smtClean="0">
                <a:latin typeface="Ericsson Capital TT" pitchFamily="2" charset="0"/>
              </a:rPr>
              <a:t>Publishing</a:t>
            </a:r>
          </a:p>
        </p:txBody>
      </p:sp>
      <p:sp>
        <p:nvSpPr>
          <p:cNvPr id="2" name="Rectangle 1"/>
          <p:cNvSpPr>
            <a:spLocks noChangeArrowheads="1"/>
          </p:cNvSpPr>
          <p:nvPr/>
        </p:nvSpPr>
        <p:spPr bwMode="auto">
          <a:xfrm>
            <a:off x="4566046" y="3114675"/>
            <a:ext cx="4451716" cy="2990850"/>
          </a:xfrm>
          <a:prstGeom prst="rect">
            <a:avLst/>
          </a:prstGeom>
          <a:solidFill>
            <a:schemeClr val="bg1"/>
          </a:solidFill>
          <a:ln w="12700" algn="ctr">
            <a:solidFill>
              <a:schemeClr val="bg1"/>
            </a:solidFill>
            <a:round/>
            <a:headEnd/>
            <a:tailEnd/>
          </a:ln>
        </p:spPr>
        <p:txBody>
          <a:bodyPr wrap="none" lIns="72000" rIns="72000"/>
          <a:lstStyle/>
          <a:p>
            <a:pPr>
              <a:spcBef>
                <a:spcPct val="50000"/>
              </a:spcBef>
            </a:pPr>
            <a:endParaRPr lang="en-US" sz="2000"/>
          </a:p>
        </p:txBody>
      </p:sp>
      <p:sp>
        <p:nvSpPr>
          <p:cNvPr id="5" name="Rectangle 4"/>
          <p:cNvSpPr>
            <a:spLocks noChangeArrowheads="1"/>
          </p:cNvSpPr>
          <p:nvPr/>
        </p:nvSpPr>
        <p:spPr bwMode="auto">
          <a:xfrm>
            <a:off x="114330" y="3114675"/>
            <a:ext cx="4451716" cy="2990850"/>
          </a:xfrm>
          <a:prstGeom prst="rect">
            <a:avLst/>
          </a:prstGeom>
          <a:solidFill>
            <a:schemeClr val="bg1"/>
          </a:solidFill>
          <a:ln w="12700" algn="ctr">
            <a:solidFill>
              <a:schemeClr val="bg1"/>
            </a:solidFill>
            <a:round/>
            <a:headEnd/>
            <a:tailEnd/>
          </a:ln>
        </p:spPr>
        <p:txBody>
          <a:bodyPr wrap="none" lIns="72000" rIns="72000"/>
          <a:lstStyle/>
          <a:p>
            <a:pPr>
              <a:spcBef>
                <a:spcPct val="50000"/>
              </a:spcBef>
            </a:pPr>
            <a:endParaRPr lang="en-US" sz="2000"/>
          </a:p>
        </p:txBody>
      </p:sp>
    </p:spTree>
    <p:extLst>
      <p:ext uri="{BB962C8B-B14F-4D97-AF65-F5344CB8AC3E}">
        <p14:creationId xmlns:p14="http://schemas.microsoft.com/office/powerpoint/2010/main" val="50439402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396875" y="1800231"/>
          <a:ext cx="8351838" cy="3851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8131" name="Title 1"/>
          <p:cNvSpPr>
            <a:spLocks noGrp="1"/>
          </p:cNvSpPr>
          <p:nvPr>
            <p:ph type="title"/>
          </p:nvPr>
        </p:nvSpPr>
        <p:spPr>
          <a:xfrm>
            <a:off x="394201" y="239713"/>
            <a:ext cx="7494554" cy="1085850"/>
          </a:xfrm>
        </p:spPr>
        <p:txBody>
          <a:bodyPr/>
          <a:lstStyle/>
          <a:p>
            <a:r>
              <a:rPr lang="en-CA" altLang="en-US" smtClean="0">
                <a:latin typeface="Ericsson Capital TT" pitchFamily="2" charset="0"/>
              </a:rPr>
              <a:t>Publishing</a:t>
            </a:r>
          </a:p>
        </p:txBody>
      </p:sp>
      <p:sp>
        <p:nvSpPr>
          <p:cNvPr id="2" name="Rectangle 1"/>
          <p:cNvSpPr>
            <a:spLocks noChangeArrowheads="1"/>
          </p:cNvSpPr>
          <p:nvPr/>
        </p:nvSpPr>
        <p:spPr bwMode="auto">
          <a:xfrm>
            <a:off x="165601" y="3114675"/>
            <a:ext cx="4451716" cy="2990850"/>
          </a:xfrm>
          <a:prstGeom prst="rect">
            <a:avLst/>
          </a:prstGeom>
          <a:solidFill>
            <a:schemeClr val="bg1"/>
          </a:solidFill>
          <a:ln w="12700" algn="ctr">
            <a:solidFill>
              <a:schemeClr val="bg1"/>
            </a:solidFill>
            <a:round/>
            <a:headEnd/>
            <a:tailEnd/>
          </a:ln>
        </p:spPr>
        <p:txBody>
          <a:bodyPr wrap="none" lIns="72000" rIns="72000"/>
          <a:lstStyle/>
          <a:p>
            <a:pPr>
              <a:spcBef>
                <a:spcPct val="50000"/>
              </a:spcBef>
            </a:pPr>
            <a:endParaRPr lang="en-US" sz="2000"/>
          </a:p>
        </p:txBody>
      </p:sp>
    </p:spTree>
    <p:extLst>
      <p:ext uri="{BB962C8B-B14F-4D97-AF65-F5344CB8AC3E}">
        <p14:creationId xmlns:p14="http://schemas.microsoft.com/office/powerpoint/2010/main" val="39968706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396875" y="1800231"/>
          <a:ext cx="8351838" cy="3851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8131" name="Title 1"/>
          <p:cNvSpPr>
            <a:spLocks noGrp="1"/>
          </p:cNvSpPr>
          <p:nvPr>
            <p:ph type="title"/>
          </p:nvPr>
        </p:nvSpPr>
        <p:spPr>
          <a:xfrm>
            <a:off x="394201" y="239713"/>
            <a:ext cx="7494554" cy="1085850"/>
          </a:xfrm>
        </p:spPr>
        <p:txBody>
          <a:bodyPr/>
          <a:lstStyle/>
          <a:p>
            <a:r>
              <a:rPr lang="en-CA" altLang="en-US" smtClean="0">
                <a:latin typeface="Ericsson Capital TT" pitchFamily="2" charset="0"/>
              </a:rPr>
              <a:t>Publishing</a:t>
            </a:r>
          </a:p>
        </p:txBody>
      </p:sp>
    </p:spTree>
    <p:extLst>
      <p:ext uri="{BB962C8B-B14F-4D97-AF65-F5344CB8AC3E}">
        <p14:creationId xmlns:p14="http://schemas.microsoft.com/office/powerpoint/2010/main" val="399687067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Title 3"/>
          <p:cNvSpPr>
            <a:spLocks noGrp="1"/>
          </p:cNvSpPr>
          <p:nvPr>
            <p:ph type="title"/>
          </p:nvPr>
        </p:nvSpPr>
        <p:spPr>
          <a:xfrm>
            <a:off x="171060" y="391434"/>
            <a:ext cx="7493794" cy="1085850"/>
          </a:xfrm>
        </p:spPr>
        <p:txBody>
          <a:bodyPr/>
          <a:lstStyle/>
          <a:p>
            <a:pPr eaLnBrk="1" hangingPunct="1">
              <a:defRPr/>
            </a:pPr>
            <a:r>
              <a:rPr lang="en-US" sz="4000" dirty="0" smtClean="0">
                <a:latin typeface="Ericsson Capital TT" pitchFamily="2" charset="0"/>
              </a:rPr>
              <a:t>Catalog Driven Policy, Charging, Fulfillment</a:t>
            </a:r>
            <a:br>
              <a:rPr lang="en-US" sz="4000" dirty="0" smtClean="0">
                <a:latin typeface="Ericsson Capital TT" pitchFamily="2" charset="0"/>
              </a:rPr>
            </a:br>
            <a:endParaRPr lang="en-US" sz="4000" dirty="0" smtClean="0">
              <a:latin typeface="+mn-lt"/>
            </a:endParaRPr>
          </a:p>
        </p:txBody>
      </p:sp>
      <p:grpSp>
        <p:nvGrpSpPr>
          <p:cNvPr id="101" name="Group 100"/>
          <p:cNvGrpSpPr/>
          <p:nvPr/>
        </p:nvGrpSpPr>
        <p:grpSpPr>
          <a:xfrm>
            <a:off x="359238" y="2166722"/>
            <a:ext cx="4136812" cy="863194"/>
            <a:chOff x="6693463" y="2126350"/>
            <a:chExt cx="4333768" cy="863194"/>
          </a:xfrm>
        </p:grpSpPr>
        <p:sp>
          <p:nvSpPr>
            <p:cNvPr id="102" name="Freeform 3"/>
            <p:cNvSpPr>
              <a:spLocks noChangeAspect="1" noEditPoints="1"/>
            </p:cNvSpPr>
            <p:nvPr/>
          </p:nvSpPr>
          <p:spPr bwMode="auto">
            <a:xfrm>
              <a:off x="6693463" y="2126350"/>
              <a:ext cx="499624" cy="524640"/>
            </a:xfrm>
            <a:custGeom>
              <a:avLst/>
              <a:gdLst>
                <a:gd name="T0" fmla="*/ 2147483647 w 304"/>
                <a:gd name="T1" fmla="*/ 2147483647 h 320"/>
                <a:gd name="T2" fmla="*/ 2147483647 w 304"/>
                <a:gd name="T3" fmla="*/ 2147483647 h 320"/>
                <a:gd name="T4" fmla="*/ 2147483647 w 304"/>
                <a:gd name="T5" fmla="*/ 2147483647 h 320"/>
                <a:gd name="T6" fmla="*/ 2147483647 w 304"/>
                <a:gd name="T7" fmla="*/ 2147483647 h 320"/>
                <a:gd name="T8" fmla="*/ 2147483647 w 304"/>
                <a:gd name="T9" fmla="*/ 2147483647 h 320"/>
                <a:gd name="T10" fmla="*/ 2147483647 w 304"/>
                <a:gd name="T11" fmla="*/ 2147483647 h 320"/>
                <a:gd name="T12" fmla="*/ 2147483647 w 304"/>
                <a:gd name="T13" fmla="*/ 2147483647 h 320"/>
                <a:gd name="T14" fmla="*/ 2147483647 w 304"/>
                <a:gd name="T15" fmla="*/ 2147483647 h 320"/>
                <a:gd name="T16" fmla="*/ 2147483647 w 304"/>
                <a:gd name="T17" fmla="*/ 2147483647 h 320"/>
                <a:gd name="T18" fmla="*/ 2147483647 w 304"/>
                <a:gd name="T19" fmla="*/ 2147483647 h 320"/>
                <a:gd name="T20" fmla="*/ 2147483647 w 304"/>
                <a:gd name="T21" fmla="*/ 2147483647 h 320"/>
                <a:gd name="T22" fmla="*/ 2147483647 w 304"/>
                <a:gd name="T23" fmla="*/ 2147483647 h 320"/>
                <a:gd name="T24" fmla="*/ 0 w 304"/>
                <a:gd name="T25" fmla="*/ 2147483647 h 320"/>
                <a:gd name="T26" fmla="*/ 0 w 304"/>
                <a:gd name="T27" fmla="*/ 2147483647 h 320"/>
                <a:gd name="T28" fmla="*/ 2147483647 w 304"/>
                <a:gd name="T29" fmla="*/ 2147483647 h 320"/>
                <a:gd name="T30" fmla="*/ 2147483647 w 304"/>
                <a:gd name="T31" fmla="*/ 2147483647 h 320"/>
                <a:gd name="T32" fmla="*/ 2147483647 w 304"/>
                <a:gd name="T33" fmla="*/ 2147483647 h 320"/>
                <a:gd name="T34" fmla="*/ 2147483647 w 304"/>
                <a:gd name="T35" fmla="*/ 2147483647 h 320"/>
                <a:gd name="T36" fmla="*/ 2147483647 w 304"/>
                <a:gd name="T37" fmla="*/ 2147483647 h 320"/>
                <a:gd name="T38" fmla="*/ 2147483647 w 304"/>
                <a:gd name="T39" fmla="*/ 2147483647 h 320"/>
                <a:gd name="T40" fmla="*/ 2147483647 w 304"/>
                <a:gd name="T41" fmla="*/ 2147483647 h 320"/>
                <a:gd name="T42" fmla="*/ 2147483647 w 304"/>
                <a:gd name="T43" fmla="*/ 2147483647 h 320"/>
                <a:gd name="T44" fmla="*/ 2147483647 w 304"/>
                <a:gd name="T45" fmla="*/ 2147483647 h 320"/>
                <a:gd name="T46" fmla="*/ 2147483647 w 304"/>
                <a:gd name="T47" fmla="*/ 2147483647 h 320"/>
                <a:gd name="T48" fmla="*/ 2147483647 w 304"/>
                <a:gd name="T49" fmla="*/ 2147483647 h 320"/>
                <a:gd name="T50" fmla="*/ 2147483647 w 304"/>
                <a:gd name="T51" fmla="*/ 2147483647 h 320"/>
                <a:gd name="T52" fmla="*/ 2147483647 w 304"/>
                <a:gd name="T53" fmla="*/ 2147483647 h 320"/>
                <a:gd name="T54" fmla="*/ 2147483647 w 304"/>
                <a:gd name="T55" fmla="*/ 2147483647 h 320"/>
                <a:gd name="T56" fmla="*/ 2147483647 w 304"/>
                <a:gd name="T57" fmla="*/ 2147483647 h 320"/>
                <a:gd name="T58" fmla="*/ 2147483647 w 304"/>
                <a:gd name="T59" fmla="*/ 2147483647 h 320"/>
                <a:gd name="T60" fmla="*/ 2147483647 w 304"/>
                <a:gd name="T61" fmla="*/ 2147483647 h 320"/>
                <a:gd name="T62" fmla="*/ 2147483647 w 304"/>
                <a:gd name="T63" fmla="*/ 2147483647 h 320"/>
                <a:gd name="T64" fmla="*/ 2147483647 w 304"/>
                <a:gd name="T65" fmla="*/ 2147483647 h 320"/>
                <a:gd name="T66" fmla="*/ 2147483647 w 304"/>
                <a:gd name="T67" fmla="*/ 2147483647 h 320"/>
                <a:gd name="T68" fmla="*/ 2147483647 w 304"/>
                <a:gd name="T69" fmla="*/ 2147483647 h 32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04" h="320">
                  <a:moveTo>
                    <a:pt x="287" y="66"/>
                  </a:moveTo>
                  <a:cubicBezTo>
                    <a:pt x="283" y="66"/>
                    <a:pt x="279" y="69"/>
                    <a:pt x="279" y="74"/>
                  </a:cubicBezTo>
                  <a:cubicBezTo>
                    <a:pt x="279" y="290"/>
                    <a:pt x="279" y="290"/>
                    <a:pt x="279" y="290"/>
                  </a:cubicBezTo>
                  <a:cubicBezTo>
                    <a:pt x="279" y="298"/>
                    <a:pt x="273" y="304"/>
                    <a:pt x="265" y="304"/>
                  </a:cubicBezTo>
                  <a:cubicBezTo>
                    <a:pt x="31" y="304"/>
                    <a:pt x="31" y="304"/>
                    <a:pt x="31" y="304"/>
                  </a:cubicBezTo>
                  <a:cubicBezTo>
                    <a:pt x="22" y="304"/>
                    <a:pt x="16" y="298"/>
                    <a:pt x="16" y="290"/>
                  </a:cubicBezTo>
                  <a:cubicBezTo>
                    <a:pt x="16" y="55"/>
                    <a:pt x="16" y="55"/>
                    <a:pt x="16" y="55"/>
                  </a:cubicBezTo>
                  <a:cubicBezTo>
                    <a:pt x="16" y="47"/>
                    <a:pt x="22" y="41"/>
                    <a:pt x="31" y="41"/>
                  </a:cubicBezTo>
                  <a:cubicBezTo>
                    <a:pt x="235" y="41"/>
                    <a:pt x="235" y="41"/>
                    <a:pt x="235" y="41"/>
                  </a:cubicBezTo>
                  <a:cubicBezTo>
                    <a:pt x="239" y="41"/>
                    <a:pt x="243" y="37"/>
                    <a:pt x="243" y="33"/>
                  </a:cubicBezTo>
                  <a:cubicBezTo>
                    <a:pt x="243" y="28"/>
                    <a:pt x="239" y="25"/>
                    <a:pt x="235" y="25"/>
                  </a:cubicBezTo>
                  <a:cubicBezTo>
                    <a:pt x="31" y="25"/>
                    <a:pt x="31" y="25"/>
                    <a:pt x="31" y="25"/>
                  </a:cubicBezTo>
                  <a:cubicBezTo>
                    <a:pt x="14" y="25"/>
                    <a:pt x="0" y="39"/>
                    <a:pt x="0" y="55"/>
                  </a:cubicBezTo>
                  <a:cubicBezTo>
                    <a:pt x="0" y="290"/>
                    <a:pt x="0" y="290"/>
                    <a:pt x="0" y="290"/>
                  </a:cubicBezTo>
                  <a:cubicBezTo>
                    <a:pt x="0" y="307"/>
                    <a:pt x="14" y="320"/>
                    <a:pt x="31" y="320"/>
                  </a:cubicBezTo>
                  <a:cubicBezTo>
                    <a:pt x="265" y="320"/>
                    <a:pt x="265" y="320"/>
                    <a:pt x="265" y="320"/>
                  </a:cubicBezTo>
                  <a:cubicBezTo>
                    <a:pt x="282" y="320"/>
                    <a:pt x="295" y="307"/>
                    <a:pt x="295" y="290"/>
                  </a:cubicBezTo>
                  <a:cubicBezTo>
                    <a:pt x="295" y="74"/>
                    <a:pt x="295" y="74"/>
                    <a:pt x="295" y="74"/>
                  </a:cubicBezTo>
                  <a:cubicBezTo>
                    <a:pt x="295" y="69"/>
                    <a:pt x="292" y="66"/>
                    <a:pt x="287" y="66"/>
                  </a:cubicBezTo>
                  <a:close/>
                  <a:moveTo>
                    <a:pt x="299" y="3"/>
                  </a:moveTo>
                  <a:cubicBezTo>
                    <a:pt x="296" y="0"/>
                    <a:pt x="291" y="1"/>
                    <a:pt x="288" y="4"/>
                  </a:cubicBezTo>
                  <a:cubicBezTo>
                    <a:pt x="288" y="5"/>
                    <a:pt x="187" y="132"/>
                    <a:pt x="144" y="229"/>
                  </a:cubicBezTo>
                  <a:cubicBezTo>
                    <a:pt x="124" y="180"/>
                    <a:pt x="95" y="153"/>
                    <a:pt x="94" y="152"/>
                  </a:cubicBezTo>
                  <a:cubicBezTo>
                    <a:pt x="91" y="149"/>
                    <a:pt x="86" y="150"/>
                    <a:pt x="83" y="153"/>
                  </a:cubicBezTo>
                  <a:cubicBezTo>
                    <a:pt x="80" y="156"/>
                    <a:pt x="80" y="161"/>
                    <a:pt x="83" y="164"/>
                  </a:cubicBezTo>
                  <a:cubicBezTo>
                    <a:pt x="83" y="164"/>
                    <a:pt x="83" y="164"/>
                    <a:pt x="83" y="164"/>
                  </a:cubicBezTo>
                  <a:cubicBezTo>
                    <a:pt x="83" y="164"/>
                    <a:pt x="84" y="165"/>
                    <a:pt x="85" y="165"/>
                  </a:cubicBezTo>
                  <a:cubicBezTo>
                    <a:pt x="91" y="172"/>
                    <a:pt x="120" y="203"/>
                    <a:pt x="136" y="254"/>
                  </a:cubicBezTo>
                  <a:cubicBezTo>
                    <a:pt x="137" y="257"/>
                    <a:pt x="139" y="260"/>
                    <a:pt x="143" y="260"/>
                  </a:cubicBezTo>
                  <a:cubicBezTo>
                    <a:pt x="143" y="260"/>
                    <a:pt x="143" y="260"/>
                    <a:pt x="143" y="260"/>
                  </a:cubicBezTo>
                  <a:cubicBezTo>
                    <a:pt x="147" y="260"/>
                    <a:pt x="150" y="258"/>
                    <a:pt x="151" y="255"/>
                  </a:cubicBezTo>
                  <a:cubicBezTo>
                    <a:pt x="168" y="208"/>
                    <a:pt x="206" y="147"/>
                    <a:pt x="239" y="99"/>
                  </a:cubicBezTo>
                  <a:cubicBezTo>
                    <a:pt x="255" y="75"/>
                    <a:pt x="271" y="54"/>
                    <a:pt x="282" y="38"/>
                  </a:cubicBezTo>
                  <a:cubicBezTo>
                    <a:pt x="294" y="23"/>
                    <a:pt x="301" y="14"/>
                    <a:pt x="301" y="14"/>
                  </a:cubicBezTo>
                  <a:cubicBezTo>
                    <a:pt x="304" y="11"/>
                    <a:pt x="303" y="6"/>
                    <a:pt x="299" y="3"/>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4" name="TextBox 103"/>
            <p:cNvSpPr txBox="1"/>
            <p:nvPr/>
          </p:nvSpPr>
          <p:spPr bwMode="auto">
            <a:xfrm>
              <a:off x="7193087" y="2158547"/>
              <a:ext cx="3834144" cy="830997"/>
            </a:xfrm>
            <a:prstGeom prst="rect">
              <a:avLst/>
            </a:prstGeom>
            <a:noFill/>
          </p:spPr>
          <p:txBody>
            <a:bodyPr wrap="square">
              <a:spAutoFit/>
            </a:bodyPr>
            <a:lstStyle/>
            <a:p>
              <a:pPr algn="l">
                <a:defRPr/>
              </a:pPr>
              <a:r>
                <a:rPr lang="en-US" sz="2400" dirty="0" smtClean="0">
                  <a:solidFill>
                    <a:srgbClr val="00A9D4"/>
                  </a:solidFill>
                  <a:latin typeface="+mj-lt"/>
                </a:rPr>
                <a:t>Tried and Tested</a:t>
              </a:r>
              <a:endParaRPr lang="en-US" sz="2400" dirty="0">
                <a:solidFill>
                  <a:srgbClr val="00A9D4"/>
                </a:solidFill>
                <a:latin typeface="+mj-lt"/>
              </a:endParaRPr>
            </a:p>
          </p:txBody>
        </p:sp>
      </p:grpSp>
      <p:grpSp>
        <p:nvGrpSpPr>
          <p:cNvPr id="106" name="Group 105"/>
          <p:cNvGrpSpPr/>
          <p:nvPr/>
        </p:nvGrpSpPr>
        <p:grpSpPr>
          <a:xfrm>
            <a:off x="359238" y="2897938"/>
            <a:ext cx="4136812" cy="524640"/>
            <a:chOff x="6693463" y="2126350"/>
            <a:chExt cx="4333768" cy="524640"/>
          </a:xfrm>
        </p:grpSpPr>
        <p:sp>
          <p:nvSpPr>
            <p:cNvPr id="107" name="Freeform 3"/>
            <p:cNvSpPr>
              <a:spLocks noChangeAspect="1" noEditPoints="1"/>
            </p:cNvSpPr>
            <p:nvPr/>
          </p:nvSpPr>
          <p:spPr bwMode="auto">
            <a:xfrm>
              <a:off x="6693463" y="2126350"/>
              <a:ext cx="499624" cy="524640"/>
            </a:xfrm>
            <a:custGeom>
              <a:avLst/>
              <a:gdLst>
                <a:gd name="T0" fmla="*/ 2147483647 w 304"/>
                <a:gd name="T1" fmla="*/ 2147483647 h 320"/>
                <a:gd name="T2" fmla="*/ 2147483647 w 304"/>
                <a:gd name="T3" fmla="*/ 2147483647 h 320"/>
                <a:gd name="T4" fmla="*/ 2147483647 w 304"/>
                <a:gd name="T5" fmla="*/ 2147483647 h 320"/>
                <a:gd name="T6" fmla="*/ 2147483647 w 304"/>
                <a:gd name="T7" fmla="*/ 2147483647 h 320"/>
                <a:gd name="T8" fmla="*/ 2147483647 w 304"/>
                <a:gd name="T9" fmla="*/ 2147483647 h 320"/>
                <a:gd name="T10" fmla="*/ 2147483647 w 304"/>
                <a:gd name="T11" fmla="*/ 2147483647 h 320"/>
                <a:gd name="T12" fmla="*/ 2147483647 w 304"/>
                <a:gd name="T13" fmla="*/ 2147483647 h 320"/>
                <a:gd name="T14" fmla="*/ 2147483647 w 304"/>
                <a:gd name="T15" fmla="*/ 2147483647 h 320"/>
                <a:gd name="T16" fmla="*/ 2147483647 w 304"/>
                <a:gd name="T17" fmla="*/ 2147483647 h 320"/>
                <a:gd name="T18" fmla="*/ 2147483647 w 304"/>
                <a:gd name="T19" fmla="*/ 2147483647 h 320"/>
                <a:gd name="T20" fmla="*/ 2147483647 w 304"/>
                <a:gd name="T21" fmla="*/ 2147483647 h 320"/>
                <a:gd name="T22" fmla="*/ 2147483647 w 304"/>
                <a:gd name="T23" fmla="*/ 2147483647 h 320"/>
                <a:gd name="T24" fmla="*/ 0 w 304"/>
                <a:gd name="T25" fmla="*/ 2147483647 h 320"/>
                <a:gd name="T26" fmla="*/ 0 w 304"/>
                <a:gd name="T27" fmla="*/ 2147483647 h 320"/>
                <a:gd name="T28" fmla="*/ 2147483647 w 304"/>
                <a:gd name="T29" fmla="*/ 2147483647 h 320"/>
                <a:gd name="T30" fmla="*/ 2147483647 w 304"/>
                <a:gd name="T31" fmla="*/ 2147483647 h 320"/>
                <a:gd name="T32" fmla="*/ 2147483647 w 304"/>
                <a:gd name="T33" fmla="*/ 2147483647 h 320"/>
                <a:gd name="T34" fmla="*/ 2147483647 w 304"/>
                <a:gd name="T35" fmla="*/ 2147483647 h 320"/>
                <a:gd name="T36" fmla="*/ 2147483647 w 304"/>
                <a:gd name="T37" fmla="*/ 2147483647 h 320"/>
                <a:gd name="T38" fmla="*/ 2147483647 w 304"/>
                <a:gd name="T39" fmla="*/ 2147483647 h 320"/>
                <a:gd name="T40" fmla="*/ 2147483647 w 304"/>
                <a:gd name="T41" fmla="*/ 2147483647 h 320"/>
                <a:gd name="T42" fmla="*/ 2147483647 w 304"/>
                <a:gd name="T43" fmla="*/ 2147483647 h 320"/>
                <a:gd name="T44" fmla="*/ 2147483647 w 304"/>
                <a:gd name="T45" fmla="*/ 2147483647 h 320"/>
                <a:gd name="T46" fmla="*/ 2147483647 w 304"/>
                <a:gd name="T47" fmla="*/ 2147483647 h 320"/>
                <a:gd name="T48" fmla="*/ 2147483647 w 304"/>
                <a:gd name="T49" fmla="*/ 2147483647 h 320"/>
                <a:gd name="T50" fmla="*/ 2147483647 w 304"/>
                <a:gd name="T51" fmla="*/ 2147483647 h 320"/>
                <a:gd name="T52" fmla="*/ 2147483647 w 304"/>
                <a:gd name="T53" fmla="*/ 2147483647 h 320"/>
                <a:gd name="T54" fmla="*/ 2147483647 w 304"/>
                <a:gd name="T55" fmla="*/ 2147483647 h 320"/>
                <a:gd name="T56" fmla="*/ 2147483647 w 304"/>
                <a:gd name="T57" fmla="*/ 2147483647 h 320"/>
                <a:gd name="T58" fmla="*/ 2147483647 w 304"/>
                <a:gd name="T59" fmla="*/ 2147483647 h 320"/>
                <a:gd name="T60" fmla="*/ 2147483647 w 304"/>
                <a:gd name="T61" fmla="*/ 2147483647 h 320"/>
                <a:gd name="T62" fmla="*/ 2147483647 w 304"/>
                <a:gd name="T63" fmla="*/ 2147483647 h 320"/>
                <a:gd name="T64" fmla="*/ 2147483647 w 304"/>
                <a:gd name="T65" fmla="*/ 2147483647 h 320"/>
                <a:gd name="T66" fmla="*/ 2147483647 w 304"/>
                <a:gd name="T67" fmla="*/ 2147483647 h 320"/>
                <a:gd name="T68" fmla="*/ 2147483647 w 304"/>
                <a:gd name="T69" fmla="*/ 2147483647 h 32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04" h="320">
                  <a:moveTo>
                    <a:pt x="287" y="66"/>
                  </a:moveTo>
                  <a:cubicBezTo>
                    <a:pt x="283" y="66"/>
                    <a:pt x="279" y="69"/>
                    <a:pt x="279" y="74"/>
                  </a:cubicBezTo>
                  <a:cubicBezTo>
                    <a:pt x="279" y="290"/>
                    <a:pt x="279" y="290"/>
                    <a:pt x="279" y="290"/>
                  </a:cubicBezTo>
                  <a:cubicBezTo>
                    <a:pt x="279" y="298"/>
                    <a:pt x="273" y="304"/>
                    <a:pt x="265" y="304"/>
                  </a:cubicBezTo>
                  <a:cubicBezTo>
                    <a:pt x="31" y="304"/>
                    <a:pt x="31" y="304"/>
                    <a:pt x="31" y="304"/>
                  </a:cubicBezTo>
                  <a:cubicBezTo>
                    <a:pt x="22" y="304"/>
                    <a:pt x="16" y="298"/>
                    <a:pt x="16" y="290"/>
                  </a:cubicBezTo>
                  <a:cubicBezTo>
                    <a:pt x="16" y="55"/>
                    <a:pt x="16" y="55"/>
                    <a:pt x="16" y="55"/>
                  </a:cubicBezTo>
                  <a:cubicBezTo>
                    <a:pt x="16" y="47"/>
                    <a:pt x="22" y="41"/>
                    <a:pt x="31" y="41"/>
                  </a:cubicBezTo>
                  <a:cubicBezTo>
                    <a:pt x="235" y="41"/>
                    <a:pt x="235" y="41"/>
                    <a:pt x="235" y="41"/>
                  </a:cubicBezTo>
                  <a:cubicBezTo>
                    <a:pt x="239" y="41"/>
                    <a:pt x="243" y="37"/>
                    <a:pt x="243" y="33"/>
                  </a:cubicBezTo>
                  <a:cubicBezTo>
                    <a:pt x="243" y="28"/>
                    <a:pt x="239" y="25"/>
                    <a:pt x="235" y="25"/>
                  </a:cubicBezTo>
                  <a:cubicBezTo>
                    <a:pt x="31" y="25"/>
                    <a:pt x="31" y="25"/>
                    <a:pt x="31" y="25"/>
                  </a:cubicBezTo>
                  <a:cubicBezTo>
                    <a:pt x="14" y="25"/>
                    <a:pt x="0" y="39"/>
                    <a:pt x="0" y="55"/>
                  </a:cubicBezTo>
                  <a:cubicBezTo>
                    <a:pt x="0" y="290"/>
                    <a:pt x="0" y="290"/>
                    <a:pt x="0" y="290"/>
                  </a:cubicBezTo>
                  <a:cubicBezTo>
                    <a:pt x="0" y="307"/>
                    <a:pt x="14" y="320"/>
                    <a:pt x="31" y="320"/>
                  </a:cubicBezTo>
                  <a:cubicBezTo>
                    <a:pt x="265" y="320"/>
                    <a:pt x="265" y="320"/>
                    <a:pt x="265" y="320"/>
                  </a:cubicBezTo>
                  <a:cubicBezTo>
                    <a:pt x="282" y="320"/>
                    <a:pt x="295" y="307"/>
                    <a:pt x="295" y="290"/>
                  </a:cubicBezTo>
                  <a:cubicBezTo>
                    <a:pt x="295" y="74"/>
                    <a:pt x="295" y="74"/>
                    <a:pt x="295" y="74"/>
                  </a:cubicBezTo>
                  <a:cubicBezTo>
                    <a:pt x="295" y="69"/>
                    <a:pt x="292" y="66"/>
                    <a:pt x="287" y="66"/>
                  </a:cubicBezTo>
                  <a:close/>
                  <a:moveTo>
                    <a:pt x="299" y="3"/>
                  </a:moveTo>
                  <a:cubicBezTo>
                    <a:pt x="296" y="0"/>
                    <a:pt x="291" y="1"/>
                    <a:pt x="288" y="4"/>
                  </a:cubicBezTo>
                  <a:cubicBezTo>
                    <a:pt x="288" y="5"/>
                    <a:pt x="187" y="132"/>
                    <a:pt x="144" y="229"/>
                  </a:cubicBezTo>
                  <a:cubicBezTo>
                    <a:pt x="124" y="180"/>
                    <a:pt x="95" y="153"/>
                    <a:pt x="94" y="152"/>
                  </a:cubicBezTo>
                  <a:cubicBezTo>
                    <a:pt x="91" y="149"/>
                    <a:pt x="86" y="150"/>
                    <a:pt x="83" y="153"/>
                  </a:cubicBezTo>
                  <a:cubicBezTo>
                    <a:pt x="80" y="156"/>
                    <a:pt x="80" y="161"/>
                    <a:pt x="83" y="164"/>
                  </a:cubicBezTo>
                  <a:cubicBezTo>
                    <a:pt x="83" y="164"/>
                    <a:pt x="83" y="164"/>
                    <a:pt x="83" y="164"/>
                  </a:cubicBezTo>
                  <a:cubicBezTo>
                    <a:pt x="83" y="164"/>
                    <a:pt x="84" y="165"/>
                    <a:pt x="85" y="165"/>
                  </a:cubicBezTo>
                  <a:cubicBezTo>
                    <a:pt x="91" y="172"/>
                    <a:pt x="120" y="203"/>
                    <a:pt x="136" y="254"/>
                  </a:cubicBezTo>
                  <a:cubicBezTo>
                    <a:pt x="137" y="257"/>
                    <a:pt x="139" y="260"/>
                    <a:pt x="143" y="260"/>
                  </a:cubicBezTo>
                  <a:cubicBezTo>
                    <a:pt x="143" y="260"/>
                    <a:pt x="143" y="260"/>
                    <a:pt x="143" y="260"/>
                  </a:cubicBezTo>
                  <a:cubicBezTo>
                    <a:pt x="147" y="260"/>
                    <a:pt x="150" y="258"/>
                    <a:pt x="151" y="255"/>
                  </a:cubicBezTo>
                  <a:cubicBezTo>
                    <a:pt x="168" y="208"/>
                    <a:pt x="206" y="147"/>
                    <a:pt x="239" y="99"/>
                  </a:cubicBezTo>
                  <a:cubicBezTo>
                    <a:pt x="255" y="75"/>
                    <a:pt x="271" y="54"/>
                    <a:pt x="282" y="38"/>
                  </a:cubicBezTo>
                  <a:cubicBezTo>
                    <a:pt x="294" y="23"/>
                    <a:pt x="301" y="14"/>
                    <a:pt x="301" y="14"/>
                  </a:cubicBezTo>
                  <a:cubicBezTo>
                    <a:pt x="304" y="11"/>
                    <a:pt x="303" y="6"/>
                    <a:pt x="299" y="3"/>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8" name="TextBox 107"/>
            <p:cNvSpPr txBox="1"/>
            <p:nvPr/>
          </p:nvSpPr>
          <p:spPr bwMode="auto">
            <a:xfrm>
              <a:off x="7193087" y="2158547"/>
              <a:ext cx="3834144" cy="461665"/>
            </a:xfrm>
            <a:prstGeom prst="rect">
              <a:avLst/>
            </a:prstGeom>
            <a:noFill/>
          </p:spPr>
          <p:txBody>
            <a:bodyPr wrap="square">
              <a:spAutoFit/>
            </a:bodyPr>
            <a:lstStyle>
              <a:defPPr>
                <a:defRPr lang="en-US"/>
              </a:defPPr>
              <a:lvl1pPr algn="l">
                <a:defRPr sz="2400">
                  <a:solidFill>
                    <a:srgbClr val="00A9D4"/>
                  </a:solidFill>
                  <a:latin typeface="+mj-lt"/>
                </a:defRPr>
              </a:lvl1pPr>
            </a:lstStyle>
            <a:p>
              <a:r>
                <a:rPr lang="en-US" dirty="0"/>
                <a:t>SID Compliance</a:t>
              </a:r>
            </a:p>
          </p:txBody>
        </p:sp>
      </p:grpSp>
      <p:grpSp>
        <p:nvGrpSpPr>
          <p:cNvPr id="109" name="Group 108"/>
          <p:cNvGrpSpPr/>
          <p:nvPr/>
        </p:nvGrpSpPr>
        <p:grpSpPr>
          <a:xfrm>
            <a:off x="359238" y="1455512"/>
            <a:ext cx="4136812" cy="524640"/>
            <a:chOff x="6693463" y="2126350"/>
            <a:chExt cx="4333768" cy="524640"/>
          </a:xfrm>
        </p:grpSpPr>
        <p:sp>
          <p:nvSpPr>
            <p:cNvPr id="110" name="Freeform 3"/>
            <p:cNvSpPr>
              <a:spLocks noChangeAspect="1" noEditPoints="1"/>
            </p:cNvSpPr>
            <p:nvPr/>
          </p:nvSpPr>
          <p:spPr bwMode="auto">
            <a:xfrm>
              <a:off x="6693463" y="2126350"/>
              <a:ext cx="499624" cy="524640"/>
            </a:xfrm>
            <a:custGeom>
              <a:avLst/>
              <a:gdLst>
                <a:gd name="T0" fmla="*/ 2147483647 w 304"/>
                <a:gd name="T1" fmla="*/ 2147483647 h 320"/>
                <a:gd name="T2" fmla="*/ 2147483647 w 304"/>
                <a:gd name="T3" fmla="*/ 2147483647 h 320"/>
                <a:gd name="T4" fmla="*/ 2147483647 w 304"/>
                <a:gd name="T5" fmla="*/ 2147483647 h 320"/>
                <a:gd name="T6" fmla="*/ 2147483647 w 304"/>
                <a:gd name="T7" fmla="*/ 2147483647 h 320"/>
                <a:gd name="T8" fmla="*/ 2147483647 w 304"/>
                <a:gd name="T9" fmla="*/ 2147483647 h 320"/>
                <a:gd name="T10" fmla="*/ 2147483647 w 304"/>
                <a:gd name="T11" fmla="*/ 2147483647 h 320"/>
                <a:gd name="T12" fmla="*/ 2147483647 w 304"/>
                <a:gd name="T13" fmla="*/ 2147483647 h 320"/>
                <a:gd name="T14" fmla="*/ 2147483647 w 304"/>
                <a:gd name="T15" fmla="*/ 2147483647 h 320"/>
                <a:gd name="T16" fmla="*/ 2147483647 w 304"/>
                <a:gd name="T17" fmla="*/ 2147483647 h 320"/>
                <a:gd name="T18" fmla="*/ 2147483647 w 304"/>
                <a:gd name="T19" fmla="*/ 2147483647 h 320"/>
                <a:gd name="T20" fmla="*/ 2147483647 w 304"/>
                <a:gd name="T21" fmla="*/ 2147483647 h 320"/>
                <a:gd name="T22" fmla="*/ 2147483647 w 304"/>
                <a:gd name="T23" fmla="*/ 2147483647 h 320"/>
                <a:gd name="T24" fmla="*/ 0 w 304"/>
                <a:gd name="T25" fmla="*/ 2147483647 h 320"/>
                <a:gd name="T26" fmla="*/ 0 w 304"/>
                <a:gd name="T27" fmla="*/ 2147483647 h 320"/>
                <a:gd name="T28" fmla="*/ 2147483647 w 304"/>
                <a:gd name="T29" fmla="*/ 2147483647 h 320"/>
                <a:gd name="T30" fmla="*/ 2147483647 w 304"/>
                <a:gd name="T31" fmla="*/ 2147483647 h 320"/>
                <a:gd name="T32" fmla="*/ 2147483647 w 304"/>
                <a:gd name="T33" fmla="*/ 2147483647 h 320"/>
                <a:gd name="T34" fmla="*/ 2147483647 w 304"/>
                <a:gd name="T35" fmla="*/ 2147483647 h 320"/>
                <a:gd name="T36" fmla="*/ 2147483647 w 304"/>
                <a:gd name="T37" fmla="*/ 2147483647 h 320"/>
                <a:gd name="T38" fmla="*/ 2147483647 w 304"/>
                <a:gd name="T39" fmla="*/ 2147483647 h 320"/>
                <a:gd name="T40" fmla="*/ 2147483647 w 304"/>
                <a:gd name="T41" fmla="*/ 2147483647 h 320"/>
                <a:gd name="T42" fmla="*/ 2147483647 w 304"/>
                <a:gd name="T43" fmla="*/ 2147483647 h 320"/>
                <a:gd name="T44" fmla="*/ 2147483647 w 304"/>
                <a:gd name="T45" fmla="*/ 2147483647 h 320"/>
                <a:gd name="T46" fmla="*/ 2147483647 w 304"/>
                <a:gd name="T47" fmla="*/ 2147483647 h 320"/>
                <a:gd name="T48" fmla="*/ 2147483647 w 304"/>
                <a:gd name="T49" fmla="*/ 2147483647 h 320"/>
                <a:gd name="T50" fmla="*/ 2147483647 w 304"/>
                <a:gd name="T51" fmla="*/ 2147483647 h 320"/>
                <a:gd name="T52" fmla="*/ 2147483647 w 304"/>
                <a:gd name="T53" fmla="*/ 2147483647 h 320"/>
                <a:gd name="T54" fmla="*/ 2147483647 w 304"/>
                <a:gd name="T55" fmla="*/ 2147483647 h 320"/>
                <a:gd name="T56" fmla="*/ 2147483647 w 304"/>
                <a:gd name="T57" fmla="*/ 2147483647 h 320"/>
                <a:gd name="T58" fmla="*/ 2147483647 w 304"/>
                <a:gd name="T59" fmla="*/ 2147483647 h 320"/>
                <a:gd name="T60" fmla="*/ 2147483647 w 304"/>
                <a:gd name="T61" fmla="*/ 2147483647 h 320"/>
                <a:gd name="T62" fmla="*/ 2147483647 w 304"/>
                <a:gd name="T63" fmla="*/ 2147483647 h 320"/>
                <a:gd name="T64" fmla="*/ 2147483647 w 304"/>
                <a:gd name="T65" fmla="*/ 2147483647 h 320"/>
                <a:gd name="T66" fmla="*/ 2147483647 w 304"/>
                <a:gd name="T67" fmla="*/ 2147483647 h 320"/>
                <a:gd name="T68" fmla="*/ 2147483647 w 304"/>
                <a:gd name="T69" fmla="*/ 2147483647 h 32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04" h="320">
                  <a:moveTo>
                    <a:pt x="287" y="66"/>
                  </a:moveTo>
                  <a:cubicBezTo>
                    <a:pt x="283" y="66"/>
                    <a:pt x="279" y="69"/>
                    <a:pt x="279" y="74"/>
                  </a:cubicBezTo>
                  <a:cubicBezTo>
                    <a:pt x="279" y="290"/>
                    <a:pt x="279" y="290"/>
                    <a:pt x="279" y="290"/>
                  </a:cubicBezTo>
                  <a:cubicBezTo>
                    <a:pt x="279" y="298"/>
                    <a:pt x="273" y="304"/>
                    <a:pt x="265" y="304"/>
                  </a:cubicBezTo>
                  <a:cubicBezTo>
                    <a:pt x="31" y="304"/>
                    <a:pt x="31" y="304"/>
                    <a:pt x="31" y="304"/>
                  </a:cubicBezTo>
                  <a:cubicBezTo>
                    <a:pt x="22" y="304"/>
                    <a:pt x="16" y="298"/>
                    <a:pt x="16" y="290"/>
                  </a:cubicBezTo>
                  <a:cubicBezTo>
                    <a:pt x="16" y="55"/>
                    <a:pt x="16" y="55"/>
                    <a:pt x="16" y="55"/>
                  </a:cubicBezTo>
                  <a:cubicBezTo>
                    <a:pt x="16" y="47"/>
                    <a:pt x="22" y="41"/>
                    <a:pt x="31" y="41"/>
                  </a:cubicBezTo>
                  <a:cubicBezTo>
                    <a:pt x="235" y="41"/>
                    <a:pt x="235" y="41"/>
                    <a:pt x="235" y="41"/>
                  </a:cubicBezTo>
                  <a:cubicBezTo>
                    <a:pt x="239" y="41"/>
                    <a:pt x="243" y="37"/>
                    <a:pt x="243" y="33"/>
                  </a:cubicBezTo>
                  <a:cubicBezTo>
                    <a:pt x="243" y="28"/>
                    <a:pt x="239" y="25"/>
                    <a:pt x="235" y="25"/>
                  </a:cubicBezTo>
                  <a:cubicBezTo>
                    <a:pt x="31" y="25"/>
                    <a:pt x="31" y="25"/>
                    <a:pt x="31" y="25"/>
                  </a:cubicBezTo>
                  <a:cubicBezTo>
                    <a:pt x="14" y="25"/>
                    <a:pt x="0" y="39"/>
                    <a:pt x="0" y="55"/>
                  </a:cubicBezTo>
                  <a:cubicBezTo>
                    <a:pt x="0" y="290"/>
                    <a:pt x="0" y="290"/>
                    <a:pt x="0" y="290"/>
                  </a:cubicBezTo>
                  <a:cubicBezTo>
                    <a:pt x="0" y="307"/>
                    <a:pt x="14" y="320"/>
                    <a:pt x="31" y="320"/>
                  </a:cubicBezTo>
                  <a:cubicBezTo>
                    <a:pt x="265" y="320"/>
                    <a:pt x="265" y="320"/>
                    <a:pt x="265" y="320"/>
                  </a:cubicBezTo>
                  <a:cubicBezTo>
                    <a:pt x="282" y="320"/>
                    <a:pt x="295" y="307"/>
                    <a:pt x="295" y="290"/>
                  </a:cubicBezTo>
                  <a:cubicBezTo>
                    <a:pt x="295" y="74"/>
                    <a:pt x="295" y="74"/>
                    <a:pt x="295" y="74"/>
                  </a:cubicBezTo>
                  <a:cubicBezTo>
                    <a:pt x="295" y="69"/>
                    <a:pt x="292" y="66"/>
                    <a:pt x="287" y="66"/>
                  </a:cubicBezTo>
                  <a:close/>
                  <a:moveTo>
                    <a:pt x="299" y="3"/>
                  </a:moveTo>
                  <a:cubicBezTo>
                    <a:pt x="296" y="0"/>
                    <a:pt x="291" y="1"/>
                    <a:pt x="288" y="4"/>
                  </a:cubicBezTo>
                  <a:cubicBezTo>
                    <a:pt x="288" y="5"/>
                    <a:pt x="187" y="132"/>
                    <a:pt x="144" y="229"/>
                  </a:cubicBezTo>
                  <a:cubicBezTo>
                    <a:pt x="124" y="180"/>
                    <a:pt x="95" y="153"/>
                    <a:pt x="94" y="152"/>
                  </a:cubicBezTo>
                  <a:cubicBezTo>
                    <a:pt x="91" y="149"/>
                    <a:pt x="86" y="150"/>
                    <a:pt x="83" y="153"/>
                  </a:cubicBezTo>
                  <a:cubicBezTo>
                    <a:pt x="80" y="156"/>
                    <a:pt x="80" y="161"/>
                    <a:pt x="83" y="164"/>
                  </a:cubicBezTo>
                  <a:cubicBezTo>
                    <a:pt x="83" y="164"/>
                    <a:pt x="83" y="164"/>
                    <a:pt x="83" y="164"/>
                  </a:cubicBezTo>
                  <a:cubicBezTo>
                    <a:pt x="83" y="164"/>
                    <a:pt x="84" y="165"/>
                    <a:pt x="85" y="165"/>
                  </a:cubicBezTo>
                  <a:cubicBezTo>
                    <a:pt x="91" y="172"/>
                    <a:pt x="120" y="203"/>
                    <a:pt x="136" y="254"/>
                  </a:cubicBezTo>
                  <a:cubicBezTo>
                    <a:pt x="137" y="257"/>
                    <a:pt x="139" y="260"/>
                    <a:pt x="143" y="260"/>
                  </a:cubicBezTo>
                  <a:cubicBezTo>
                    <a:pt x="143" y="260"/>
                    <a:pt x="143" y="260"/>
                    <a:pt x="143" y="260"/>
                  </a:cubicBezTo>
                  <a:cubicBezTo>
                    <a:pt x="147" y="260"/>
                    <a:pt x="150" y="258"/>
                    <a:pt x="151" y="255"/>
                  </a:cubicBezTo>
                  <a:cubicBezTo>
                    <a:pt x="168" y="208"/>
                    <a:pt x="206" y="147"/>
                    <a:pt x="239" y="99"/>
                  </a:cubicBezTo>
                  <a:cubicBezTo>
                    <a:pt x="255" y="75"/>
                    <a:pt x="271" y="54"/>
                    <a:pt x="282" y="38"/>
                  </a:cubicBezTo>
                  <a:cubicBezTo>
                    <a:pt x="294" y="23"/>
                    <a:pt x="301" y="14"/>
                    <a:pt x="301" y="14"/>
                  </a:cubicBezTo>
                  <a:cubicBezTo>
                    <a:pt x="304" y="11"/>
                    <a:pt x="303" y="6"/>
                    <a:pt x="299" y="3"/>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1" name="TextBox 110"/>
            <p:cNvSpPr txBox="1"/>
            <p:nvPr/>
          </p:nvSpPr>
          <p:spPr bwMode="auto">
            <a:xfrm>
              <a:off x="7193087" y="2158547"/>
              <a:ext cx="3834144" cy="461665"/>
            </a:xfrm>
            <a:prstGeom prst="rect">
              <a:avLst/>
            </a:prstGeom>
            <a:noFill/>
          </p:spPr>
          <p:txBody>
            <a:bodyPr wrap="square">
              <a:spAutoFit/>
            </a:bodyPr>
            <a:lstStyle/>
            <a:p>
              <a:pPr algn="l">
                <a:defRPr/>
              </a:pPr>
              <a:r>
                <a:rPr lang="en-US" sz="2400" dirty="0" smtClean="0">
                  <a:solidFill>
                    <a:srgbClr val="00A9D4"/>
                  </a:solidFill>
                  <a:latin typeface="+mj-lt"/>
                </a:rPr>
                <a:t>Tutorial Ready</a:t>
              </a:r>
              <a:endParaRPr lang="en-US" sz="2400" dirty="0">
                <a:solidFill>
                  <a:srgbClr val="00A9D4"/>
                </a:solidFill>
                <a:latin typeface="+mj-lt"/>
              </a:endParaRPr>
            </a:p>
          </p:txBody>
        </p:sp>
      </p:grpSp>
      <p:grpSp>
        <p:nvGrpSpPr>
          <p:cNvPr id="114" name="Group 113"/>
          <p:cNvGrpSpPr/>
          <p:nvPr/>
        </p:nvGrpSpPr>
        <p:grpSpPr>
          <a:xfrm>
            <a:off x="359238" y="3616381"/>
            <a:ext cx="4136812" cy="924749"/>
            <a:chOff x="6693463" y="2126350"/>
            <a:chExt cx="4333768" cy="924749"/>
          </a:xfrm>
        </p:grpSpPr>
        <p:sp>
          <p:nvSpPr>
            <p:cNvPr id="115" name="Freeform 3"/>
            <p:cNvSpPr>
              <a:spLocks noChangeAspect="1" noEditPoints="1"/>
            </p:cNvSpPr>
            <p:nvPr/>
          </p:nvSpPr>
          <p:spPr bwMode="auto">
            <a:xfrm>
              <a:off x="6693463" y="2126350"/>
              <a:ext cx="499624" cy="524640"/>
            </a:xfrm>
            <a:custGeom>
              <a:avLst/>
              <a:gdLst>
                <a:gd name="T0" fmla="*/ 2147483647 w 304"/>
                <a:gd name="T1" fmla="*/ 2147483647 h 320"/>
                <a:gd name="T2" fmla="*/ 2147483647 w 304"/>
                <a:gd name="T3" fmla="*/ 2147483647 h 320"/>
                <a:gd name="T4" fmla="*/ 2147483647 w 304"/>
                <a:gd name="T5" fmla="*/ 2147483647 h 320"/>
                <a:gd name="T6" fmla="*/ 2147483647 w 304"/>
                <a:gd name="T7" fmla="*/ 2147483647 h 320"/>
                <a:gd name="T8" fmla="*/ 2147483647 w 304"/>
                <a:gd name="T9" fmla="*/ 2147483647 h 320"/>
                <a:gd name="T10" fmla="*/ 2147483647 w 304"/>
                <a:gd name="T11" fmla="*/ 2147483647 h 320"/>
                <a:gd name="T12" fmla="*/ 2147483647 w 304"/>
                <a:gd name="T13" fmla="*/ 2147483647 h 320"/>
                <a:gd name="T14" fmla="*/ 2147483647 w 304"/>
                <a:gd name="T15" fmla="*/ 2147483647 h 320"/>
                <a:gd name="T16" fmla="*/ 2147483647 w 304"/>
                <a:gd name="T17" fmla="*/ 2147483647 h 320"/>
                <a:gd name="T18" fmla="*/ 2147483647 w 304"/>
                <a:gd name="T19" fmla="*/ 2147483647 h 320"/>
                <a:gd name="T20" fmla="*/ 2147483647 w 304"/>
                <a:gd name="T21" fmla="*/ 2147483647 h 320"/>
                <a:gd name="T22" fmla="*/ 2147483647 w 304"/>
                <a:gd name="T23" fmla="*/ 2147483647 h 320"/>
                <a:gd name="T24" fmla="*/ 0 w 304"/>
                <a:gd name="T25" fmla="*/ 2147483647 h 320"/>
                <a:gd name="T26" fmla="*/ 0 w 304"/>
                <a:gd name="T27" fmla="*/ 2147483647 h 320"/>
                <a:gd name="T28" fmla="*/ 2147483647 w 304"/>
                <a:gd name="T29" fmla="*/ 2147483647 h 320"/>
                <a:gd name="T30" fmla="*/ 2147483647 w 304"/>
                <a:gd name="T31" fmla="*/ 2147483647 h 320"/>
                <a:gd name="T32" fmla="*/ 2147483647 w 304"/>
                <a:gd name="T33" fmla="*/ 2147483647 h 320"/>
                <a:gd name="T34" fmla="*/ 2147483647 w 304"/>
                <a:gd name="T35" fmla="*/ 2147483647 h 320"/>
                <a:gd name="T36" fmla="*/ 2147483647 w 304"/>
                <a:gd name="T37" fmla="*/ 2147483647 h 320"/>
                <a:gd name="T38" fmla="*/ 2147483647 w 304"/>
                <a:gd name="T39" fmla="*/ 2147483647 h 320"/>
                <a:gd name="T40" fmla="*/ 2147483647 w 304"/>
                <a:gd name="T41" fmla="*/ 2147483647 h 320"/>
                <a:gd name="T42" fmla="*/ 2147483647 w 304"/>
                <a:gd name="T43" fmla="*/ 2147483647 h 320"/>
                <a:gd name="T44" fmla="*/ 2147483647 w 304"/>
                <a:gd name="T45" fmla="*/ 2147483647 h 320"/>
                <a:gd name="T46" fmla="*/ 2147483647 w 304"/>
                <a:gd name="T47" fmla="*/ 2147483647 h 320"/>
                <a:gd name="T48" fmla="*/ 2147483647 w 304"/>
                <a:gd name="T49" fmla="*/ 2147483647 h 320"/>
                <a:gd name="T50" fmla="*/ 2147483647 w 304"/>
                <a:gd name="T51" fmla="*/ 2147483647 h 320"/>
                <a:gd name="T52" fmla="*/ 2147483647 w 304"/>
                <a:gd name="T53" fmla="*/ 2147483647 h 320"/>
                <a:gd name="T54" fmla="*/ 2147483647 w 304"/>
                <a:gd name="T55" fmla="*/ 2147483647 h 320"/>
                <a:gd name="T56" fmla="*/ 2147483647 w 304"/>
                <a:gd name="T57" fmla="*/ 2147483647 h 320"/>
                <a:gd name="T58" fmla="*/ 2147483647 w 304"/>
                <a:gd name="T59" fmla="*/ 2147483647 h 320"/>
                <a:gd name="T60" fmla="*/ 2147483647 w 304"/>
                <a:gd name="T61" fmla="*/ 2147483647 h 320"/>
                <a:gd name="T62" fmla="*/ 2147483647 w 304"/>
                <a:gd name="T63" fmla="*/ 2147483647 h 320"/>
                <a:gd name="T64" fmla="*/ 2147483647 w 304"/>
                <a:gd name="T65" fmla="*/ 2147483647 h 320"/>
                <a:gd name="T66" fmla="*/ 2147483647 w 304"/>
                <a:gd name="T67" fmla="*/ 2147483647 h 320"/>
                <a:gd name="T68" fmla="*/ 2147483647 w 304"/>
                <a:gd name="T69" fmla="*/ 2147483647 h 32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04" h="320">
                  <a:moveTo>
                    <a:pt x="287" y="66"/>
                  </a:moveTo>
                  <a:cubicBezTo>
                    <a:pt x="283" y="66"/>
                    <a:pt x="279" y="69"/>
                    <a:pt x="279" y="74"/>
                  </a:cubicBezTo>
                  <a:cubicBezTo>
                    <a:pt x="279" y="290"/>
                    <a:pt x="279" y="290"/>
                    <a:pt x="279" y="290"/>
                  </a:cubicBezTo>
                  <a:cubicBezTo>
                    <a:pt x="279" y="298"/>
                    <a:pt x="273" y="304"/>
                    <a:pt x="265" y="304"/>
                  </a:cubicBezTo>
                  <a:cubicBezTo>
                    <a:pt x="31" y="304"/>
                    <a:pt x="31" y="304"/>
                    <a:pt x="31" y="304"/>
                  </a:cubicBezTo>
                  <a:cubicBezTo>
                    <a:pt x="22" y="304"/>
                    <a:pt x="16" y="298"/>
                    <a:pt x="16" y="290"/>
                  </a:cubicBezTo>
                  <a:cubicBezTo>
                    <a:pt x="16" y="55"/>
                    <a:pt x="16" y="55"/>
                    <a:pt x="16" y="55"/>
                  </a:cubicBezTo>
                  <a:cubicBezTo>
                    <a:pt x="16" y="47"/>
                    <a:pt x="22" y="41"/>
                    <a:pt x="31" y="41"/>
                  </a:cubicBezTo>
                  <a:cubicBezTo>
                    <a:pt x="235" y="41"/>
                    <a:pt x="235" y="41"/>
                    <a:pt x="235" y="41"/>
                  </a:cubicBezTo>
                  <a:cubicBezTo>
                    <a:pt x="239" y="41"/>
                    <a:pt x="243" y="37"/>
                    <a:pt x="243" y="33"/>
                  </a:cubicBezTo>
                  <a:cubicBezTo>
                    <a:pt x="243" y="28"/>
                    <a:pt x="239" y="25"/>
                    <a:pt x="235" y="25"/>
                  </a:cubicBezTo>
                  <a:cubicBezTo>
                    <a:pt x="31" y="25"/>
                    <a:pt x="31" y="25"/>
                    <a:pt x="31" y="25"/>
                  </a:cubicBezTo>
                  <a:cubicBezTo>
                    <a:pt x="14" y="25"/>
                    <a:pt x="0" y="39"/>
                    <a:pt x="0" y="55"/>
                  </a:cubicBezTo>
                  <a:cubicBezTo>
                    <a:pt x="0" y="290"/>
                    <a:pt x="0" y="290"/>
                    <a:pt x="0" y="290"/>
                  </a:cubicBezTo>
                  <a:cubicBezTo>
                    <a:pt x="0" y="307"/>
                    <a:pt x="14" y="320"/>
                    <a:pt x="31" y="320"/>
                  </a:cubicBezTo>
                  <a:cubicBezTo>
                    <a:pt x="265" y="320"/>
                    <a:pt x="265" y="320"/>
                    <a:pt x="265" y="320"/>
                  </a:cubicBezTo>
                  <a:cubicBezTo>
                    <a:pt x="282" y="320"/>
                    <a:pt x="295" y="307"/>
                    <a:pt x="295" y="290"/>
                  </a:cubicBezTo>
                  <a:cubicBezTo>
                    <a:pt x="295" y="74"/>
                    <a:pt x="295" y="74"/>
                    <a:pt x="295" y="74"/>
                  </a:cubicBezTo>
                  <a:cubicBezTo>
                    <a:pt x="295" y="69"/>
                    <a:pt x="292" y="66"/>
                    <a:pt x="287" y="66"/>
                  </a:cubicBezTo>
                  <a:close/>
                  <a:moveTo>
                    <a:pt x="299" y="3"/>
                  </a:moveTo>
                  <a:cubicBezTo>
                    <a:pt x="296" y="0"/>
                    <a:pt x="291" y="1"/>
                    <a:pt x="288" y="4"/>
                  </a:cubicBezTo>
                  <a:cubicBezTo>
                    <a:pt x="288" y="5"/>
                    <a:pt x="187" y="132"/>
                    <a:pt x="144" y="229"/>
                  </a:cubicBezTo>
                  <a:cubicBezTo>
                    <a:pt x="124" y="180"/>
                    <a:pt x="95" y="153"/>
                    <a:pt x="94" y="152"/>
                  </a:cubicBezTo>
                  <a:cubicBezTo>
                    <a:pt x="91" y="149"/>
                    <a:pt x="86" y="150"/>
                    <a:pt x="83" y="153"/>
                  </a:cubicBezTo>
                  <a:cubicBezTo>
                    <a:pt x="80" y="156"/>
                    <a:pt x="80" y="161"/>
                    <a:pt x="83" y="164"/>
                  </a:cubicBezTo>
                  <a:cubicBezTo>
                    <a:pt x="83" y="164"/>
                    <a:pt x="83" y="164"/>
                    <a:pt x="83" y="164"/>
                  </a:cubicBezTo>
                  <a:cubicBezTo>
                    <a:pt x="83" y="164"/>
                    <a:pt x="84" y="165"/>
                    <a:pt x="85" y="165"/>
                  </a:cubicBezTo>
                  <a:cubicBezTo>
                    <a:pt x="91" y="172"/>
                    <a:pt x="120" y="203"/>
                    <a:pt x="136" y="254"/>
                  </a:cubicBezTo>
                  <a:cubicBezTo>
                    <a:pt x="137" y="257"/>
                    <a:pt x="139" y="260"/>
                    <a:pt x="143" y="260"/>
                  </a:cubicBezTo>
                  <a:cubicBezTo>
                    <a:pt x="143" y="260"/>
                    <a:pt x="143" y="260"/>
                    <a:pt x="143" y="260"/>
                  </a:cubicBezTo>
                  <a:cubicBezTo>
                    <a:pt x="147" y="260"/>
                    <a:pt x="150" y="258"/>
                    <a:pt x="151" y="255"/>
                  </a:cubicBezTo>
                  <a:cubicBezTo>
                    <a:pt x="168" y="208"/>
                    <a:pt x="206" y="147"/>
                    <a:pt x="239" y="99"/>
                  </a:cubicBezTo>
                  <a:cubicBezTo>
                    <a:pt x="255" y="75"/>
                    <a:pt x="271" y="54"/>
                    <a:pt x="282" y="38"/>
                  </a:cubicBezTo>
                  <a:cubicBezTo>
                    <a:pt x="294" y="23"/>
                    <a:pt x="301" y="14"/>
                    <a:pt x="301" y="14"/>
                  </a:cubicBezTo>
                  <a:cubicBezTo>
                    <a:pt x="304" y="11"/>
                    <a:pt x="303" y="6"/>
                    <a:pt x="299" y="3"/>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6" name="TextBox 115"/>
            <p:cNvSpPr txBox="1"/>
            <p:nvPr/>
          </p:nvSpPr>
          <p:spPr bwMode="auto">
            <a:xfrm>
              <a:off x="7193087" y="2158547"/>
              <a:ext cx="3834144" cy="892552"/>
            </a:xfrm>
            <a:prstGeom prst="rect">
              <a:avLst/>
            </a:prstGeom>
            <a:noFill/>
          </p:spPr>
          <p:txBody>
            <a:bodyPr wrap="square">
              <a:spAutoFit/>
            </a:bodyPr>
            <a:lstStyle/>
            <a:p>
              <a:pPr algn="l">
                <a:defRPr/>
              </a:pPr>
              <a:r>
                <a:rPr lang="en-US" sz="2400" dirty="0" smtClean="0">
                  <a:solidFill>
                    <a:srgbClr val="00A9D4"/>
                  </a:solidFill>
                  <a:latin typeface="+mj-lt"/>
                </a:rPr>
                <a:t>Context</a:t>
              </a:r>
              <a:r>
                <a:rPr lang="en-US" sz="2600" dirty="0" smtClean="0">
                  <a:solidFill>
                    <a:srgbClr val="00A9D4"/>
                  </a:solidFill>
                  <a:latin typeface="+mj-lt"/>
                </a:rPr>
                <a:t> Driven</a:t>
              </a:r>
              <a:endParaRPr lang="en-US" sz="2600" dirty="0">
                <a:solidFill>
                  <a:srgbClr val="00A9D4"/>
                </a:solidFill>
                <a:latin typeface="+mj-lt"/>
              </a:endParaRPr>
            </a:p>
          </p:txBody>
        </p:sp>
      </p:grpSp>
      <p:grpSp>
        <p:nvGrpSpPr>
          <p:cNvPr id="117" name="Group 116"/>
          <p:cNvGrpSpPr/>
          <p:nvPr/>
        </p:nvGrpSpPr>
        <p:grpSpPr>
          <a:xfrm>
            <a:off x="359238" y="4340054"/>
            <a:ext cx="4136812" cy="893971"/>
            <a:chOff x="6693463" y="2126350"/>
            <a:chExt cx="4333768" cy="893971"/>
          </a:xfrm>
        </p:grpSpPr>
        <p:sp>
          <p:nvSpPr>
            <p:cNvPr id="118" name="Freeform 3"/>
            <p:cNvSpPr>
              <a:spLocks noChangeAspect="1" noEditPoints="1"/>
            </p:cNvSpPr>
            <p:nvPr/>
          </p:nvSpPr>
          <p:spPr bwMode="auto">
            <a:xfrm>
              <a:off x="6693463" y="2126350"/>
              <a:ext cx="499624" cy="524640"/>
            </a:xfrm>
            <a:custGeom>
              <a:avLst/>
              <a:gdLst>
                <a:gd name="T0" fmla="*/ 2147483647 w 304"/>
                <a:gd name="T1" fmla="*/ 2147483647 h 320"/>
                <a:gd name="T2" fmla="*/ 2147483647 w 304"/>
                <a:gd name="T3" fmla="*/ 2147483647 h 320"/>
                <a:gd name="T4" fmla="*/ 2147483647 w 304"/>
                <a:gd name="T5" fmla="*/ 2147483647 h 320"/>
                <a:gd name="T6" fmla="*/ 2147483647 w 304"/>
                <a:gd name="T7" fmla="*/ 2147483647 h 320"/>
                <a:gd name="T8" fmla="*/ 2147483647 w 304"/>
                <a:gd name="T9" fmla="*/ 2147483647 h 320"/>
                <a:gd name="T10" fmla="*/ 2147483647 w 304"/>
                <a:gd name="T11" fmla="*/ 2147483647 h 320"/>
                <a:gd name="T12" fmla="*/ 2147483647 w 304"/>
                <a:gd name="T13" fmla="*/ 2147483647 h 320"/>
                <a:gd name="T14" fmla="*/ 2147483647 w 304"/>
                <a:gd name="T15" fmla="*/ 2147483647 h 320"/>
                <a:gd name="T16" fmla="*/ 2147483647 w 304"/>
                <a:gd name="T17" fmla="*/ 2147483647 h 320"/>
                <a:gd name="T18" fmla="*/ 2147483647 w 304"/>
                <a:gd name="T19" fmla="*/ 2147483647 h 320"/>
                <a:gd name="T20" fmla="*/ 2147483647 w 304"/>
                <a:gd name="T21" fmla="*/ 2147483647 h 320"/>
                <a:gd name="T22" fmla="*/ 2147483647 w 304"/>
                <a:gd name="T23" fmla="*/ 2147483647 h 320"/>
                <a:gd name="T24" fmla="*/ 0 w 304"/>
                <a:gd name="T25" fmla="*/ 2147483647 h 320"/>
                <a:gd name="T26" fmla="*/ 0 w 304"/>
                <a:gd name="T27" fmla="*/ 2147483647 h 320"/>
                <a:gd name="T28" fmla="*/ 2147483647 w 304"/>
                <a:gd name="T29" fmla="*/ 2147483647 h 320"/>
                <a:gd name="T30" fmla="*/ 2147483647 w 304"/>
                <a:gd name="T31" fmla="*/ 2147483647 h 320"/>
                <a:gd name="T32" fmla="*/ 2147483647 w 304"/>
                <a:gd name="T33" fmla="*/ 2147483647 h 320"/>
                <a:gd name="T34" fmla="*/ 2147483647 w 304"/>
                <a:gd name="T35" fmla="*/ 2147483647 h 320"/>
                <a:gd name="T36" fmla="*/ 2147483647 w 304"/>
                <a:gd name="T37" fmla="*/ 2147483647 h 320"/>
                <a:gd name="T38" fmla="*/ 2147483647 w 304"/>
                <a:gd name="T39" fmla="*/ 2147483647 h 320"/>
                <a:gd name="T40" fmla="*/ 2147483647 w 304"/>
                <a:gd name="T41" fmla="*/ 2147483647 h 320"/>
                <a:gd name="T42" fmla="*/ 2147483647 w 304"/>
                <a:gd name="T43" fmla="*/ 2147483647 h 320"/>
                <a:gd name="T44" fmla="*/ 2147483647 w 304"/>
                <a:gd name="T45" fmla="*/ 2147483647 h 320"/>
                <a:gd name="T46" fmla="*/ 2147483647 w 304"/>
                <a:gd name="T47" fmla="*/ 2147483647 h 320"/>
                <a:gd name="T48" fmla="*/ 2147483647 w 304"/>
                <a:gd name="T49" fmla="*/ 2147483647 h 320"/>
                <a:gd name="T50" fmla="*/ 2147483647 w 304"/>
                <a:gd name="T51" fmla="*/ 2147483647 h 320"/>
                <a:gd name="T52" fmla="*/ 2147483647 w 304"/>
                <a:gd name="T53" fmla="*/ 2147483647 h 320"/>
                <a:gd name="T54" fmla="*/ 2147483647 w 304"/>
                <a:gd name="T55" fmla="*/ 2147483647 h 320"/>
                <a:gd name="T56" fmla="*/ 2147483647 w 304"/>
                <a:gd name="T57" fmla="*/ 2147483647 h 320"/>
                <a:gd name="T58" fmla="*/ 2147483647 w 304"/>
                <a:gd name="T59" fmla="*/ 2147483647 h 320"/>
                <a:gd name="T60" fmla="*/ 2147483647 w 304"/>
                <a:gd name="T61" fmla="*/ 2147483647 h 320"/>
                <a:gd name="T62" fmla="*/ 2147483647 w 304"/>
                <a:gd name="T63" fmla="*/ 2147483647 h 320"/>
                <a:gd name="T64" fmla="*/ 2147483647 w 304"/>
                <a:gd name="T65" fmla="*/ 2147483647 h 320"/>
                <a:gd name="T66" fmla="*/ 2147483647 w 304"/>
                <a:gd name="T67" fmla="*/ 2147483647 h 320"/>
                <a:gd name="T68" fmla="*/ 2147483647 w 304"/>
                <a:gd name="T69" fmla="*/ 2147483647 h 32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04" h="320">
                  <a:moveTo>
                    <a:pt x="287" y="66"/>
                  </a:moveTo>
                  <a:cubicBezTo>
                    <a:pt x="283" y="66"/>
                    <a:pt x="279" y="69"/>
                    <a:pt x="279" y="74"/>
                  </a:cubicBezTo>
                  <a:cubicBezTo>
                    <a:pt x="279" y="290"/>
                    <a:pt x="279" y="290"/>
                    <a:pt x="279" y="290"/>
                  </a:cubicBezTo>
                  <a:cubicBezTo>
                    <a:pt x="279" y="298"/>
                    <a:pt x="273" y="304"/>
                    <a:pt x="265" y="304"/>
                  </a:cubicBezTo>
                  <a:cubicBezTo>
                    <a:pt x="31" y="304"/>
                    <a:pt x="31" y="304"/>
                    <a:pt x="31" y="304"/>
                  </a:cubicBezTo>
                  <a:cubicBezTo>
                    <a:pt x="22" y="304"/>
                    <a:pt x="16" y="298"/>
                    <a:pt x="16" y="290"/>
                  </a:cubicBezTo>
                  <a:cubicBezTo>
                    <a:pt x="16" y="55"/>
                    <a:pt x="16" y="55"/>
                    <a:pt x="16" y="55"/>
                  </a:cubicBezTo>
                  <a:cubicBezTo>
                    <a:pt x="16" y="47"/>
                    <a:pt x="22" y="41"/>
                    <a:pt x="31" y="41"/>
                  </a:cubicBezTo>
                  <a:cubicBezTo>
                    <a:pt x="235" y="41"/>
                    <a:pt x="235" y="41"/>
                    <a:pt x="235" y="41"/>
                  </a:cubicBezTo>
                  <a:cubicBezTo>
                    <a:pt x="239" y="41"/>
                    <a:pt x="243" y="37"/>
                    <a:pt x="243" y="33"/>
                  </a:cubicBezTo>
                  <a:cubicBezTo>
                    <a:pt x="243" y="28"/>
                    <a:pt x="239" y="25"/>
                    <a:pt x="235" y="25"/>
                  </a:cubicBezTo>
                  <a:cubicBezTo>
                    <a:pt x="31" y="25"/>
                    <a:pt x="31" y="25"/>
                    <a:pt x="31" y="25"/>
                  </a:cubicBezTo>
                  <a:cubicBezTo>
                    <a:pt x="14" y="25"/>
                    <a:pt x="0" y="39"/>
                    <a:pt x="0" y="55"/>
                  </a:cubicBezTo>
                  <a:cubicBezTo>
                    <a:pt x="0" y="290"/>
                    <a:pt x="0" y="290"/>
                    <a:pt x="0" y="290"/>
                  </a:cubicBezTo>
                  <a:cubicBezTo>
                    <a:pt x="0" y="307"/>
                    <a:pt x="14" y="320"/>
                    <a:pt x="31" y="320"/>
                  </a:cubicBezTo>
                  <a:cubicBezTo>
                    <a:pt x="265" y="320"/>
                    <a:pt x="265" y="320"/>
                    <a:pt x="265" y="320"/>
                  </a:cubicBezTo>
                  <a:cubicBezTo>
                    <a:pt x="282" y="320"/>
                    <a:pt x="295" y="307"/>
                    <a:pt x="295" y="290"/>
                  </a:cubicBezTo>
                  <a:cubicBezTo>
                    <a:pt x="295" y="74"/>
                    <a:pt x="295" y="74"/>
                    <a:pt x="295" y="74"/>
                  </a:cubicBezTo>
                  <a:cubicBezTo>
                    <a:pt x="295" y="69"/>
                    <a:pt x="292" y="66"/>
                    <a:pt x="287" y="66"/>
                  </a:cubicBezTo>
                  <a:close/>
                  <a:moveTo>
                    <a:pt x="299" y="3"/>
                  </a:moveTo>
                  <a:cubicBezTo>
                    <a:pt x="296" y="0"/>
                    <a:pt x="291" y="1"/>
                    <a:pt x="288" y="4"/>
                  </a:cubicBezTo>
                  <a:cubicBezTo>
                    <a:pt x="288" y="5"/>
                    <a:pt x="187" y="132"/>
                    <a:pt x="144" y="229"/>
                  </a:cubicBezTo>
                  <a:cubicBezTo>
                    <a:pt x="124" y="180"/>
                    <a:pt x="95" y="153"/>
                    <a:pt x="94" y="152"/>
                  </a:cubicBezTo>
                  <a:cubicBezTo>
                    <a:pt x="91" y="149"/>
                    <a:pt x="86" y="150"/>
                    <a:pt x="83" y="153"/>
                  </a:cubicBezTo>
                  <a:cubicBezTo>
                    <a:pt x="80" y="156"/>
                    <a:pt x="80" y="161"/>
                    <a:pt x="83" y="164"/>
                  </a:cubicBezTo>
                  <a:cubicBezTo>
                    <a:pt x="83" y="164"/>
                    <a:pt x="83" y="164"/>
                    <a:pt x="83" y="164"/>
                  </a:cubicBezTo>
                  <a:cubicBezTo>
                    <a:pt x="83" y="164"/>
                    <a:pt x="84" y="165"/>
                    <a:pt x="85" y="165"/>
                  </a:cubicBezTo>
                  <a:cubicBezTo>
                    <a:pt x="91" y="172"/>
                    <a:pt x="120" y="203"/>
                    <a:pt x="136" y="254"/>
                  </a:cubicBezTo>
                  <a:cubicBezTo>
                    <a:pt x="137" y="257"/>
                    <a:pt x="139" y="260"/>
                    <a:pt x="143" y="260"/>
                  </a:cubicBezTo>
                  <a:cubicBezTo>
                    <a:pt x="143" y="260"/>
                    <a:pt x="143" y="260"/>
                    <a:pt x="143" y="260"/>
                  </a:cubicBezTo>
                  <a:cubicBezTo>
                    <a:pt x="147" y="260"/>
                    <a:pt x="150" y="258"/>
                    <a:pt x="151" y="255"/>
                  </a:cubicBezTo>
                  <a:cubicBezTo>
                    <a:pt x="168" y="208"/>
                    <a:pt x="206" y="147"/>
                    <a:pt x="239" y="99"/>
                  </a:cubicBezTo>
                  <a:cubicBezTo>
                    <a:pt x="255" y="75"/>
                    <a:pt x="271" y="54"/>
                    <a:pt x="282" y="38"/>
                  </a:cubicBezTo>
                  <a:cubicBezTo>
                    <a:pt x="294" y="23"/>
                    <a:pt x="301" y="14"/>
                    <a:pt x="301" y="14"/>
                  </a:cubicBezTo>
                  <a:cubicBezTo>
                    <a:pt x="304" y="11"/>
                    <a:pt x="303" y="6"/>
                    <a:pt x="299" y="3"/>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9" name="TextBox 118"/>
            <p:cNvSpPr txBox="1"/>
            <p:nvPr/>
          </p:nvSpPr>
          <p:spPr bwMode="auto">
            <a:xfrm>
              <a:off x="7193087" y="2158547"/>
              <a:ext cx="3834144" cy="861774"/>
            </a:xfrm>
            <a:prstGeom prst="rect">
              <a:avLst/>
            </a:prstGeom>
            <a:noFill/>
          </p:spPr>
          <p:txBody>
            <a:bodyPr wrap="square">
              <a:spAutoFit/>
            </a:bodyPr>
            <a:lstStyle/>
            <a:p>
              <a:pPr algn="l">
                <a:defRPr/>
              </a:pPr>
              <a:r>
                <a:rPr lang="en-US" sz="2400" dirty="0" smtClean="0">
                  <a:solidFill>
                    <a:srgbClr val="00A9D4"/>
                  </a:solidFill>
                  <a:latin typeface="+mj-lt"/>
                </a:rPr>
                <a:t>Thought</a:t>
              </a:r>
              <a:r>
                <a:rPr lang="en-US" sz="2600" dirty="0" smtClean="0">
                  <a:solidFill>
                    <a:srgbClr val="00A9D4"/>
                  </a:solidFill>
                  <a:latin typeface="+mj-lt"/>
                </a:rPr>
                <a:t> </a:t>
              </a:r>
              <a:r>
                <a:rPr lang="en-US" sz="2400" dirty="0" smtClean="0">
                  <a:solidFill>
                    <a:srgbClr val="00A9D4"/>
                  </a:solidFill>
                  <a:latin typeface="+mj-lt"/>
                </a:rPr>
                <a:t>Leader</a:t>
              </a:r>
              <a:endParaRPr lang="en-US" sz="2600" dirty="0">
                <a:solidFill>
                  <a:srgbClr val="00A9D4"/>
                </a:solidFill>
                <a:latin typeface="+mj-lt"/>
              </a:endParaRPr>
            </a:p>
          </p:txBody>
        </p:sp>
      </p:grpSp>
      <p:grpSp>
        <p:nvGrpSpPr>
          <p:cNvPr id="120" name="Group 119"/>
          <p:cNvGrpSpPr/>
          <p:nvPr/>
        </p:nvGrpSpPr>
        <p:grpSpPr>
          <a:xfrm>
            <a:off x="359238" y="5056787"/>
            <a:ext cx="4136812" cy="924749"/>
            <a:chOff x="6693463" y="2126350"/>
            <a:chExt cx="4333768" cy="924749"/>
          </a:xfrm>
        </p:grpSpPr>
        <p:sp>
          <p:nvSpPr>
            <p:cNvPr id="121" name="Freeform 3"/>
            <p:cNvSpPr>
              <a:spLocks noChangeAspect="1" noEditPoints="1"/>
            </p:cNvSpPr>
            <p:nvPr/>
          </p:nvSpPr>
          <p:spPr bwMode="auto">
            <a:xfrm>
              <a:off x="6693463" y="2126350"/>
              <a:ext cx="499624" cy="524640"/>
            </a:xfrm>
            <a:custGeom>
              <a:avLst/>
              <a:gdLst>
                <a:gd name="T0" fmla="*/ 2147483647 w 304"/>
                <a:gd name="T1" fmla="*/ 2147483647 h 320"/>
                <a:gd name="T2" fmla="*/ 2147483647 w 304"/>
                <a:gd name="T3" fmla="*/ 2147483647 h 320"/>
                <a:gd name="T4" fmla="*/ 2147483647 w 304"/>
                <a:gd name="T5" fmla="*/ 2147483647 h 320"/>
                <a:gd name="T6" fmla="*/ 2147483647 w 304"/>
                <a:gd name="T7" fmla="*/ 2147483647 h 320"/>
                <a:gd name="T8" fmla="*/ 2147483647 w 304"/>
                <a:gd name="T9" fmla="*/ 2147483647 h 320"/>
                <a:gd name="T10" fmla="*/ 2147483647 w 304"/>
                <a:gd name="T11" fmla="*/ 2147483647 h 320"/>
                <a:gd name="T12" fmla="*/ 2147483647 w 304"/>
                <a:gd name="T13" fmla="*/ 2147483647 h 320"/>
                <a:gd name="T14" fmla="*/ 2147483647 w 304"/>
                <a:gd name="T15" fmla="*/ 2147483647 h 320"/>
                <a:gd name="T16" fmla="*/ 2147483647 w 304"/>
                <a:gd name="T17" fmla="*/ 2147483647 h 320"/>
                <a:gd name="T18" fmla="*/ 2147483647 w 304"/>
                <a:gd name="T19" fmla="*/ 2147483647 h 320"/>
                <a:gd name="T20" fmla="*/ 2147483647 w 304"/>
                <a:gd name="T21" fmla="*/ 2147483647 h 320"/>
                <a:gd name="T22" fmla="*/ 2147483647 w 304"/>
                <a:gd name="T23" fmla="*/ 2147483647 h 320"/>
                <a:gd name="T24" fmla="*/ 0 w 304"/>
                <a:gd name="T25" fmla="*/ 2147483647 h 320"/>
                <a:gd name="T26" fmla="*/ 0 w 304"/>
                <a:gd name="T27" fmla="*/ 2147483647 h 320"/>
                <a:gd name="T28" fmla="*/ 2147483647 w 304"/>
                <a:gd name="T29" fmla="*/ 2147483647 h 320"/>
                <a:gd name="T30" fmla="*/ 2147483647 w 304"/>
                <a:gd name="T31" fmla="*/ 2147483647 h 320"/>
                <a:gd name="T32" fmla="*/ 2147483647 w 304"/>
                <a:gd name="T33" fmla="*/ 2147483647 h 320"/>
                <a:gd name="T34" fmla="*/ 2147483647 w 304"/>
                <a:gd name="T35" fmla="*/ 2147483647 h 320"/>
                <a:gd name="T36" fmla="*/ 2147483647 w 304"/>
                <a:gd name="T37" fmla="*/ 2147483647 h 320"/>
                <a:gd name="T38" fmla="*/ 2147483647 w 304"/>
                <a:gd name="T39" fmla="*/ 2147483647 h 320"/>
                <a:gd name="T40" fmla="*/ 2147483647 w 304"/>
                <a:gd name="T41" fmla="*/ 2147483647 h 320"/>
                <a:gd name="T42" fmla="*/ 2147483647 w 304"/>
                <a:gd name="T43" fmla="*/ 2147483647 h 320"/>
                <a:gd name="T44" fmla="*/ 2147483647 w 304"/>
                <a:gd name="T45" fmla="*/ 2147483647 h 320"/>
                <a:gd name="T46" fmla="*/ 2147483647 w 304"/>
                <a:gd name="T47" fmla="*/ 2147483647 h 320"/>
                <a:gd name="T48" fmla="*/ 2147483647 w 304"/>
                <a:gd name="T49" fmla="*/ 2147483647 h 320"/>
                <a:gd name="T50" fmla="*/ 2147483647 w 304"/>
                <a:gd name="T51" fmla="*/ 2147483647 h 320"/>
                <a:gd name="T52" fmla="*/ 2147483647 w 304"/>
                <a:gd name="T53" fmla="*/ 2147483647 h 320"/>
                <a:gd name="T54" fmla="*/ 2147483647 w 304"/>
                <a:gd name="T55" fmla="*/ 2147483647 h 320"/>
                <a:gd name="T56" fmla="*/ 2147483647 w 304"/>
                <a:gd name="T57" fmla="*/ 2147483647 h 320"/>
                <a:gd name="T58" fmla="*/ 2147483647 w 304"/>
                <a:gd name="T59" fmla="*/ 2147483647 h 320"/>
                <a:gd name="T60" fmla="*/ 2147483647 w 304"/>
                <a:gd name="T61" fmla="*/ 2147483647 h 320"/>
                <a:gd name="T62" fmla="*/ 2147483647 w 304"/>
                <a:gd name="T63" fmla="*/ 2147483647 h 320"/>
                <a:gd name="T64" fmla="*/ 2147483647 w 304"/>
                <a:gd name="T65" fmla="*/ 2147483647 h 320"/>
                <a:gd name="T66" fmla="*/ 2147483647 w 304"/>
                <a:gd name="T67" fmla="*/ 2147483647 h 320"/>
                <a:gd name="T68" fmla="*/ 2147483647 w 304"/>
                <a:gd name="T69" fmla="*/ 2147483647 h 32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04" h="320">
                  <a:moveTo>
                    <a:pt x="287" y="66"/>
                  </a:moveTo>
                  <a:cubicBezTo>
                    <a:pt x="283" y="66"/>
                    <a:pt x="279" y="69"/>
                    <a:pt x="279" y="74"/>
                  </a:cubicBezTo>
                  <a:cubicBezTo>
                    <a:pt x="279" y="290"/>
                    <a:pt x="279" y="290"/>
                    <a:pt x="279" y="290"/>
                  </a:cubicBezTo>
                  <a:cubicBezTo>
                    <a:pt x="279" y="298"/>
                    <a:pt x="273" y="304"/>
                    <a:pt x="265" y="304"/>
                  </a:cubicBezTo>
                  <a:cubicBezTo>
                    <a:pt x="31" y="304"/>
                    <a:pt x="31" y="304"/>
                    <a:pt x="31" y="304"/>
                  </a:cubicBezTo>
                  <a:cubicBezTo>
                    <a:pt x="22" y="304"/>
                    <a:pt x="16" y="298"/>
                    <a:pt x="16" y="290"/>
                  </a:cubicBezTo>
                  <a:cubicBezTo>
                    <a:pt x="16" y="55"/>
                    <a:pt x="16" y="55"/>
                    <a:pt x="16" y="55"/>
                  </a:cubicBezTo>
                  <a:cubicBezTo>
                    <a:pt x="16" y="47"/>
                    <a:pt x="22" y="41"/>
                    <a:pt x="31" y="41"/>
                  </a:cubicBezTo>
                  <a:cubicBezTo>
                    <a:pt x="235" y="41"/>
                    <a:pt x="235" y="41"/>
                    <a:pt x="235" y="41"/>
                  </a:cubicBezTo>
                  <a:cubicBezTo>
                    <a:pt x="239" y="41"/>
                    <a:pt x="243" y="37"/>
                    <a:pt x="243" y="33"/>
                  </a:cubicBezTo>
                  <a:cubicBezTo>
                    <a:pt x="243" y="28"/>
                    <a:pt x="239" y="25"/>
                    <a:pt x="235" y="25"/>
                  </a:cubicBezTo>
                  <a:cubicBezTo>
                    <a:pt x="31" y="25"/>
                    <a:pt x="31" y="25"/>
                    <a:pt x="31" y="25"/>
                  </a:cubicBezTo>
                  <a:cubicBezTo>
                    <a:pt x="14" y="25"/>
                    <a:pt x="0" y="39"/>
                    <a:pt x="0" y="55"/>
                  </a:cubicBezTo>
                  <a:cubicBezTo>
                    <a:pt x="0" y="290"/>
                    <a:pt x="0" y="290"/>
                    <a:pt x="0" y="290"/>
                  </a:cubicBezTo>
                  <a:cubicBezTo>
                    <a:pt x="0" y="307"/>
                    <a:pt x="14" y="320"/>
                    <a:pt x="31" y="320"/>
                  </a:cubicBezTo>
                  <a:cubicBezTo>
                    <a:pt x="265" y="320"/>
                    <a:pt x="265" y="320"/>
                    <a:pt x="265" y="320"/>
                  </a:cubicBezTo>
                  <a:cubicBezTo>
                    <a:pt x="282" y="320"/>
                    <a:pt x="295" y="307"/>
                    <a:pt x="295" y="290"/>
                  </a:cubicBezTo>
                  <a:cubicBezTo>
                    <a:pt x="295" y="74"/>
                    <a:pt x="295" y="74"/>
                    <a:pt x="295" y="74"/>
                  </a:cubicBezTo>
                  <a:cubicBezTo>
                    <a:pt x="295" y="69"/>
                    <a:pt x="292" y="66"/>
                    <a:pt x="287" y="66"/>
                  </a:cubicBezTo>
                  <a:close/>
                  <a:moveTo>
                    <a:pt x="299" y="3"/>
                  </a:moveTo>
                  <a:cubicBezTo>
                    <a:pt x="296" y="0"/>
                    <a:pt x="291" y="1"/>
                    <a:pt x="288" y="4"/>
                  </a:cubicBezTo>
                  <a:cubicBezTo>
                    <a:pt x="288" y="5"/>
                    <a:pt x="187" y="132"/>
                    <a:pt x="144" y="229"/>
                  </a:cubicBezTo>
                  <a:cubicBezTo>
                    <a:pt x="124" y="180"/>
                    <a:pt x="95" y="153"/>
                    <a:pt x="94" y="152"/>
                  </a:cubicBezTo>
                  <a:cubicBezTo>
                    <a:pt x="91" y="149"/>
                    <a:pt x="86" y="150"/>
                    <a:pt x="83" y="153"/>
                  </a:cubicBezTo>
                  <a:cubicBezTo>
                    <a:pt x="80" y="156"/>
                    <a:pt x="80" y="161"/>
                    <a:pt x="83" y="164"/>
                  </a:cubicBezTo>
                  <a:cubicBezTo>
                    <a:pt x="83" y="164"/>
                    <a:pt x="83" y="164"/>
                    <a:pt x="83" y="164"/>
                  </a:cubicBezTo>
                  <a:cubicBezTo>
                    <a:pt x="83" y="164"/>
                    <a:pt x="84" y="165"/>
                    <a:pt x="85" y="165"/>
                  </a:cubicBezTo>
                  <a:cubicBezTo>
                    <a:pt x="91" y="172"/>
                    <a:pt x="120" y="203"/>
                    <a:pt x="136" y="254"/>
                  </a:cubicBezTo>
                  <a:cubicBezTo>
                    <a:pt x="137" y="257"/>
                    <a:pt x="139" y="260"/>
                    <a:pt x="143" y="260"/>
                  </a:cubicBezTo>
                  <a:cubicBezTo>
                    <a:pt x="143" y="260"/>
                    <a:pt x="143" y="260"/>
                    <a:pt x="143" y="260"/>
                  </a:cubicBezTo>
                  <a:cubicBezTo>
                    <a:pt x="147" y="260"/>
                    <a:pt x="150" y="258"/>
                    <a:pt x="151" y="255"/>
                  </a:cubicBezTo>
                  <a:cubicBezTo>
                    <a:pt x="168" y="208"/>
                    <a:pt x="206" y="147"/>
                    <a:pt x="239" y="99"/>
                  </a:cubicBezTo>
                  <a:cubicBezTo>
                    <a:pt x="255" y="75"/>
                    <a:pt x="271" y="54"/>
                    <a:pt x="282" y="38"/>
                  </a:cubicBezTo>
                  <a:cubicBezTo>
                    <a:pt x="294" y="23"/>
                    <a:pt x="301" y="14"/>
                    <a:pt x="301" y="14"/>
                  </a:cubicBezTo>
                  <a:cubicBezTo>
                    <a:pt x="304" y="11"/>
                    <a:pt x="303" y="6"/>
                    <a:pt x="299" y="3"/>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2" name="TextBox 121"/>
            <p:cNvSpPr txBox="1"/>
            <p:nvPr/>
          </p:nvSpPr>
          <p:spPr bwMode="auto">
            <a:xfrm>
              <a:off x="7193087" y="2158547"/>
              <a:ext cx="3834144" cy="892552"/>
            </a:xfrm>
            <a:prstGeom prst="rect">
              <a:avLst/>
            </a:prstGeom>
            <a:noFill/>
          </p:spPr>
          <p:txBody>
            <a:bodyPr wrap="square">
              <a:spAutoFit/>
            </a:bodyPr>
            <a:lstStyle/>
            <a:p>
              <a:pPr algn="l">
                <a:defRPr/>
              </a:pPr>
              <a:r>
                <a:rPr lang="en-US" sz="2400" dirty="0" smtClean="0">
                  <a:solidFill>
                    <a:srgbClr val="00A9D4"/>
                  </a:solidFill>
                  <a:latin typeface="+mj-lt"/>
                </a:rPr>
                <a:t>Maximize</a:t>
              </a:r>
              <a:r>
                <a:rPr lang="en-US" sz="2600" dirty="0" smtClean="0">
                  <a:solidFill>
                    <a:srgbClr val="00A9D4"/>
                  </a:solidFill>
                  <a:latin typeface="+mj-lt"/>
                </a:rPr>
                <a:t> Reuse</a:t>
              </a:r>
              <a:endParaRPr lang="en-US" sz="2600" dirty="0">
                <a:solidFill>
                  <a:srgbClr val="00A9D4"/>
                </a:solidFill>
                <a:latin typeface="+mj-lt"/>
              </a:endParaRPr>
            </a:p>
          </p:txBody>
        </p:sp>
      </p:grpSp>
      <p:grpSp>
        <p:nvGrpSpPr>
          <p:cNvPr id="123" name="Group 122"/>
          <p:cNvGrpSpPr/>
          <p:nvPr/>
        </p:nvGrpSpPr>
        <p:grpSpPr>
          <a:xfrm>
            <a:off x="359238" y="5793531"/>
            <a:ext cx="4136812" cy="524640"/>
            <a:chOff x="6693463" y="2126350"/>
            <a:chExt cx="4333768" cy="524640"/>
          </a:xfrm>
        </p:grpSpPr>
        <p:sp>
          <p:nvSpPr>
            <p:cNvPr id="124" name="Freeform 3"/>
            <p:cNvSpPr>
              <a:spLocks noChangeAspect="1" noEditPoints="1"/>
            </p:cNvSpPr>
            <p:nvPr/>
          </p:nvSpPr>
          <p:spPr bwMode="auto">
            <a:xfrm>
              <a:off x="6693463" y="2126350"/>
              <a:ext cx="499624" cy="524640"/>
            </a:xfrm>
            <a:custGeom>
              <a:avLst/>
              <a:gdLst>
                <a:gd name="T0" fmla="*/ 2147483647 w 304"/>
                <a:gd name="T1" fmla="*/ 2147483647 h 320"/>
                <a:gd name="T2" fmla="*/ 2147483647 w 304"/>
                <a:gd name="T3" fmla="*/ 2147483647 h 320"/>
                <a:gd name="T4" fmla="*/ 2147483647 w 304"/>
                <a:gd name="T5" fmla="*/ 2147483647 h 320"/>
                <a:gd name="T6" fmla="*/ 2147483647 w 304"/>
                <a:gd name="T7" fmla="*/ 2147483647 h 320"/>
                <a:gd name="T8" fmla="*/ 2147483647 w 304"/>
                <a:gd name="T9" fmla="*/ 2147483647 h 320"/>
                <a:gd name="T10" fmla="*/ 2147483647 w 304"/>
                <a:gd name="T11" fmla="*/ 2147483647 h 320"/>
                <a:gd name="T12" fmla="*/ 2147483647 w 304"/>
                <a:gd name="T13" fmla="*/ 2147483647 h 320"/>
                <a:gd name="T14" fmla="*/ 2147483647 w 304"/>
                <a:gd name="T15" fmla="*/ 2147483647 h 320"/>
                <a:gd name="T16" fmla="*/ 2147483647 w 304"/>
                <a:gd name="T17" fmla="*/ 2147483647 h 320"/>
                <a:gd name="T18" fmla="*/ 2147483647 w 304"/>
                <a:gd name="T19" fmla="*/ 2147483647 h 320"/>
                <a:gd name="T20" fmla="*/ 2147483647 w 304"/>
                <a:gd name="T21" fmla="*/ 2147483647 h 320"/>
                <a:gd name="T22" fmla="*/ 2147483647 w 304"/>
                <a:gd name="T23" fmla="*/ 2147483647 h 320"/>
                <a:gd name="T24" fmla="*/ 0 w 304"/>
                <a:gd name="T25" fmla="*/ 2147483647 h 320"/>
                <a:gd name="T26" fmla="*/ 0 w 304"/>
                <a:gd name="T27" fmla="*/ 2147483647 h 320"/>
                <a:gd name="T28" fmla="*/ 2147483647 w 304"/>
                <a:gd name="T29" fmla="*/ 2147483647 h 320"/>
                <a:gd name="T30" fmla="*/ 2147483647 w 304"/>
                <a:gd name="T31" fmla="*/ 2147483647 h 320"/>
                <a:gd name="T32" fmla="*/ 2147483647 w 304"/>
                <a:gd name="T33" fmla="*/ 2147483647 h 320"/>
                <a:gd name="T34" fmla="*/ 2147483647 w 304"/>
                <a:gd name="T35" fmla="*/ 2147483647 h 320"/>
                <a:gd name="T36" fmla="*/ 2147483647 w 304"/>
                <a:gd name="T37" fmla="*/ 2147483647 h 320"/>
                <a:gd name="T38" fmla="*/ 2147483647 w 304"/>
                <a:gd name="T39" fmla="*/ 2147483647 h 320"/>
                <a:gd name="T40" fmla="*/ 2147483647 w 304"/>
                <a:gd name="T41" fmla="*/ 2147483647 h 320"/>
                <a:gd name="T42" fmla="*/ 2147483647 w 304"/>
                <a:gd name="T43" fmla="*/ 2147483647 h 320"/>
                <a:gd name="T44" fmla="*/ 2147483647 w 304"/>
                <a:gd name="T45" fmla="*/ 2147483647 h 320"/>
                <a:gd name="T46" fmla="*/ 2147483647 w 304"/>
                <a:gd name="T47" fmla="*/ 2147483647 h 320"/>
                <a:gd name="T48" fmla="*/ 2147483647 w 304"/>
                <a:gd name="T49" fmla="*/ 2147483647 h 320"/>
                <a:gd name="T50" fmla="*/ 2147483647 w 304"/>
                <a:gd name="T51" fmla="*/ 2147483647 h 320"/>
                <a:gd name="T52" fmla="*/ 2147483647 w 304"/>
                <a:gd name="T53" fmla="*/ 2147483647 h 320"/>
                <a:gd name="T54" fmla="*/ 2147483647 w 304"/>
                <a:gd name="T55" fmla="*/ 2147483647 h 320"/>
                <a:gd name="T56" fmla="*/ 2147483647 w 304"/>
                <a:gd name="T57" fmla="*/ 2147483647 h 320"/>
                <a:gd name="T58" fmla="*/ 2147483647 w 304"/>
                <a:gd name="T59" fmla="*/ 2147483647 h 320"/>
                <a:gd name="T60" fmla="*/ 2147483647 w 304"/>
                <a:gd name="T61" fmla="*/ 2147483647 h 320"/>
                <a:gd name="T62" fmla="*/ 2147483647 w 304"/>
                <a:gd name="T63" fmla="*/ 2147483647 h 320"/>
                <a:gd name="T64" fmla="*/ 2147483647 w 304"/>
                <a:gd name="T65" fmla="*/ 2147483647 h 320"/>
                <a:gd name="T66" fmla="*/ 2147483647 w 304"/>
                <a:gd name="T67" fmla="*/ 2147483647 h 320"/>
                <a:gd name="T68" fmla="*/ 2147483647 w 304"/>
                <a:gd name="T69" fmla="*/ 2147483647 h 32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04" h="320">
                  <a:moveTo>
                    <a:pt x="287" y="66"/>
                  </a:moveTo>
                  <a:cubicBezTo>
                    <a:pt x="283" y="66"/>
                    <a:pt x="279" y="69"/>
                    <a:pt x="279" y="74"/>
                  </a:cubicBezTo>
                  <a:cubicBezTo>
                    <a:pt x="279" y="290"/>
                    <a:pt x="279" y="290"/>
                    <a:pt x="279" y="290"/>
                  </a:cubicBezTo>
                  <a:cubicBezTo>
                    <a:pt x="279" y="298"/>
                    <a:pt x="273" y="304"/>
                    <a:pt x="265" y="304"/>
                  </a:cubicBezTo>
                  <a:cubicBezTo>
                    <a:pt x="31" y="304"/>
                    <a:pt x="31" y="304"/>
                    <a:pt x="31" y="304"/>
                  </a:cubicBezTo>
                  <a:cubicBezTo>
                    <a:pt x="22" y="304"/>
                    <a:pt x="16" y="298"/>
                    <a:pt x="16" y="290"/>
                  </a:cubicBezTo>
                  <a:cubicBezTo>
                    <a:pt x="16" y="55"/>
                    <a:pt x="16" y="55"/>
                    <a:pt x="16" y="55"/>
                  </a:cubicBezTo>
                  <a:cubicBezTo>
                    <a:pt x="16" y="47"/>
                    <a:pt x="22" y="41"/>
                    <a:pt x="31" y="41"/>
                  </a:cubicBezTo>
                  <a:cubicBezTo>
                    <a:pt x="235" y="41"/>
                    <a:pt x="235" y="41"/>
                    <a:pt x="235" y="41"/>
                  </a:cubicBezTo>
                  <a:cubicBezTo>
                    <a:pt x="239" y="41"/>
                    <a:pt x="243" y="37"/>
                    <a:pt x="243" y="33"/>
                  </a:cubicBezTo>
                  <a:cubicBezTo>
                    <a:pt x="243" y="28"/>
                    <a:pt x="239" y="25"/>
                    <a:pt x="235" y="25"/>
                  </a:cubicBezTo>
                  <a:cubicBezTo>
                    <a:pt x="31" y="25"/>
                    <a:pt x="31" y="25"/>
                    <a:pt x="31" y="25"/>
                  </a:cubicBezTo>
                  <a:cubicBezTo>
                    <a:pt x="14" y="25"/>
                    <a:pt x="0" y="39"/>
                    <a:pt x="0" y="55"/>
                  </a:cubicBezTo>
                  <a:cubicBezTo>
                    <a:pt x="0" y="290"/>
                    <a:pt x="0" y="290"/>
                    <a:pt x="0" y="290"/>
                  </a:cubicBezTo>
                  <a:cubicBezTo>
                    <a:pt x="0" y="307"/>
                    <a:pt x="14" y="320"/>
                    <a:pt x="31" y="320"/>
                  </a:cubicBezTo>
                  <a:cubicBezTo>
                    <a:pt x="265" y="320"/>
                    <a:pt x="265" y="320"/>
                    <a:pt x="265" y="320"/>
                  </a:cubicBezTo>
                  <a:cubicBezTo>
                    <a:pt x="282" y="320"/>
                    <a:pt x="295" y="307"/>
                    <a:pt x="295" y="290"/>
                  </a:cubicBezTo>
                  <a:cubicBezTo>
                    <a:pt x="295" y="74"/>
                    <a:pt x="295" y="74"/>
                    <a:pt x="295" y="74"/>
                  </a:cubicBezTo>
                  <a:cubicBezTo>
                    <a:pt x="295" y="69"/>
                    <a:pt x="292" y="66"/>
                    <a:pt x="287" y="66"/>
                  </a:cubicBezTo>
                  <a:close/>
                  <a:moveTo>
                    <a:pt x="299" y="3"/>
                  </a:moveTo>
                  <a:cubicBezTo>
                    <a:pt x="296" y="0"/>
                    <a:pt x="291" y="1"/>
                    <a:pt x="288" y="4"/>
                  </a:cubicBezTo>
                  <a:cubicBezTo>
                    <a:pt x="288" y="5"/>
                    <a:pt x="187" y="132"/>
                    <a:pt x="144" y="229"/>
                  </a:cubicBezTo>
                  <a:cubicBezTo>
                    <a:pt x="124" y="180"/>
                    <a:pt x="95" y="153"/>
                    <a:pt x="94" y="152"/>
                  </a:cubicBezTo>
                  <a:cubicBezTo>
                    <a:pt x="91" y="149"/>
                    <a:pt x="86" y="150"/>
                    <a:pt x="83" y="153"/>
                  </a:cubicBezTo>
                  <a:cubicBezTo>
                    <a:pt x="80" y="156"/>
                    <a:pt x="80" y="161"/>
                    <a:pt x="83" y="164"/>
                  </a:cubicBezTo>
                  <a:cubicBezTo>
                    <a:pt x="83" y="164"/>
                    <a:pt x="83" y="164"/>
                    <a:pt x="83" y="164"/>
                  </a:cubicBezTo>
                  <a:cubicBezTo>
                    <a:pt x="83" y="164"/>
                    <a:pt x="84" y="165"/>
                    <a:pt x="85" y="165"/>
                  </a:cubicBezTo>
                  <a:cubicBezTo>
                    <a:pt x="91" y="172"/>
                    <a:pt x="120" y="203"/>
                    <a:pt x="136" y="254"/>
                  </a:cubicBezTo>
                  <a:cubicBezTo>
                    <a:pt x="137" y="257"/>
                    <a:pt x="139" y="260"/>
                    <a:pt x="143" y="260"/>
                  </a:cubicBezTo>
                  <a:cubicBezTo>
                    <a:pt x="143" y="260"/>
                    <a:pt x="143" y="260"/>
                    <a:pt x="143" y="260"/>
                  </a:cubicBezTo>
                  <a:cubicBezTo>
                    <a:pt x="147" y="260"/>
                    <a:pt x="150" y="258"/>
                    <a:pt x="151" y="255"/>
                  </a:cubicBezTo>
                  <a:cubicBezTo>
                    <a:pt x="168" y="208"/>
                    <a:pt x="206" y="147"/>
                    <a:pt x="239" y="99"/>
                  </a:cubicBezTo>
                  <a:cubicBezTo>
                    <a:pt x="255" y="75"/>
                    <a:pt x="271" y="54"/>
                    <a:pt x="282" y="38"/>
                  </a:cubicBezTo>
                  <a:cubicBezTo>
                    <a:pt x="294" y="23"/>
                    <a:pt x="301" y="14"/>
                    <a:pt x="301" y="14"/>
                  </a:cubicBezTo>
                  <a:cubicBezTo>
                    <a:pt x="304" y="11"/>
                    <a:pt x="303" y="6"/>
                    <a:pt x="299" y="3"/>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5" name="TextBox 124"/>
            <p:cNvSpPr txBox="1"/>
            <p:nvPr/>
          </p:nvSpPr>
          <p:spPr bwMode="auto">
            <a:xfrm>
              <a:off x="7193087" y="2158547"/>
              <a:ext cx="3834144" cy="461665"/>
            </a:xfrm>
            <a:prstGeom prst="rect">
              <a:avLst/>
            </a:prstGeom>
            <a:noFill/>
          </p:spPr>
          <p:txBody>
            <a:bodyPr wrap="square">
              <a:spAutoFit/>
            </a:bodyPr>
            <a:lstStyle/>
            <a:p>
              <a:pPr algn="l">
                <a:defRPr/>
              </a:pPr>
              <a:r>
                <a:rPr lang="en-US" sz="2400" dirty="0" smtClean="0">
                  <a:solidFill>
                    <a:srgbClr val="00A9D4"/>
                  </a:solidFill>
                  <a:latin typeface="+mj-lt"/>
                </a:rPr>
                <a:t>Componentized</a:t>
              </a:r>
              <a:endParaRPr lang="en-US" sz="2600" dirty="0">
                <a:solidFill>
                  <a:srgbClr val="00A9D4"/>
                </a:solidFill>
                <a:latin typeface="+mj-lt"/>
              </a:endParaRPr>
            </a:p>
          </p:txBody>
        </p:sp>
      </p:grpSp>
      <p:pic>
        <p:nvPicPr>
          <p:cNvPr id="99"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0102" y="3499861"/>
            <a:ext cx="2966355" cy="20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5813962" y="4527493"/>
            <a:ext cx="2961756" cy="1973884"/>
            <a:chOff x="5790357" y="2504896"/>
            <a:chExt cx="2961756" cy="1973884"/>
          </a:xfrm>
        </p:grpSpPr>
        <p:sp>
          <p:nvSpPr>
            <p:cNvPr id="31" name="Rectangle 30"/>
            <p:cNvSpPr/>
            <p:nvPr/>
          </p:nvSpPr>
          <p:spPr bwMode="auto">
            <a:xfrm>
              <a:off x="5790357" y="2504896"/>
              <a:ext cx="2961756" cy="1973884"/>
            </a:xfrm>
            <a:prstGeom prst="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smtClean="0">
                <a:solidFill>
                  <a:schemeClr val="tx1"/>
                </a:solidFill>
                <a:effectLst/>
                <a:latin typeface="Arial" charset="0"/>
              </a:endParaRPr>
            </a:p>
          </p:txBody>
        </p:sp>
        <p:graphicFrame>
          <p:nvGraphicFramePr>
            <p:cNvPr id="7172" name="Object 7171"/>
            <p:cNvGraphicFramePr>
              <a:graphicFrameLocks noChangeAspect="1"/>
            </p:cNvGraphicFramePr>
            <p:nvPr>
              <p:extLst>
                <p:ext uri="{D42A27DB-BD31-4B8C-83A1-F6EECF244321}">
                  <p14:modId xmlns:p14="http://schemas.microsoft.com/office/powerpoint/2010/main" val="2320344679"/>
                </p:ext>
              </p:extLst>
            </p:nvPr>
          </p:nvGraphicFramePr>
          <p:xfrm>
            <a:off x="5790357" y="2504896"/>
            <a:ext cx="2961756" cy="1973884"/>
          </p:xfrm>
          <a:graphic>
            <a:graphicData uri="http://schemas.openxmlformats.org/presentationml/2006/ole">
              <mc:AlternateContent xmlns:mc="http://schemas.openxmlformats.org/markup-compatibility/2006">
                <mc:Choice xmlns:v="urn:schemas-microsoft-com:vml" Requires="v">
                  <p:oleObj spid="_x0000_s33848" r:id="rId5" imgW="10432966" imgH="5090688" progId="Visio.Drawing.11">
                    <p:embed/>
                  </p:oleObj>
                </mc:Choice>
                <mc:Fallback>
                  <p:oleObj r:id="rId5" imgW="10432966" imgH="5090688" progId="Visio.Drawing.1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90357" y="2504896"/>
                          <a:ext cx="2961756" cy="1973884"/>
                        </a:xfrm>
                        <a:prstGeom prst="rect">
                          <a:avLst/>
                        </a:prstGeom>
                        <a:noFill/>
                        <a:ln w="12700">
                          <a:solidFill>
                            <a:schemeClr val="tx1">
                              <a:lumMod val="50000"/>
                            </a:schemeClr>
                          </a:solidFill>
                        </a:ln>
                      </p:spPr>
                    </p:pic>
                  </p:oleObj>
                </mc:Fallback>
              </mc:AlternateContent>
            </a:graphicData>
          </a:graphic>
        </p:graphicFrame>
      </p:grpSp>
      <p:sp>
        <p:nvSpPr>
          <p:cNvPr id="56" name="Content Placeholder 4"/>
          <p:cNvSpPr txBox="1">
            <a:spLocks/>
          </p:cNvSpPr>
          <p:nvPr/>
        </p:nvSpPr>
        <p:spPr bwMode="auto">
          <a:xfrm>
            <a:off x="4665568" y="1792941"/>
            <a:ext cx="3739792" cy="1402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0" rIns="72000" bIns="0" numCol="1" anchor="t" anchorCtr="0" compatLnSpc="1">
            <a:prstTxWarp prst="textNoShape">
              <a:avLst/>
            </a:prstTxWarp>
          </a:bodyPr>
          <a:lstStyle>
            <a:lvl1pPr marL="176213" indent="-176213" algn="l" rtl="0" eaLnBrk="0" fontAlgn="base" hangingPunct="0">
              <a:spcBef>
                <a:spcPct val="20000"/>
              </a:spcBef>
              <a:spcAft>
                <a:spcPct val="0"/>
              </a:spcAft>
              <a:buClr>
                <a:srgbClr val="00A9D4"/>
              </a:buClr>
              <a:buFont typeface="Arial" pitchFamily="34" charset="0"/>
              <a:buChar char="›"/>
              <a:defRPr sz="2400">
                <a:solidFill>
                  <a:schemeClr val="tx1"/>
                </a:solidFill>
                <a:latin typeface="+mn-lt"/>
                <a:ea typeface="+mn-ea"/>
                <a:cs typeface="+mn-cs"/>
              </a:defRPr>
            </a:lvl1pPr>
            <a:lvl2pPr marL="533400" indent="-177800"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0" fontAlgn="base" hangingPunct="0">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nSpc>
                <a:spcPct val="90000"/>
              </a:lnSpc>
              <a:spcBef>
                <a:spcPct val="0"/>
              </a:spcBef>
              <a:spcAft>
                <a:spcPts val="1200"/>
              </a:spcAft>
              <a:buClr>
                <a:schemeClr val="bg1"/>
              </a:buClr>
              <a:buNone/>
            </a:pPr>
            <a:r>
              <a:rPr lang="en-US" sz="2000" dirty="0" smtClean="0">
                <a:solidFill>
                  <a:schemeClr val="tx1">
                    <a:lumMod val="75000"/>
                  </a:schemeClr>
                </a:solidFill>
              </a:rPr>
              <a:t>Roadmap</a:t>
            </a:r>
          </a:p>
          <a:p>
            <a:pPr>
              <a:lnSpc>
                <a:spcPct val="90000"/>
              </a:lnSpc>
              <a:spcBef>
                <a:spcPct val="0"/>
              </a:spcBef>
              <a:spcAft>
                <a:spcPts val="600"/>
              </a:spcAft>
            </a:pPr>
            <a:r>
              <a:rPr lang="en-US" sz="1800" dirty="0" smtClean="0">
                <a:solidFill>
                  <a:schemeClr val="tx1">
                    <a:lumMod val="75000"/>
                  </a:schemeClr>
                </a:solidFill>
              </a:rPr>
              <a:t>GA in Release 14.1</a:t>
            </a:r>
          </a:p>
          <a:p>
            <a:pPr>
              <a:lnSpc>
                <a:spcPct val="90000"/>
              </a:lnSpc>
              <a:spcBef>
                <a:spcPct val="0"/>
              </a:spcBef>
              <a:spcAft>
                <a:spcPts val="600"/>
              </a:spcAft>
            </a:pPr>
            <a:r>
              <a:rPr lang="en-US" sz="1800" dirty="0" smtClean="0">
                <a:solidFill>
                  <a:schemeClr val="tx1">
                    <a:lumMod val="75000"/>
                  </a:schemeClr>
                </a:solidFill>
              </a:rPr>
              <a:t>Plug </a:t>
            </a:r>
            <a:r>
              <a:rPr lang="en-US" sz="1800" dirty="0">
                <a:solidFill>
                  <a:schemeClr val="tx1">
                    <a:lumMod val="75000"/>
                  </a:schemeClr>
                </a:solidFill>
              </a:rPr>
              <a:t>and </a:t>
            </a:r>
            <a:r>
              <a:rPr lang="en-US" sz="1800" dirty="0" smtClean="0">
                <a:solidFill>
                  <a:schemeClr val="tx1">
                    <a:lumMod val="75000"/>
                  </a:schemeClr>
                </a:solidFill>
              </a:rPr>
              <a:t>Play catalog models MEF, Quad-play in Release 16.0</a:t>
            </a:r>
            <a:endParaRPr lang="en-US" sz="1800" dirty="0">
              <a:solidFill>
                <a:schemeClr val="tx1">
                  <a:lumMod val="75000"/>
                </a:schemeClr>
              </a:solidFill>
            </a:endParaRPr>
          </a:p>
          <a:p>
            <a:pPr>
              <a:lnSpc>
                <a:spcPct val="90000"/>
              </a:lnSpc>
              <a:spcBef>
                <a:spcPct val="0"/>
              </a:spcBef>
              <a:spcAft>
                <a:spcPts val="600"/>
              </a:spcAft>
              <a:buClr>
                <a:schemeClr val="accent2"/>
              </a:buClr>
            </a:pPr>
            <a:endParaRPr lang="en-US" sz="1800" dirty="0" smtClean="0">
              <a:solidFill>
                <a:schemeClr val="tx1">
                  <a:lumMod val="75000"/>
                </a:schemeClr>
              </a:solidFill>
            </a:endParaRPr>
          </a:p>
        </p:txBody>
      </p:sp>
      <p:sp>
        <p:nvSpPr>
          <p:cNvPr id="33" name="Rounded Rectangle 32"/>
          <p:cNvSpPr/>
          <p:nvPr/>
        </p:nvSpPr>
        <p:spPr bwMode="auto">
          <a:xfrm>
            <a:off x="4496050" y="1642172"/>
            <a:ext cx="3909310" cy="1553763"/>
          </a:xfrm>
          <a:prstGeom prst="roundRect">
            <a:avLst>
              <a:gd name="adj" fmla="val 10219"/>
            </a:avLst>
          </a:prstGeom>
          <a:noFill/>
          <a:ln w="28575" cap="flat" cmpd="sng" algn="ctr">
            <a:solidFill>
              <a:srgbClr val="00A9D4"/>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smtClean="0">
              <a:ln w="38100">
                <a:solidFill>
                  <a:schemeClr val="tx1"/>
                </a:solidFill>
              </a:ln>
              <a:solidFill>
                <a:schemeClr val="tx1"/>
              </a:solidFill>
              <a:effectLst/>
              <a:latin typeface="Arial" charset="0"/>
            </a:endParaRPr>
          </a:p>
        </p:txBody>
      </p:sp>
    </p:spTree>
    <p:extLst>
      <p:ext uri="{BB962C8B-B14F-4D97-AF65-F5344CB8AC3E}">
        <p14:creationId xmlns:p14="http://schemas.microsoft.com/office/powerpoint/2010/main" val="135763100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1" y="3995056"/>
            <a:ext cx="5606143" cy="2862944"/>
          </a:xfrm>
          <a:prstGeom prst="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54" name="Rectangle 37"/>
          <p:cNvSpPr>
            <a:spLocks noChangeArrowheads="1"/>
          </p:cNvSpPr>
          <p:nvPr/>
        </p:nvSpPr>
        <p:spPr bwMode="auto">
          <a:xfrm>
            <a:off x="5519057" y="4"/>
            <a:ext cx="3624947" cy="6857999"/>
          </a:xfrm>
          <a:prstGeom prst="rect">
            <a:avLst/>
          </a:prstGeom>
          <a:solidFill>
            <a:srgbClr val="00A9D4"/>
          </a:solidFill>
          <a:ln>
            <a:noFill/>
          </a:ln>
        </p:spPr>
        <p:txBody>
          <a:bodyPr lIns="82800" rIns="0" anchor="ctr"/>
          <a:lstStyle/>
          <a:p>
            <a:pPr>
              <a:spcBef>
                <a:spcPts val="300"/>
              </a:spcBef>
            </a:pPr>
            <a:endParaRPr lang="en-US">
              <a:solidFill>
                <a:schemeClr val="bg1"/>
              </a:solidFill>
            </a:endParaRPr>
          </a:p>
        </p:txBody>
      </p:sp>
      <p:sp>
        <p:nvSpPr>
          <p:cNvPr id="5123" name="Title 3"/>
          <p:cNvSpPr>
            <a:spLocks noGrp="1"/>
          </p:cNvSpPr>
          <p:nvPr>
            <p:ph type="title"/>
          </p:nvPr>
        </p:nvSpPr>
        <p:spPr/>
        <p:txBody>
          <a:bodyPr/>
          <a:lstStyle/>
          <a:p>
            <a:pPr eaLnBrk="1" hangingPunct="1">
              <a:defRPr/>
            </a:pPr>
            <a:r>
              <a:rPr lang="en-US" dirty="0" smtClean="0">
                <a:latin typeface="Ericsson Capital TT" pitchFamily="2" charset="0"/>
              </a:rPr>
              <a:t>New Logical</a:t>
            </a:r>
            <a:br>
              <a:rPr lang="en-US" dirty="0" smtClean="0">
                <a:latin typeface="Ericsson Capital TT" pitchFamily="2" charset="0"/>
              </a:rPr>
            </a:br>
            <a:r>
              <a:rPr lang="en-US" dirty="0" smtClean="0">
                <a:latin typeface="Ericsson Capital TT" pitchFamily="2" charset="0"/>
              </a:rPr>
              <a:t>Model Entities</a:t>
            </a:r>
            <a:endParaRPr lang="en-US" sz="5400" dirty="0" smtClean="0">
              <a:latin typeface="+mn-lt"/>
            </a:endParaRPr>
          </a:p>
        </p:txBody>
      </p:sp>
      <p:pic>
        <p:nvPicPr>
          <p:cNvPr id="55" name="Picture 5" descr="White Logotype"/>
          <p:cNvPicPr>
            <a:picLocks noChangeAspect="1" noChangeArrowheads="1"/>
          </p:cNvPicPr>
          <p:nvPr/>
        </p:nvPicPr>
        <p:blipFill rotWithShape="1">
          <a:blip r:embed="rId3"/>
          <a:srcRect b="22453"/>
          <a:stretch/>
        </p:blipFill>
        <p:spPr bwMode="auto">
          <a:xfrm>
            <a:off x="8021638" y="341321"/>
            <a:ext cx="1047750" cy="712787"/>
          </a:xfrm>
          <a:prstGeom prst="rect">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56" name="Content Placeholder 4"/>
          <p:cNvSpPr txBox="1">
            <a:spLocks/>
          </p:cNvSpPr>
          <p:nvPr/>
        </p:nvSpPr>
        <p:spPr bwMode="auto">
          <a:xfrm>
            <a:off x="5685631" y="1469745"/>
            <a:ext cx="3291797" cy="48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0" rIns="72000" bIns="0" numCol="1" anchor="t" anchorCtr="0" compatLnSpc="1">
            <a:prstTxWarp prst="textNoShape">
              <a:avLst/>
            </a:prstTxWarp>
          </a:bodyPr>
          <a:lstStyle>
            <a:lvl1pPr marL="176213" indent="-176213" algn="l" rtl="0" eaLnBrk="0" fontAlgn="base" hangingPunct="0">
              <a:spcBef>
                <a:spcPct val="20000"/>
              </a:spcBef>
              <a:spcAft>
                <a:spcPct val="0"/>
              </a:spcAft>
              <a:buClr>
                <a:srgbClr val="00A9D4"/>
              </a:buClr>
              <a:buFont typeface="Arial" pitchFamily="34" charset="0"/>
              <a:buChar char="›"/>
              <a:defRPr sz="2400">
                <a:solidFill>
                  <a:schemeClr val="tx1"/>
                </a:solidFill>
                <a:latin typeface="+mn-lt"/>
                <a:ea typeface="+mn-ea"/>
                <a:cs typeface="+mn-cs"/>
              </a:defRPr>
            </a:lvl1pPr>
            <a:lvl2pPr marL="533400" indent="-177800"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0" fontAlgn="base" hangingPunct="0">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nSpc>
                <a:spcPct val="90000"/>
              </a:lnSpc>
              <a:spcBef>
                <a:spcPct val="0"/>
              </a:spcBef>
              <a:spcAft>
                <a:spcPts val="1800"/>
              </a:spcAft>
              <a:buClr>
                <a:schemeClr val="bg1"/>
              </a:buClr>
              <a:buNone/>
            </a:pPr>
            <a:r>
              <a:rPr lang="en-US" sz="2000" b="1" dirty="0" smtClean="0">
                <a:solidFill>
                  <a:schemeClr val="bg1"/>
                </a:solidFill>
              </a:rPr>
              <a:t>BENEFITS</a:t>
            </a:r>
          </a:p>
          <a:p>
            <a:pPr>
              <a:lnSpc>
                <a:spcPct val="90000"/>
              </a:lnSpc>
              <a:spcBef>
                <a:spcPct val="0"/>
              </a:spcBef>
              <a:spcAft>
                <a:spcPts val="1800"/>
              </a:spcAft>
              <a:buClr>
                <a:schemeClr val="bg1"/>
              </a:buClr>
            </a:pPr>
            <a:r>
              <a:rPr lang="en-US" sz="2000" b="1" dirty="0">
                <a:solidFill>
                  <a:schemeClr val="bg1"/>
                </a:solidFill>
              </a:rPr>
              <a:t>TMF standards </a:t>
            </a:r>
            <a:r>
              <a:rPr lang="en-US" sz="2000" dirty="0">
                <a:solidFill>
                  <a:schemeClr val="bg1"/>
                </a:solidFill>
              </a:rPr>
              <a:t>followed and implemented</a:t>
            </a:r>
          </a:p>
          <a:p>
            <a:pPr>
              <a:lnSpc>
                <a:spcPct val="90000"/>
              </a:lnSpc>
              <a:spcBef>
                <a:spcPct val="0"/>
              </a:spcBef>
              <a:spcAft>
                <a:spcPts val="1800"/>
              </a:spcAft>
              <a:buClr>
                <a:schemeClr val="bg1"/>
              </a:buClr>
            </a:pPr>
            <a:r>
              <a:rPr lang="en-US" sz="2000" b="1" dirty="0" smtClean="0">
                <a:solidFill>
                  <a:schemeClr val="bg1"/>
                </a:solidFill>
              </a:rPr>
              <a:t>Configured best practice</a:t>
            </a:r>
            <a:r>
              <a:rPr lang="en-US" sz="2000" dirty="0" smtClean="0">
                <a:solidFill>
                  <a:schemeClr val="bg1"/>
                </a:solidFill>
              </a:rPr>
              <a:t> solution packs defined</a:t>
            </a:r>
          </a:p>
          <a:p>
            <a:pPr>
              <a:lnSpc>
                <a:spcPct val="90000"/>
              </a:lnSpc>
              <a:spcBef>
                <a:spcPct val="0"/>
              </a:spcBef>
              <a:spcAft>
                <a:spcPts val="1800"/>
              </a:spcAft>
              <a:buClr>
                <a:schemeClr val="bg1"/>
              </a:buClr>
            </a:pPr>
            <a:r>
              <a:rPr lang="en-US" sz="2000" b="1" dirty="0" smtClean="0">
                <a:solidFill>
                  <a:schemeClr val="bg1"/>
                </a:solidFill>
              </a:rPr>
              <a:t>Reusable</a:t>
            </a:r>
            <a:r>
              <a:rPr lang="en-US" sz="2000" dirty="0" smtClean="0">
                <a:solidFill>
                  <a:schemeClr val="bg1"/>
                </a:solidFill>
              </a:rPr>
              <a:t> components</a:t>
            </a:r>
          </a:p>
          <a:p>
            <a:pPr>
              <a:lnSpc>
                <a:spcPct val="90000"/>
              </a:lnSpc>
              <a:spcBef>
                <a:spcPct val="0"/>
              </a:spcBef>
              <a:spcAft>
                <a:spcPts val="1800"/>
              </a:spcAft>
              <a:buClr>
                <a:schemeClr val="bg1"/>
              </a:buClr>
            </a:pPr>
            <a:r>
              <a:rPr lang="en-US" sz="2000" b="1" dirty="0" smtClean="0">
                <a:solidFill>
                  <a:schemeClr val="bg1"/>
                </a:solidFill>
              </a:rPr>
              <a:t>Proven</a:t>
            </a:r>
            <a:r>
              <a:rPr lang="en-US" sz="2000" dirty="0" smtClean="0">
                <a:solidFill>
                  <a:schemeClr val="bg1"/>
                </a:solidFill>
              </a:rPr>
              <a:t> item-based model kept intact</a:t>
            </a:r>
          </a:p>
          <a:p>
            <a:pPr>
              <a:lnSpc>
                <a:spcPct val="90000"/>
              </a:lnSpc>
              <a:spcBef>
                <a:spcPct val="0"/>
              </a:spcBef>
              <a:spcAft>
                <a:spcPts val="1800"/>
              </a:spcAft>
              <a:buClr>
                <a:schemeClr val="bg1"/>
              </a:buClr>
            </a:pPr>
            <a:r>
              <a:rPr lang="en-US" sz="2000" b="1" dirty="0" smtClean="0">
                <a:solidFill>
                  <a:schemeClr val="bg1"/>
                </a:solidFill>
              </a:rPr>
              <a:t>Increased efficiency</a:t>
            </a:r>
            <a:r>
              <a:rPr lang="en-US" sz="2000" dirty="0" smtClean="0">
                <a:solidFill>
                  <a:schemeClr val="bg1"/>
                </a:solidFill>
              </a:rPr>
              <a:t> through improved standardized User Interface</a:t>
            </a:r>
            <a:endParaRPr lang="en-US" sz="2000" dirty="0">
              <a:solidFill>
                <a:schemeClr val="bg1"/>
              </a:solidFill>
            </a:endParaRPr>
          </a:p>
          <a:p>
            <a:pPr>
              <a:lnSpc>
                <a:spcPct val="90000"/>
              </a:lnSpc>
              <a:spcBef>
                <a:spcPct val="0"/>
              </a:spcBef>
              <a:spcAft>
                <a:spcPts val="1800"/>
              </a:spcAft>
              <a:buClr>
                <a:schemeClr val="accent2"/>
              </a:buClr>
            </a:pPr>
            <a:endParaRPr lang="en-US" sz="2000" dirty="0" smtClean="0">
              <a:solidFill>
                <a:schemeClr val="bg1"/>
              </a:solidFill>
            </a:endParaRPr>
          </a:p>
        </p:txBody>
      </p:sp>
      <p:sp>
        <p:nvSpPr>
          <p:cNvPr id="3" name="Rectangle 2"/>
          <p:cNvSpPr>
            <a:spLocks noChangeArrowheads="1"/>
          </p:cNvSpPr>
          <p:nvPr/>
        </p:nvSpPr>
        <p:spPr bwMode="auto">
          <a:xfrm>
            <a:off x="4479638" y="-200055"/>
            <a:ext cx="18473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44" name="Rectangle 51"/>
          <p:cNvSpPr>
            <a:spLocks noChangeArrowheads="1"/>
          </p:cNvSpPr>
          <p:nvPr/>
        </p:nvSpPr>
        <p:spPr bwMode="auto">
          <a:xfrm>
            <a:off x="783774" y="1332231"/>
            <a:ext cx="3989778"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p>
            <a:pPr>
              <a:lnSpc>
                <a:spcPct val="90000"/>
              </a:lnSpc>
            </a:pPr>
            <a:r>
              <a:rPr lang="en-US" sz="2800" dirty="0" smtClean="0">
                <a:solidFill>
                  <a:srgbClr val="00A9D4"/>
                </a:solidFill>
                <a:ea typeface="MS PGothic" pitchFamily="34" charset="-128"/>
              </a:rPr>
              <a:t>Release 14.1 GA</a:t>
            </a:r>
            <a:endParaRPr lang="en-US" sz="2800" dirty="0">
              <a:solidFill>
                <a:srgbClr val="00A9D4"/>
              </a:solidFill>
              <a:ea typeface="MS PGothic" pitchFamily="34" charset="-128"/>
            </a:endParaRPr>
          </a:p>
        </p:txBody>
      </p:sp>
      <p:sp>
        <p:nvSpPr>
          <p:cNvPr id="2" name="Content Placeholder 1"/>
          <p:cNvSpPr>
            <a:spLocks noGrp="1"/>
          </p:cNvSpPr>
          <p:nvPr>
            <p:ph idx="1"/>
          </p:nvPr>
        </p:nvSpPr>
        <p:spPr>
          <a:xfrm>
            <a:off x="691099" y="1865316"/>
            <a:ext cx="4175127" cy="2303918"/>
          </a:xfrm>
        </p:spPr>
        <p:txBody>
          <a:bodyPr/>
          <a:lstStyle/>
          <a:p>
            <a:r>
              <a:rPr lang="en-US" sz="2000" dirty="0"/>
              <a:t>Product Offers </a:t>
            </a:r>
          </a:p>
          <a:p>
            <a:r>
              <a:rPr lang="en-US" sz="2000" dirty="0" smtClean="0"/>
              <a:t>Product </a:t>
            </a:r>
            <a:r>
              <a:rPr lang="en-US" sz="2000" dirty="0"/>
              <a:t>Specification</a:t>
            </a:r>
          </a:p>
          <a:p>
            <a:r>
              <a:rPr lang="en-US" sz="2000" dirty="0" smtClean="0"/>
              <a:t>Service </a:t>
            </a:r>
            <a:r>
              <a:rPr lang="en-US" sz="2000" dirty="0"/>
              <a:t>Specifications</a:t>
            </a:r>
          </a:p>
          <a:p>
            <a:r>
              <a:rPr lang="en-US" sz="2000" dirty="0" smtClean="0"/>
              <a:t>Resource </a:t>
            </a:r>
            <a:r>
              <a:rPr lang="en-US" sz="2000" dirty="0"/>
              <a:t>Specifications</a:t>
            </a:r>
          </a:p>
          <a:p>
            <a:r>
              <a:rPr lang="en-US" sz="2000" dirty="0" err="1" smtClean="0"/>
              <a:t>CxF</a:t>
            </a:r>
            <a:r>
              <a:rPr lang="en-US" sz="2000" dirty="0" smtClean="0"/>
              <a:t> </a:t>
            </a:r>
            <a:r>
              <a:rPr lang="en-US" sz="2000" dirty="0"/>
              <a:t>(Componentized Functions</a:t>
            </a:r>
            <a:r>
              <a:rPr lang="en-US" sz="2000" dirty="0" smtClean="0"/>
              <a:t>):</a:t>
            </a:r>
            <a:br>
              <a:rPr lang="en-US" sz="2000" dirty="0" smtClean="0"/>
            </a:br>
            <a:r>
              <a:rPr lang="en-US" sz="2000" dirty="0" smtClean="0"/>
              <a:t>CFF, CCF, CPF, …</a:t>
            </a:r>
            <a:endParaRPr lang="en-US" sz="2000" dirty="0"/>
          </a:p>
          <a:p>
            <a:endParaRPr lang="en-US" sz="2000" dirty="0"/>
          </a:p>
        </p:txBody>
      </p:sp>
      <p:pic>
        <p:nvPicPr>
          <p:cNvPr id="12"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701" y="4103917"/>
            <a:ext cx="4730748" cy="2531027"/>
          </a:xfrm>
          <a:prstGeom prst="rect">
            <a:avLst/>
          </a:prstGeom>
          <a:noFill/>
          <a:ln w="28575" cap="flat" cmpd="sng" algn="ctr">
            <a:solidFill>
              <a:srgbClr val="00A9D4"/>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351653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37"/>
          <p:cNvSpPr>
            <a:spLocks noChangeArrowheads="1"/>
          </p:cNvSpPr>
          <p:nvPr/>
        </p:nvSpPr>
        <p:spPr bwMode="auto">
          <a:xfrm>
            <a:off x="2867030" y="1258660"/>
            <a:ext cx="6217920" cy="5486400"/>
          </a:xfrm>
          <a:prstGeom prst="roundRect">
            <a:avLst>
              <a:gd name="adj" fmla="val 1622"/>
            </a:avLst>
          </a:prstGeom>
          <a:solidFill>
            <a:srgbClr val="00A9D4"/>
          </a:solidFill>
          <a:ln>
            <a:noFill/>
          </a:ln>
        </p:spPr>
        <p:txBody>
          <a:bodyPr lIns="82800" rIns="0" anchor="ctr"/>
          <a:lstStyle/>
          <a:p>
            <a:pPr>
              <a:spcBef>
                <a:spcPts val="300"/>
              </a:spcBef>
            </a:pPr>
            <a:endParaRPr lang="en-US">
              <a:solidFill>
                <a:schemeClr val="bg1"/>
              </a:solidFill>
            </a:endParaRPr>
          </a:p>
        </p:txBody>
      </p:sp>
      <p:sp>
        <p:nvSpPr>
          <p:cNvPr id="23555" name="Title 1"/>
          <p:cNvSpPr>
            <a:spLocks noGrp="1"/>
          </p:cNvSpPr>
          <p:nvPr>
            <p:ph type="title"/>
          </p:nvPr>
        </p:nvSpPr>
        <p:spPr>
          <a:xfrm>
            <a:off x="394097" y="239713"/>
            <a:ext cx="8270931" cy="1085850"/>
          </a:xfrm>
        </p:spPr>
        <p:txBody>
          <a:bodyPr/>
          <a:lstStyle/>
          <a:p>
            <a:r>
              <a:rPr lang="en-US" sz="4000" dirty="0" smtClean="0">
                <a:latin typeface="Ericsson Capital TT" pitchFamily="2" charset="0"/>
              </a:rPr>
              <a:t>Pre-Configured Catalog</a:t>
            </a:r>
          </a:p>
        </p:txBody>
      </p:sp>
      <p:pic>
        <p:nvPicPr>
          <p:cNvPr id="54274" name="Picture 2"/>
          <p:cNvPicPr>
            <a:picLocks noChangeAspect="1" noChangeArrowheads="1"/>
          </p:cNvPicPr>
          <p:nvPr/>
        </p:nvPicPr>
        <p:blipFill>
          <a:blip r:embed="rId3"/>
          <a:srcRect/>
          <a:stretch>
            <a:fillRect/>
          </a:stretch>
        </p:blipFill>
        <p:spPr bwMode="auto">
          <a:xfrm>
            <a:off x="6013001" y="1431480"/>
            <a:ext cx="2938463" cy="51816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557" name="TextBox 3"/>
          <p:cNvSpPr txBox="1">
            <a:spLocks noChangeArrowheads="1"/>
          </p:cNvSpPr>
          <p:nvPr/>
        </p:nvSpPr>
        <p:spPr bwMode="auto">
          <a:xfrm>
            <a:off x="3642978" y="1352780"/>
            <a:ext cx="2336006"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US" sz="1600" dirty="0">
                <a:solidFill>
                  <a:schemeClr val="bg1"/>
                </a:solidFill>
              </a:rPr>
              <a:t>Product Offering</a:t>
            </a:r>
          </a:p>
        </p:txBody>
      </p:sp>
      <p:sp>
        <p:nvSpPr>
          <p:cNvPr id="23558" name="TextBox 8"/>
          <p:cNvSpPr txBox="1">
            <a:spLocks noChangeArrowheads="1"/>
          </p:cNvSpPr>
          <p:nvPr/>
        </p:nvSpPr>
        <p:spPr bwMode="auto">
          <a:xfrm>
            <a:off x="3610320" y="2195069"/>
            <a:ext cx="2336006"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US" sz="1600" dirty="0">
                <a:solidFill>
                  <a:schemeClr val="bg1"/>
                </a:solidFill>
              </a:rPr>
              <a:t>Product Specification</a:t>
            </a:r>
          </a:p>
        </p:txBody>
      </p:sp>
      <p:sp>
        <p:nvSpPr>
          <p:cNvPr id="23559" name="TextBox 9"/>
          <p:cNvSpPr txBox="1">
            <a:spLocks noChangeArrowheads="1"/>
          </p:cNvSpPr>
          <p:nvPr/>
        </p:nvSpPr>
        <p:spPr bwMode="auto">
          <a:xfrm>
            <a:off x="3610320" y="2804669"/>
            <a:ext cx="2336006"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US" sz="1600">
                <a:solidFill>
                  <a:schemeClr val="bg1"/>
                </a:solidFill>
              </a:rPr>
              <a:t>Charge</a:t>
            </a:r>
          </a:p>
        </p:txBody>
      </p:sp>
      <p:sp>
        <p:nvSpPr>
          <p:cNvPr id="23560" name="TextBox 10"/>
          <p:cNvSpPr txBox="1">
            <a:spLocks noChangeArrowheads="1"/>
          </p:cNvSpPr>
          <p:nvPr/>
        </p:nvSpPr>
        <p:spPr bwMode="auto">
          <a:xfrm>
            <a:off x="2867030" y="3382519"/>
            <a:ext cx="307929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US" sz="1600" dirty="0">
                <a:solidFill>
                  <a:schemeClr val="bg1"/>
                </a:solidFill>
              </a:rPr>
              <a:t>Customer Facing Service Spec.</a:t>
            </a:r>
          </a:p>
        </p:txBody>
      </p:sp>
      <p:sp>
        <p:nvSpPr>
          <p:cNvPr id="23561" name="TextBox 11"/>
          <p:cNvSpPr txBox="1">
            <a:spLocks noChangeArrowheads="1"/>
          </p:cNvSpPr>
          <p:nvPr/>
        </p:nvSpPr>
        <p:spPr bwMode="auto">
          <a:xfrm>
            <a:off x="2867030" y="3852419"/>
            <a:ext cx="307929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US" sz="1600" dirty="0">
                <a:solidFill>
                  <a:schemeClr val="bg1"/>
                </a:solidFill>
              </a:rPr>
              <a:t>Resource Facing Service Spec.</a:t>
            </a:r>
          </a:p>
        </p:txBody>
      </p:sp>
      <p:sp>
        <p:nvSpPr>
          <p:cNvPr id="23562" name="TextBox 12"/>
          <p:cNvSpPr txBox="1">
            <a:spLocks noChangeArrowheads="1"/>
          </p:cNvSpPr>
          <p:nvPr/>
        </p:nvSpPr>
        <p:spPr bwMode="auto">
          <a:xfrm>
            <a:off x="3610320" y="4700144"/>
            <a:ext cx="2336006"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US" sz="1600">
                <a:solidFill>
                  <a:schemeClr val="bg1"/>
                </a:solidFill>
              </a:rPr>
              <a:t>Resource Specification</a:t>
            </a:r>
          </a:p>
        </p:txBody>
      </p:sp>
      <p:sp>
        <p:nvSpPr>
          <p:cNvPr id="23563" name="TextBox 13"/>
          <p:cNvSpPr txBox="1">
            <a:spLocks noChangeArrowheads="1"/>
          </p:cNvSpPr>
          <p:nvPr/>
        </p:nvSpPr>
        <p:spPr bwMode="auto">
          <a:xfrm>
            <a:off x="3610320" y="5771705"/>
            <a:ext cx="2336006"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US" sz="1600">
                <a:solidFill>
                  <a:schemeClr val="bg1"/>
                </a:solidFill>
              </a:rPr>
              <a:t>Service Level Spec.</a:t>
            </a:r>
          </a:p>
        </p:txBody>
      </p:sp>
      <p:sp>
        <p:nvSpPr>
          <p:cNvPr id="23564" name="TextBox 14"/>
          <p:cNvSpPr txBox="1">
            <a:spLocks noChangeArrowheads="1"/>
          </p:cNvSpPr>
          <p:nvPr/>
        </p:nvSpPr>
        <p:spPr bwMode="auto">
          <a:xfrm>
            <a:off x="3610320" y="6262244"/>
            <a:ext cx="2336006"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US" sz="1600">
                <a:solidFill>
                  <a:schemeClr val="bg1"/>
                </a:solidFill>
              </a:rPr>
              <a:t>Service Level Objective</a:t>
            </a:r>
          </a:p>
        </p:txBody>
      </p:sp>
      <p:sp>
        <p:nvSpPr>
          <p:cNvPr id="13" name="Rectangle 51"/>
          <p:cNvSpPr>
            <a:spLocks noChangeArrowheads="1"/>
          </p:cNvSpPr>
          <p:nvPr/>
        </p:nvSpPr>
        <p:spPr bwMode="auto">
          <a:xfrm>
            <a:off x="298590" y="1469580"/>
            <a:ext cx="2335753" cy="888538"/>
          </a:xfrm>
          <a:prstGeom prst="roundRect">
            <a:avLst/>
          </a:prstGeom>
          <a:solidFill>
            <a:schemeClr val="bg1"/>
          </a:solidFill>
          <a:ln>
            <a:noFill/>
          </a:ln>
          <a:extLst/>
        </p:spPr>
        <p:txBody>
          <a:bodyPr lIns="36000" tIns="36000" rIns="36000" bIns="36000" anchor="ctr"/>
          <a:lstStyle/>
          <a:p>
            <a:pPr>
              <a:lnSpc>
                <a:spcPct val="90000"/>
              </a:lnSpc>
            </a:pPr>
            <a:r>
              <a:rPr lang="en-US" sz="2800" dirty="0" smtClean="0">
                <a:solidFill>
                  <a:srgbClr val="00A9D4"/>
                </a:solidFill>
                <a:ea typeface="MS PGothic" pitchFamily="34" charset="-128"/>
              </a:rPr>
              <a:t>Release</a:t>
            </a:r>
            <a:br>
              <a:rPr lang="en-US" sz="2800" dirty="0" smtClean="0">
                <a:solidFill>
                  <a:srgbClr val="00A9D4"/>
                </a:solidFill>
                <a:ea typeface="MS PGothic" pitchFamily="34" charset="-128"/>
              </a:rPr>
            </a:br>
            <a:r>
              <a:rPr lang="en-US" sz="2800" dirty="0" smtClean="0">
                <a:solidFill>
                  <a:srgbClr val="00A9D4"/>
                </a:solidFill>
                <a:ea typeface="MS PGothic" pitchFamily="34" charset="-128"/>
              </a:rPr>
              <a:t>14.1 GA</a:t>
            </a:r>
            <a:endParaRPr lang="en-US" sz="2800" dirty="0">
              <a:solidFill>
                <a:srgbClr val="00A9D4"/>
              </a:solidFill>
              <a:ea typeface="MS PGothic" pitchFamily="34" charset="-128"/>
            </a:endParaRPr>
          </a:p>
        </p:txBody>
      </p:sp>
      <p:sp>
        <p:nvSpPr>
          <p:cNvPr id="23554" name="Content Placeholder 2"/>
          <p:cNvSpPr>
            <a:spLocks noGrp="1"/>
          </p:cNvSpPr>
          <p:nvPr>
            <p:ph idx="1"/>
          </p:nvPr>
        </p:nvSpPr>
        <p:spPr>
          <a:xfrm>
            <a:off x="288395" y="2526144"/>
            <a:ext cx="2345948" cy="971385"/>
          </a:xfrm>
        </p:spPr>
        <p:txBody>
          <a:bodyPr/>
          <a:lstStyle/>
          <a:p>
            <a:pPr marL="0" indent="0" algn="ctr">
              <a:buNone/>
            </a:pPr>
            <a:r>
              <a:rPr lang="en-US" sz="2000" dirty="0" smtClean="0">
                <a:solidFill>
                  <a:srgbClr val="58585A"/>
                </a:solidFill>
              </a:rPr>
              <a:t>Full SID-based</a:t>
            </a:r>
            <a:br>
              <a:rPr lang="en-US" sz="2000" dirty="0" smtClean="0">
                <a:solidFill>
                  <a:srgbClr val="58585A"/>
                </a:solidFill>
              </a:rPr>
            </a:br>
            <a:r>
              <a:rPr lang="en-US" sz="2000" b="1" dirty="0" smtClean="0">
                <a:solidFill>
                  <a:srgbClr val="58585A"/>
                </a:solidFill>
              </a:rPr>
              <a:t>P</a:t>
            </a:r>
            <a:r>
              <a:rPr lang="en-US" sz="2000" dirty="0" smtClean="0">
                <a:solidFill>
                  <a:srgbClr val="58585A"/>
                </a:solidFill>
              </a:rPr>
              <a:t>roduct</a:t>
            </a:r>
            <a:br>
              <a:rPr lang="en-US" sz="2000" dirty="0" smtClean="0">
                <a:solidFill>
                  <a:srgbClr val="58585A"/>
                </a:solidFill>
              </a:rPr>
            </a:br>
            <a:r>
              <a:rPr lang="en-US" sz="2000" b="1" dirty="0" smtClean="0">
                <a:solidFill>
                  <a:srgbClr val="58585A"/>
                </a:solidFill>
              </a:rPr>
              <a:t>S</a:t>
            </a:r>
            <a:r>
              <a:rPr lang="en-US" sz="2000" dirty="0" smtClean="0">
                <a:solidFill>
                  <a:srgbClr val="58585A"/>
                </a:solidFill>
              </a:rPr>
              <a:t>ervice</a:t>
            </a:r>
            <a:br>
              <a:rPr lang="en-US" sz="2000" dirty="0" smtClean="0">
                <a:solidFill>
                  <a:srgbClr val="58585A"/>
                </a:solidFill>
              </a:rPr>
            </a:br>
            <a:r>
              <a:rPr lang="en-US" sz="2000" b="1" dirty="0" smtClean="0">
                <a:solidFill>
                  <a:srgbClr val="58585A"/>
                </a:solidFill>
              </a:rPr>
              <a:t>R</a:t>
            </a:r>
            <a:r>
              <a:rPr lang="en-US" sz="2000" dirty="0" smtClean="0">
                <a:solidFill>
                  <a:srgbClr val="58585A"/>
                </a:solidFill>
              </a:rPr>
              <a:t>esource</a:t>
            </a:r>
            <a:br>
              <a:rPr lang="en-US" sz="2000" dirty="0" smtClean="0">
                <a:solidFill>
                  <a:srgbClr val="58585A"/>
                </a:solidFill>
              </a:rPr>
            </a:br>
            <a:r>
              <a:rPr lang="en-US" sz="2000" dirty="0" smtClean="0">
                <a:solidFill>
                  <a:srgbClr val="58585A"/>
                </a:solidFill>
              </a:rPr>
              <a:t>(PSR)</a:t>
            </a:r>
            <a:br>
              <a:rPr lang="en-US" sz="2000" dirty="0" smtClean="0">
                <a:solidFill>
                  <a:srgbClr val="58585A"/>
                </a:solidFill>
              </a:rPr>
            </a:br>
            <a:r>
              <a:rPr lang="en-US" sz="2000" dirty="0" smtClean="0">
                <a:solidFill>
                  <a:srgbClr val="58585A"/>
                </a:solidFill>
              </a:rPr>
              <a:t>model</a:t>
            </a:r>
          </a:p>
        </p:txBody>
      </p:sp>
      <p:sp>
        <p:nvSpPr>
          <p:cNvPr id="2" name="Rectangle 1"/>
          <p:cNvSpPr/>
          <p:nvPr/>
        </p:nvSpPr>
        <p:spPr bwMode="auto">
          <a:xfrm>
            <a:off x="6013001" y="1431480"/>
            <a:ext cx="2938463" cy="5168901"/>
          </a:xfrm>
          <a:prstGeom prst="rect">
            <a:avLst/>
          </a:prstGeom>
          <a:noFill/>
          <a:ln w="57150" cap="flat"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17" name="Freeform 3"/>
          <p:cNvSpPr>
            <a:spLocks noChangeAspect="1" noEditPoints="1"/>
          </p:cNvSpPr>
          <p:nvPr/>
        </p:nvSpPr>
        <p:spPr bwMode="auto">
          <a:xfrm>
            <a:off x="1421579" y="4691108"/>
            <a:ext cx="1374321" cy="770545"/>
          </a:xfrm>
          <a:custGeom>
            <a:avLst/>
            <a:gdLst>
              <a:gd name="T0" fmla="*/ 2147483647 w 478"/>
              <a:gd name="T1" fmla="*/ 2147483647 h 268"/>
              <a:gd name="T2" fmla="*/ 2147483647 w 478"/>
              <a:gd name="T3" fmla="*/ 2147483647 h 268"/>
              <a:gd name="T4" fmla="*/ 2147483647 w 478"/>
              <a:gd name="T5" fmla="*/ 2147483647 h 268"/>
              <a:gd name="T6" fmla="*/ 2147483647 w 478"/>
              <a:gd name="T7" fmla="*/ 2147483647 h 268"/>
              <a:gd name="T8" fmla="*/ 2147483647 w 478"/>
              <a:gd name="T9" fmla="*/ 2147483647 h 268"/>
              <a:gd name="T10" fmla="*/ 2147483647 w 478"/>
              <a:gd name="T11" fmla="*/ 2147483647 h 268"/>
              <a:gd name="T12" fmla="*/ 2147483647 w 478"/>
              <a:gd name="T13" fmla="*/ 2147483647 h 268"/>
              <a:gd name="T14" fmla="*/ 2147483647 w 478"/>
              <a:gd name="T15" fmla="*/ 2147483647 h 268"/>
              <a:gd name="T16" fmla="*/ 2147483647 w 478"/>
              <a:gd name="T17" fmla="*/ 2147483647 h 268"/>
              <a:gd name="T18" fmla="*/ 2147483647 w 478"/>
              <a:gd name="T19" fmla="*/ 2147483647 h 268"/>
              <a:gd name="T20" fmla="*/ 2147483647 w 478"/>
              <a:gd name="T21" fmla="*/ 2147483647 h 268"/>
              <a:gd name="T22" fmla="*/ 2147483647 w 478"/>
              <a:gd name="T23" fmla="*/ 2147483647 h 268"/>
              <a:gd name="T24" fmla="*/ 2147483647 w 478"/>
              <a:gd name="T25" fmla="*/ 2147483647 h 268"/>
              <a:gd name="T26" fmla="*/ 2147483647 w 478"/>
              <a:gd name="T27" fmla="*/ 2147483647 h 268"/>
              <a:gd name="T28" fmla="*/ 2147483647 w 478"/>
              <a:gd name="T29" fmla="*/ 2147483647 h 268"/>
              <a:gd name="T30" fmla="*/ 2147483647 w 478"/>
              <a:gd name="T31" fmla="*/ 2147483647 h 268"/>
              <a:gd name="T32" fmla="*/ 2147483647 w 478"/>
              <a:gd name="T33" fmla="*/ 0 h 268"/>
              <a:gd name="T34" fmla="*/ 2147483647 w 478"/>
              <a:gd name="T35" fmla="*/ 2147483647 h 268"/>
              <a:gd name="T36" fmla="*/ 2147483647 w 478"/>
              <a:gd name="T37" fmla="*/ 2147483647 h 268"/>
              <a:gd name="T38" fmla="*/ 2147483647 w 478"/>
              <a:gd name="T39" fmla="*/ 2147483647 h 268"/>
              <a:gd name="T40" fmla="*/ 2147483647 w 478"/>
              <a:gd name="T41" fmla="*/ 2147483647 h 268"/>
              <a:gd name="T42" fmla="*/ 0 w 478"/>
              <a:gd name="T43" fmla="*/ 2147483647 h 268"/>
              <a:gd name="T44" fmla="*/ 2147483647 w 478"/>
              <a:gd name="T45" fmla="*/ 2147483647 h 268"/>
              <a:gd name="T46" fmla="*/ 2147483647 w 478"/>
              <a:gd name="T47" fmla="*/ 2147483647 h 268"/>
              <a:gd name="T48" fmla="*/ 2147483647 w 478"/>
              <a:gd name="T49" fmla="*/ 2147483647 h 268"/>
              <a:gd name="T50" fmla="*/ 2147483647 w 478"/>
              <a:gd name="T51" fmla="*/ 2147483647 h 268"/>
              <a:gd name="T52" fmla="*/ 2147483647 w 478"/>
              <a:gd name="T53" fmla="*/ 2147483647 h 268"/>
              <a:gd name="T54" fmla="*/ 2147483647 w 478"/>
              <a:gd name="T55" fmla="*/ 2147483647 h 268"/>
              <a:gd name="T56" fmla="*/ 2147483647 w 478"/>
              <a:gd name="T57" fmla="*/ 2147483647 h 268"/>
              <a:gd name="T58" fmla="*/ 2147483647 w 478"/>
              <a:gd name="T59" fmla="*/ 2147483647 h 268"/>
              <a:gd name="T60" fmla="*/ 2147483647 w 478"/>
              <a:gd name="T61" fmla="*/ 2147483647 h 268"/>
              <a:gd name="T62" fmla="*/ 2147483647 w 478"/>
              <a:gd name="T63" fmla="*/ 2147483647 h 268"/>
              <a:gd name="T64" fmla="*/ 2147483647 w 478"/>
              <a:gd name="T65" fmla="*/ 2147483647 h 268"/>
              <a:gd name="T66" fmla="*/ 2147483647 w 478"/>
              <a:gd name="T67" fmla="*/ 2147483647 h 268"/>
              <a:gd name="T68" fmla="*/ 2147483647 w 478"/>
              <a:gd name="T69" fmla="*/ 2147483647 h 268"/>
              <a:gd name="T70" fmla="*/ 2147483647 w 478"/>
              <a:gd name="T71" fmla="*/ 2147483647 h 268"/>
              <a:gd name="T72" fmla="*/ 2147483647 w 478"/>
              <a:gd name="T73" fmla="*/ 2147483647 h 268"/>
              <a:gd name="T74" fmla="*/ 2147483647 w 478"/>
              <a:gd name="T75" fmla="*/ 2147483647 h 268"/>
              <a:gd name="T76" fmla="*/ 2147483647 w 478"/>
              <a:gd name="T77" fmla="*/ 2147483647 h 268"/>
              <a:gd name="T78" fmla="*/ 2147483647 w 478"/>
              <a:gd name="T79" fmla="*/ 2147483647 h 268"/>
              <a:gd name="T80" fmla="*/ 2147483647 w 478"/>
              <a:gd name="T81" fmla="*/ 2147483647 h 268"/>
              <a:gd name="T82" fmla="*/ 2147483647 w 478"/>
              <a:gd name="T83" fmla="*/ 2147483647 h 268"/>
              <a:gd name="T84" fmla="*/ 2147483647 w 478"/>
              <a:gd name="T85" fmla="*/ 2147483647 h 268"/>
              <a:gd name="T86" fmla="*/ 2147483647 w 478"/>
              <a:gd name="T87" fmla="*/ 2147483647 h 268"/>
              <a:gd name="T88" fmla="*/ 2147483647 w 478"/>
              <a:gd name="T89" fmla="*/ 2147483647 h 268"/>
              <a:gd name="T90" fmla="*/ 2147483647 w 478"/>
              <a:gd name="T91" fmla="*/ 2147483647 h 268"/>
              <a:gd name="T92" fmla="*/ 2147483647 w 478"/>
              <a:gd name="T93" fmla="*/ 2147483647 h 268"/>
              <a:gd name="T94" fmla="*/ 2147483647 w 478"/>
              <a:gd name="T95" fmla="*/ 2147483647 h 268"/>
              <a:gd name="T96" fmla="*/ 2147483647 w 478"/>
              <a:gd name="T97" fmla="*/ 2147483647 h 268"/>
              <a:gd name="T98" fmla="*/ 2147483647 w 478"/>
              <a:gd name="T99" fmla="*/ 2147483647 h 268"/>
              <a:gd name="T100" fmla="*/ 2147483647 w 478"/>
              <a:gd name="T101" fmla="*/ 2147483647 h 268"/>
              <a:gd name="T102" fmla="*/ 2147483647 w 478"/>
              <a:gd name="T103" fmla="*/ 2147483647 h 268"/>
              <a:gd name="T104" fmla="*/ 2147483647 w 478"/>
              <a:gd name="T105" fmla="*/ 2147483647 h 268"/>
              <a:gd name="T106" fmla="*/ 2147483647 w 478"/>
              <a:gd name="T107" fmla="*/ 2147483647 h 268"/>
              <a:gd name="T108" fmla="*/ 2147483647 w 478"/>
              <a:gd name="T109" fmla="*/ 2147483647 h 268"/>
              <a:gd name="T110" fmla="*/ 2147483647 w 478"/>
              <a:gd name="T111" fmla="*/ 2147483647 h 268"/>
              <a:gd name="T112" fmla="*/ 2147483647 w 478"/>
              <a:gd name="T113" fmla="*/ 2147483647 h 268"/>
              <a:gd name="T114" fmla="*/ 2147483647 w 478"/>
              <a:gd name="T115" fmla="*/ 2147483647 h 268"/>
              <a:gd name="T116" fmla="*/ 2147483647 w 478"/>
              <a:gd name="T117" fmla="*/ 2147483647 h 268"/>
              <a:gd name="T118" fmla="*/ 2147483647 w 478"/>
              <a:gd name="T119" fmla="*/ 2147483647 h 268"/>
              <a:gd name="T120" fmla="*/ 2147483647 w 478"/>
              <a:gd name="T121" fmla="*/ 2147483647 h 268"/>
              <a:gd name="T122" fmla="*/ 2147483647 w 478"/>
              <a:gd name="T123" fmla="*/ 2147483647 h 2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78" h="268">
                <a:moveTo>
                  <a:pt x="312" y="106"/>
                </a:moveTo>
                <a:cubicBezTo>
                  <a:pt x="312" y="101"/>
                  <a:pt x="308" y="98"/>
                  <a:pt x="304" y="98"/>
                </a:cubicBezTo>
                <a:cubicBezTo>
                  <a:pt x="68" y="98"/>
                  <a:pt x="68" y="98"/>
                  <a:pt x="68" y="98"/>
                </a:cubicBezTo>
                <a:cubicBezTo>
                  <a:pt x="64" y="98"/>
                  <a:pt x="60" y="101"/>
                  <a:pt x="60" y="106"/>
                </a:cubicBezTo>
                <a:cubicBezTo>
                  <a:pt x="60" y="110"/>
                  <a:pt x="64" y="114"/>
                  <a:pt x="68" y="114"/>
                </a:cubicBezTo>
                <a:cubicBezTo>
                  <a:pt x="304" y="114"/>
                  <a:pt x="304" y="114"/>
                  <a:pt x="304" y="114"/>
                </a:cubicBezTo>
                <a:cubicBezTo>
                  <a:pt x="308" y="114"/>
                  <a:pt x="312" y="110"/>
                  <a:pt x="312" y="106"/>
                </a:cubicBezTo>
                <a:close/>
                <a:moveTo>
                  <a:pt x="312" y="50"/>
                </a:moveTo>
                <a:cubicBezTo>
                  <a:pt x="312" y="42"/>
                  <a:pt x="312" y="35"/>
                  <a:pt x="312" y="30"/>
                </a:cubicBezTo>
                <a:cubicBezTo>
                  <a:pt x="312" y="23"/>
                  <a:pt x="313" y="20"/>
                  <a:pt x="315" y="18"/>
                </a:cubicBezTo>
                <a:cubicBezTo>
                  <a:pt x="316" y="16"/>
                  <a:pt x="317" y="16"/>
                  <a:pt x="319" y="16"/>
                </a:cubicBezTo>
                <a:cubicBezTo>
                  <a:pt x="321" y="16"/>
                  <a:pt x="325" y="17"/>
                  <a:pt x="329" y="21"/>
                </a:cubicBezTo>
                <a:cubicBezTo>
                  <a:pt x="334" y="25"/>
                  <a:pt x="343" y="32"/>
                  <a:pt x="352" y="39"/>
                </a:cubicBezTo>
                <a:cubicBezTo>
                  <a:pt x="356" y="42"/>
                  <a:pt x="361" y="41"/>
                  <a:pt x="364" y="38"/>
                </a:cubicBezTo>
                <a:cubicBezTo>
                  <a:pt x="366" y="34"/>
                  <a:pt x="366" y="29"/>
                  <a:pt x="362" y="27"/>
                </a:cubicBezTo>
                <a:cubicBezTo>
                  <a:pt x="353" y="19"/>
                  <a:pt x="344" y="12"/>
                  <a:pt x="339" y="8"/>
                </a:cubicBezTo>
                <a:cubicBezTo>
                  <a:pt x="333" y="3"/>
                  <a:pt x="326" y="0"/>
                  <a:pt x="319" y="0"/>
                </a:cubicBezTo>
                <a:cubicBezTo>
                  <a:pt x="312" y="0"/>
                  <a:pt x="306" y="3"/>
                  <a:pt x="302" y="8"/>
                </a:cubicBezTo>
                <a:cubicBezTo>
                  <a:pt x="298" y="14"/>
                  <a:pt x="296" y="21"/>
                  <a:pt x="296" y="30"/>
                </a:cubicBezTo>
                <a:cubicBezTo>
                  <a:pt x="296" y="33"/>
                  <a:pt x="296" y="37"/>
                  <a:pt x="296" y="42"/>
                </a:cubicBezTo>
                <a:cubicBezTo>
                  <a:pt x="8" y="42"/>
                  <a:pt x="8" y="42"/>
                  <a:pt x="8" y="42"/>
                </a:cubicBezTo>
                <a:cubicBezTo>
                  <a:pt x="4" y="42"/>
                  <a:pt x="0" y="46"/>
                  <a:pt x="0" y="50"/>
                </a:cubicBezTo>
                <a:cubicBezTo>
                  <a:pt x="0" y="54"/>
                  <a:pt x="4" y="58"/>
                  <a:pt x="8" y="58"/>
                </a:cubicBezTo>
                <a:cubicBezTo>
                  <a:pt x="304" y="58"/>
                  <a:pt x="304" y="58"/>
                  <a:pt x="304" y="58"/>
                </a:cubicBezTo>
                <a:cubicBezTo>
                  <a:pt x="308" y="58"/>
                  <a:pt x="312" y="54"/>
                  <a:pt x="312" y="50"/>
                </a:cubicBezTo>
                <a:close/>
                <a:moveTo>
                  <a:pt x="312" y="162"/>
                </a:moveTo>
                <a:cubicBezTo>
                  <a:pt x="312" y="157"/>
                  <a:pt x="308" y="154"/>
                  <a:pt x="304" y="154"/>
                </a:cubicBezTo>
                <a:cubicBezTo>
                  <a:pt x="130" y="154"/>
                  <a:pt x="130" y="154"/>
                  <a:pt x="130" y="154"/>
                </a:cubicBezTo>
                <a:cubicBezTo>
                  <a:pt x="126" y="154"/>
                  <a:pt x="122" y="157"/>
                  <a:pt x="122" y="162"/>
                </a:cubicBezTo>
                <a:cubicBezTo>
                  <a:pt x="122" y="166"/>
                  <a:pt x="126" y="170"/>
                  <a:pt x="130" y="170"/>
                </a:cubicBezTo>
                <a:cubicBezTo>
                  <a:pt x="304" y="170"/>
                  <a:pt x="304" y="170"/>
                  <a:pt x="304" y="170"/>
                </a:cubicBezTo>
                <a:cubicBezTo>
                  <a:pt x="308" y="170"/>
                  <a:pt x="312" y="166"/>
                  <a:pt x="312" y="162"/>
                </a:cubicBezTo>
                <a:close/>
                <a:moveTo>
                  <a:pt x="464" y="107"/>
                </a:moveTo>
                <a:cubicBezTo>
                  <a:pt x="451" y="96"/>
                  <a:pt x="399" y="56"/>
                  <a:pt x="399" y="56"/>
                </a:cubicBezTo>
                <a:cubicBezTo>
                  <a:pt x="399" y="56"/>
                  <a:pt x="395" y="52"/>
                  <a:pt x="388" y="47"/>
                </a:cubicBezTo>
                <a:cubicBezTo>
                  <a:pt x="384" y="44"/>
                  <a:pt x="379" y="45"/>
                  <a:pt x="377" y="48"/>
                </a:cubicBezTo>
                <a:cubicBezTo>
                  <a:pt x="374" y="52"/>
                  <a:pt x="374" y="57"/>
                  <a:pt x="378" y="59"/>
                </a:cubicBezTo>
                <a:cubicBezTo>
                  <a:pt x="378" y="59"/>
                  <a:pt x="378" y="59"/>
                  <a:pt x="378" y="59"/>
                </a:cubicBezTo>
                <a:cubicBezTo>
                  <a:pt x="385" y="65"/>
                  <a:pt x="389" y="68"/>
                  <a:pt x="389" y="68"/>
                </a:cubicBezTo>
                <a:cubicBezTo>
                  <a:pt x="389" y="68"/>
                  <a:pt x="441" y="109"/>
                  <a:pt x="454" y="120"/>
                </a:cubicBezTo>
                <a:cubicBezTo>
                  <a:pt x="460" y="125"/>
                  <a:pt x="462" y="128"/>
                  <a:pt x="462" y="134"/>
                </a:cubicBezTo>
                <a:cubicBezTo>
                  <a:pt x="462" y="139"/>
                  <a:pt x="460" y="142"/>
                  <a:pt x="454" y="147"/>
                </a:cubicBezTo>
                <a:cubicBezTo>
                  <a:pt x="441" y="158"/>
                  <a:pt x="389" y="199"/>
                  <a:pt x="389" y="199"/>
                </a:cubicBezTo>
                <a:cubicBezTo>
                  <a:pt x="389" y="199"/>
                  <a:pt x="345" y="234"/>
                  <a:pt x="329" y="247"/>
                </a:cubicBezTo>
                <a:cubicBezTo>
                  <a:pt x="324" y="251"/>
                  <a:pt x="320" y="252"/>
                  <a:pt x="318" y="252"/>
                </a:cubicBezTo>
                <a:cubicBezTo>
                  <a:pt x="317" y="252"/>
                  <a:pt x="316" y="252"/>
                  <a:pt x="315" y="250"/>
                </a:cubicBezTo>
                <a:cubicBezTo>
                  <a:pt x="313" y="248"/>
                  <a:pt x="312" y="244"/>
                  <a:pt x="312" y="237"/>
                </a:cubicBezTo>
                <a:cubicBezTo>
                  <a:pt x="312" y="232"/>
                  <a:pt x="312" y="226"/>
                  <a:pt x="312" y="218"/>
                </a:cubicBezTo>
                <a:cubicBezTo>
                  <a:pt x="312" y="213"/>
                  <a:pt x="308" y="210"/>
                  <a:pt x="304" y="210"/>
                </a:cubicBezTo>
                <a:cubicBezTo>
                  <a:pt x="176" y="210"/>
                  <a:pt x="176" y="210"/>
                  <a:pt x="176" y="210"/>
                </a:cubicBezTo>
                <a:cubicBezTo>
                  <a:pt x="172" y="210"/>
                  <a:pt x="168" y="213"/>
                  <a:pt x="168" y="218"/>
                </a:cubicBezTo>
                <a:cubicBezTo>
                  <a:pt x="168" y="222"/>
                  <a:pt x="172" y="226"/>
                  <a:pt x="176" y="226"/>
                </a:cubicBezTo>
                <a:cubicBezTo>
                  <a:pt x="296" y="226"/>
                  <a:pt x="296" y="226"/>
                  <a:pt x="296" y="226"/>
                </a:cubicBezTo>
                <a:cubicBezTo>
                  <a:pt x="296" y="230"/>
                  <a:pt x="296" y="234"/>
                  <a:pt x="296" y="237"/>
                </a:cubicBezTo>
                <a:cubicBezTo>
                  <a:pt x="296" y="246"/>
                  <a:pt x="298" y="253"/>
                  <a:pt x="302" y="259"/>
                </a:cubicBezTo>
                <a:cubicBezTo>
                  <a:pt x="305" y="264"/>
                  <a:pt x="312" y="268"/>
                  <a:pt x="318" y="268"/>
                </a:cubicBezTo>
                <a:cubicBezTo>
                  <a:pt x="318" y="268"/>
                  <a:pt x="318" y="268"/>
                  <a:pt x="318" y="268"/>
                </a:cubicBezTo>
                <a:cubicBezTo>
                  <a:pt x="326" y="268"/>
                  <a:pt x="333" y="264"/>
                  <a:pt x="339" y="259"/>
                </a:cubicBezTo>
                <a:cubicBezTo>
                  <a:pt x="354" y="246"/>
                  <a:pt x="399" y="212"/>
                  <a:pt x="399" y="211"/>
                </a:cubicBezTo>
                <a:cubicBezTo>
                  <a:pt x="399" y="211"/>
                  <a:pt x="451" y="171"/>
                  <a:pt x="464" y="160"/>
                </a:cubicBezTo>
                <a:cubicBezTo>
                  <a:pt x="472" y="153"/>
                  <a:pt x="478" y="144"/>
                  <a:pt x="478" y="134"/>
                </a:cubicBezTo>
                <a:cubicBezTo>
                  <a:pt x="478" y="123"/>
                  <a:pt x="472" y="114"/>
                  <a:pt x="464" y="107"/>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1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1238" y="4631460"/>
            <a:ext cx="1815118" cy="889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650597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37"/>
          <p:cNvSpPr>
            <a:spLocks noChangeArrowheads="1"/>
          </p:cNvSpPr>
          <p:nvPr/>
        </p:nvSpPr>
        <p:spPr bwMode="auto">
          <a:xfrm>
            <a:off x="0" y="2383971"/>
            <a:ext cx="9144000" cy="4474029"/>
          </a:xfrm>
          <a:prstGeom prst="rect">
            <a:avLst/>
          </a:prstGeom>
          <a:solidFill>
            <a:srgbClr val="00A9D4"/>
          </a:solidFill>
          <a:ln>
            <a:noFill/>
          </a:ln>
        </p:spPr>
        <p:txBody>
          <a:bodyPr lIns="82800" rIns="0" anchor="ctr"/>
          <a:lstStyle/>
          <a:p>
            <a:pPr>
              <a:spcBef>
                <a:spcPts val="300"/>
              </a:spcBef>
            </a:pPr>
            <a:endParaRPr lang="en-US">
              <a:solidFill>
                <a:schemeClr val="bg1"/>
              </a:solidFill>
            </a:endParaRPr>
          </a:p>
        </p:txBody>
      </p:sp>
      <p:sp>
        <p:nvSpPr>
          <p:cNvPr id="13" name="Content Placeholder 1"/>
          <p:cNvSpPr>
            <a:spLocks noGrp="1"/>
          </p:cNvSpPr>
          <p:nvPr>
            <p:ph idx="1"/>
          </p:nvPr>
        </p:nvSpPr>
        <p:spPr>
          <a:xfrm>
            <a:off x="2612563" y="1405026"/>
            <a:ext cx="6226629" cy="873945"/>
          </a:xfrm>
        </p:spPr>
        <p:txBody>
          <a:bodyPr/>
          <a:lstStyle/>
          <a:p>
            <a:pPr>
              <a:lnSpc>
                <a:spcPct val="90000"/>
              </a:lnSpc>
              <a:spcBef>
                <a:spcPct val="0"/>
              </a:spcBef>
              <a:spcAft>
                <a:spcPts val="600"/>
              </a:spcAft>
              <a:buClr>
                <a:srgbClr val="00B0F0"/>
              </a:buClr>
              <a:defRPr/>
            </a:pPr>
            <a:r>
              <a:rPr lang="en-CA" kern="1200" dirty="0">
                <a:solidFill>
                  <a:schemeClr val="bg2">
                    <a:lumMod val="50000"/>
                  </a:schemeClr>
                </a:solidFill>
              </a:rPr>
              <a:t>New entities are being defined as per TMF</a:t>
            </a:r>
          </a:p>
          <a:p>
            <a:pPr>
              <a:lnSpc>
                <a:spcPct val="90000"/>
              </a:lnSpc>
              <a:spcBef>
                <a:spcPct val="0"/>
              </a:spcBef>
              <a:spcAft>
                <a:spcPts val="600"/>
              </a:spcAft>
              <a:buClr>
                <a:srgbClr val="00B0F0"/>
              </a:buClr>
              <a:defRPr/>
            </a:pPr>
            <a:r>
              <a:rPr lang="en-CA" kern="1200" dirty="0">
                <a:solidFill>
                  <a:schemeClr val="bg2">
                    <a:lumMod val="50000"/>
                  </a:schemeClr>
                </a:solidFill>
              </a:rPr>
              <a:t>Catalog to catalog interaction </a:t>
            </a:r>
            <a:r>
              <a:rPr lang="en-CA" kern="1200" dirty="0" smtClean="0">
                <a:solidFill>
                  <a:schemeClr val="bg2">
                    <a:lumMod val="50000"/>
                  </a:schemeClr>
                </a:solidFill>
              </a:rPr>
              <a:t>enabled</a:t>
            </a:r>
            <a:endParaRPr lang="en-CA" kern="1200" dirty="0">
              <a:solidFill>
                <a:schemeClr val="bg2">
                  <a:lumMod val="50000"/>
                </a:schemeClr>
              </a:solidFill>
            </a:endParaRPr>
          </a:p>
        </p:txBody>
      </p:sp>
      <p:sp>
        <p:nvSpPr>
          <p:cNvPr id="23554" name="Title 2"/>
          <p:cNvSpPr>
            <a:spLocks noGrp="1"/>
          </p:cNvSpPr>
          <p:nvPr>
            <p:ph type="title"/>
          </p:nvPr>
        </p:nvSpPr>
        <p:spPr/>
        <p:txBody>
          <a:bodyPr/>
          <a:lstStyle/>
          <a:p>
            <a:r>
              <a:rPr lang="en-US" sz="3600" dirty="0" smtClean="0">
                <a:latin typeface="Ericsson Capital TT" pitchFamily="2" charset="0"/>
                <a:ea typeface="ＭＳ Ｐゴシック" pitchFamily="34" charset="-128"/>
              </a:rPr>
              <a:t>New Service &amp; Resource </a:t>
            </a:r>
            <a:br>
              <a:rPr lang="en-US" sz="3600" dirty="0" smtClean="0">
                <a:latin typeface="Ericsson Capital TT" pitchFamily="2" charset="0"/>
                <a:ea typeface="ＭＳ Ｐゴシック" pitchFamily="34" charset="-128"/>
              </a:rPr>
            </a:br>
            <a:r>
              <a:rPr lang="en-US" sz="3600" dirty="0" smtClean="0">
                <a:latin typeface="Ericsson Capital TT" pitchFamily="2" charset="0"/>
                <a:ea typeface="ＭＳ Ｐゴシック" pitchFamily="34" charset="-128"/>
              </a:rPr>
              <a:t>Candidate entities</a:t>
            </a:r>
          </a:p>
        </p:txBody>
      </p:sp>
      <p:sp>
        <p:nvSpPr>
          <p:cNvPr id="23555" name="Rectangle 2"/>
          <p:cNvSpPr>
            <a:spLocks noChangeArrowheads="1"/>
          </p:cNvSpPr>
          <p:nvPr/>
        </p:nvSpPr>
        <p:spPr bwMode="auto">
          <a:xfrm>
            <a:off x="4479638" y="-200055"/>
            <a:ext cx="18473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grpSp>
        <p:nvGrpSpPr>
          <p:cNvPr id="3" name="Group 2"/>
          <p:cNvGrpSpPr/>
          <p:nvPr/>
        </p:nvGrpSpPr>
        <p:grpSpPr>
          <a:xfrm>
            <a:off x="3363686" y="2569028"/>
            <a:ext cx="5627914" cy="4142138"/>
            <a:chOff x="3363686" y="2569028"/>
            <a:chExt cx="5627914" cy="4142138"/>
          </a:xfrm>
        </p:grpSpPr>
        <p:sp>
          <p:nvSpPr>
            <p:cNvPr id="2" name="Rectangle 1"/>
            <p:cNvSpPr/>
            <p:nvPr/>
          </p:nvSpPr>
          <p:spPr bwMode="auto">
            <a:xfrm>
              <a:off x="3363686" y="2569028"/>
              <a:ext cx="5627914" cy="4142138"/>
            </a:xfrm>
            <a:prstGeom prst="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graphicFrame>
          <p:nvGraphicFramePr>
            <p:cNvPr id="23556" name="Object 4"/>
            <p:cNvGraphicFramePr>
              <a:graphicFrameLocks noChangeAspect="1"/>
            </p:cNvGraphicFramePr>
            <p:nvPr>
              <p:extLst>
                <p:ext uri="{D42A27DB-BD31-4B8C-83A1-F6EECF244321}">
                  <p14:modId xmlns:p14="http://schemas.microsoft.com/office/powerpoint/2010/main" val="3675201358"/>
                </p:ext>
              </p:extLst>
            </p:nvPr>
          </p:nvGraphicFramePr>
          <p:xfrm>
            <a:off x="3448646" y="2664216"/>
            <a:ext cx="5457995" cy="3951762"/>
          </p:xfrm>
          <a:graphic>
            <a:graphicData uri="http://schemas.openxmlformats.org/presentationml/2006/ole">
              <mc:AlternateContent xmlns:mc="http://schemas.openxmlformats.org/markup-compatibility/2006">
                <mc:Choice xmlns:v="urn:schemas-microsoft-com:vml" Requires="v">
                  <p:oleObj spid="_x0000_s34870" r:id="rId4" imgW="6996227" imgH="3798576" progId="Visio.Drawing.11">
                    <p:embed/>
                  </p:oleObj>
                </mc:Choice>
                <mc:Fallback>
                  <p:oleObj r:id="rId4" imgW="6996227" imgH="3798576"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48646" y="2664216"/>
                          <a:ext cx="5457995" cy="3951762"/>
                        </a:xfrm>
                        <a:prstGeom prst="rect">
                          <a:avLst/>
                        </a:prstGeom>
                        <a:noFill/>
                        <a:ln>
                          <a:noFill/>
                        </a:ln>
                        <a:extLst/>
                      </p:spPr>
                    </p:pic>
                  </p:oleObj>
                </mc:Fallback>
              </mc:AlternateContent>
            </a:graphicData>
          </a:graphic>
        </p:graphicFrame>
        <p:sp>
          <p:nvSpPr>
            <p:cNvPr id="23557" name="Oval 8"/>
            <p:cNvSpPr>
              <a:spLocks noChangeArrowheads="1"/>
            </p:cNvSpPr>
            <p:nvPr/>
          </p:nvSpPr>
          <p:spPr bwMode="auto">
            <a:xfrm>
              <a:off x="6082393" y="4538497"/>
              <a:ext cx="190500" cy="203200"/>
            </a:xfrm>
            <a:prstGeom prst="ellipse">
              <a:avLst/>
            </a:prstGeom>
            <a:solidFill>
              <a:srgbClr val="00A9D4"/>
            </a:solidFill>
            <a:ln w="12700" algn="ctr">
              <a:solidFill>
                <a:schemeClr val="tx1"/>
              </a:solidFill>
              <a:round/>
              <a:headEnd/>
              <a:tailEnd/>
            </a:ln>
          </p:spPr>
          <p:txBody>
            <a:bodyPr wrap="none" lIns="72000" rIns="72000"/>
            <a:lstStyle/>
            <a:p>
              <a:pPr>
                <a:spcBef>
                  <a:spcPct val="50000"/>
                </a:spcBef>
              </a:pPr>
              <a:endParaRPr lang="en-US"/>
            </a:p>
          </p:txBody>
        </p:sp>
        <p:sp>
          <p:nvSpPr>
            <p:cNvPr id="23558" name="Oval 11"/>
            <p:cNvSpPr>
              <a:spLocks noChangeArrowheads="1"/>
            </p:cNvSpPr>
            <p:nvPr/>
          </p:nvSpPr>
          <p:spPr bwMode="auto">
            <a:xfrm>
              <a:off x="6082393" y="4538497"/>
              <a:ext cx="190500" cy="203200"/>
            </a:xfrm>
            <a:prstGeom prst="ellipse">
              <a:avLst/>
            </a:prstGeom>
            <a:solidFill>
              <a:srgbClr val="00A9D4"/>
            </a:solidFill>
            <a:ln w="12700" algn="ctr">
              <a:solidFill>
                <a:schemeClr val="tx1"/>
              </a:solidFill>
              <a:round/>
              <a:headEnd/>
              <a:tailEnd/>
            </a:ln>
          </p:spPr>
          <p:txBody>
            <a:bodyPr wrap="none" lIns="72000" rIns="72000"/>
            <a:lstStyle/>
            <a:p>
              <a:pPr>
                <a:spcBef>
                  <a:spcPct val="50000"/>
                </a:spcBef>
              </a:pPr>
              <a:endParaRPr lang="en-US"/>
            </a:p>
          </p:txBody>
        </p:sp>
      </p:grpSp>
      <p:sp>
        <p:nvSpPr>
          <p:cNvPr id="9" name="Rectangle 51"/>
          <p:cNvSpPr>
            <a:spLocks noChangeArrowheads="1"/>
          </p:cNvSpPr>
          <p:nvPr/>
        </p:nvSpPr>
        <p:spPr bwMode="auto">
          <a:xfrm>
            <a:off x="154622" y="1373139"/>
            <a:ext cx="2850242"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p>
            <a:pPr>
              <a:lnSpc>
                <a:spcPct val="90000"/>
              </a:lnSpc>
            </a:pPr>
            <a:r>
              <a:rPr lang="en-US" sz="2800" dirty="0" smtClean="0">
                <a:solidFill>
                  <a:srgbClr val="00A9D4"/>
                </a:solidFill>
                <a:ea typeface="MS PGothic" pitchFamily="34" charset="-128"/>
              </a:rPr>
              <a:t>Release</a:t>
            </a:r>
            <a:br>
              <a:rPr lang="en-US" sz="2800" dirty="0" smtClean="0">
                <a:solidFill>
                  <a:srgbClr val="00A9D4"/>
                </a:solidFill>
                <a:ea typeface="MS PGothic" pitchFamily="34" charset="-128"/>
              </a:rPr>
            </a:br>
            <a:r>
              <a:rPr lang="en-US" sz="2800" dirty="0" smtClean="0">
                <a:solidFill>
                  <a:srgbClr val="00A9D4"/>
                </a:solidFill>
                <a:ea typeface="MS PGothic" pitchFamily="34" charset="-128"/>
              </a:rPr>
              <a:t>14.1 GA</a:t>
            </a:r>
            <a:endParaRPr lang="en-US" sz="2800" dirty="0">
              <a:solidFill>
                <a:srgbClr val="00A9D4"/>
              </a:solidFill>
              <a:ea typeface="MS PGothic" pitchFamily="34" charset="-128"/>
            </a:endParaRPr>
          </a:p>
        </p:txBody>
      </p:sp>
      <p:sp>
        <p:nvSpPr>
          <p:cNvPr id="12" name="Content Placeholder 4"/>
          <p:cNvSpPr txBox="1">
            <a:spLocks/>
          </p:cNvSpPr>
          <p:nvPr/>
        </p:nvSpPr>
        <p:spPr bwMode="auto">
          <a:xfrm>
            <a:off x="209052" y="3187568"/>
            <a:ext cx="2869382" cy="3014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0" rIns="72000" bIns="0" numCol="1" anchor="t" anchorCtr="0" compatLnSpc="1">
            <a:prstTxWarp prst="textNoShape">
              <a:avLst/>
            </a:prstTxWarp>
          </a:bodyPr>
          <a:lstStyle>
            <a:lvl1pPr marL="176213" indent="-176213" algn="l" rtl="0" eaLnBrk="0" fontAlgn="base" hangingPunct="0">
              <a:spcBef>
                <a:spcPct val="20000"/>
              </a:spcBef>
              <a:spcAft>
                <a:spcPct val="0"/>
              </a:spcAft>
              <a:buClr>
                <a:srgbClr val="00A9D4"/>
              </a:buClr>
              <a:buFont typeface="Arial" pitchFamily="34" charset="0"/>
              <a:buChar char="›"/>
              <a:defRPr sz="2400">
                <a:solidFill>
                  <a:schemeClr val="tx1"/>
                </a:solidFill>
                <a:latin typeface="+mn-lt"/>
                <a:ea typeface="+mn-ea"/>
                <a:cs typeface="+mn-cs"/>
              </a:defRPr>
            </a:lvl1pPr>
            <a:lvl2pPr marL="533400" indent="-177800"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0" fontAlgn="base" hangingPunct="0">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nSpc>
                <a:spcPct val="90000"/>
              </a:lnSpc>
              <a:spcBef>
                <a:spcPct val="0"/>
              </a:spcBef>
              <a:spcAft>
                <a:spcPts val="1800"/>
              </a:spcAft>
              <a:buClr>
                <a:schemeClr val="bg1"/>
              </a:buClr>
              <a:buNone/>
            </a:pPr>
            <a:r>
              <a:rPr lang="en-US" sz="2000" b="1" dirty="0" smtClean="0">
                <a:solidFill>
                  <a:schemeClr val="bg1"/>
                </a:solidFill>
              </a:rPr>
              <a:t>BENEFITS</a:t>
            </a:r>
          </a:p>
          <a:p>
            <a:pPr>
              <a:lnSpc>
                <a:spcPct val="90000"/>
              </a:lnSpc>
              <a:spcBef>
                <a:spcPct val="0"/>
              </a:spcBef>
              <a:spcAft>
                <a:spcPts val="1800"/>
              </a:spcAft>
              <a:buClr>
                <a:schemeClr val="bg1"/>
              </a:buClr>
            </a:pPr>
            <a:r>
              <a:rPr lang="en-US" sz="2000" dirty="0">
                <a:solidFill>
                  <a:schemeClr val="bg1"/>
                </a:solidFill>
              </a:rPr>
              <a:t>Federate  catalog data to 3rd party catalog, or</a:t>
            </a:r>
          </a:p>
          <a:p>
            <a:pPr>
              <a:lnSpc>
                <a:spcPct val="90000"/>
              </a:lnSpc>
              <a:spcBef>
                <a:spcPct val="0"/>
              </a:spcBef>
              <a:spcAft>
                <a:spcPts val="1800"/>
              </a:spcAft>
              <a:buClr>
                <a:schemeClr val="bg1"/>
              </a:buClr>
            </a:pPr>
            <a:r>
              <a:rPr lang="en-US" sz="2000" dirty="0">
                <a:solidFill>
                  <a:schemeClr val="bg1"/>
                </a:solidFill>
              </a:rPr>
              <a:t>Federate resources such as router, </a:t>
            </a:r>
            <a:r>
              <a:rPr lang="en-US" sz="2000" dirty="0" smtClean="0">
                <a:solidFill>
                  <a:schemeClr val="bg1"/>
                </a:solidFill>
              </a:rPr>
              <a:t>CPE, etc. </a:t>
            </a:r>
            <a:r>
              <a:rPr lang="en-US" sz="2000" dirty="0">
                <a:solidFill>
                  <a:schemeClr val="bg1"/>
                </a:solidFill>
              </a:rPr>
              <a:t>being provided by 3rd party into </a:t>
            </a:r>
            <a:r>
              <a:rPr lang="en-US" sz="2000" dirty="0" smtClean="0">
                <a:solidFill>
                  <a:schemeClr val="bg1"/>
                </a:solidFill>
              </a:rPr>
              <a:t>catalog</a:t>
            </a:r>
          </a:p>
          <a:p>
            <a:pPr>
              <a:lnSpc>
                <a:spcPct val="90000"/>
              </a:lnSpc>
              <a:spcBef>
                <a:spcPct val="0"/>
              </a:spcBef>
              <a:spcAft>
                <a:spcPts val="1800"/>
              </a:spcAft>
              <a:buClr>
                <a:schemeClr val="accent2"/>
              </a:buClr>
            </a:pPr>
            <a:endParaRPr lang="en-US" sz="2000" dirty="0" smtClean="0">
              <a:solidFill>
                <a:schemeClr val="bg1"/>
              </a:solidFill>
            </a:endParaRPr>
          </a:p>
        </p:txBody>
      </p:sp>
    </p:spTree>
    <p:extLst>
      <p:ext uri="{BB962C8B-B14F-4D97-AF65-F5344CB8AC3E}">
        <p14:creationId xmlns:p14="http://schemas.microsoft.com/office/powerpoint/2010/main" val="21060841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r>
              <a:rPr lang="en-US" smtClean="0">
                <a:latin typeface="Ericsson Capital TT" pitchFamily="2" charset="0"/>
              </a:rPr>
              <a:t>Our Presenters</a:t>
            </a:r>
          </a:p>
        </p:txBody>
      </p:sp>
      <p:pic>
        <p:nvPicPr>
          <p:cNvPr id="6" name="Picture 5"/>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l="19536" r="35713" b="26806"/>
          <a:stretch/>
        </p:blipFill>
        <p:spPr>
          <a:xfrm>
            <a:off x="7172024" y="3044026"/>
            <a:ext cx="1377435" cy="1689665"/>
          </a:xfrm>
          <a:prstGeom prst="rect">
            <a:avLst/>
          </a:prstGeom>
          <a:noFill/>
          <a:ln w="38100" cap="flat" cmpd="sng" algn="ctr">
            <a:solidFill>
              <a:srgbClr val="A66C99"/>
            </a:solidFill>
            <a:prstDash val="solid"/>
            <a:miter lim="800000"/>
            <a:headEnd type="none" w="med" len="med"/>
            <a:tailEnd type="none" w="med" len="med"/>
          </a:ln>
        </p:spPr>
      </p:pic>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l="20658"/>
          <a:stretch/>
        </p:blipFill>
        <p:spPr>
          <a:xfrm>
            <a:off x="5001572" y="3044026"/>
            <a:ext cx="1340608" cy="1689665"/>
          </a:xfrm>
          <a:prstGeom prst="rect">
            <a:avLst/>
          </a:prstGeom>
          <a:noFill/>
          <a:ln w="38100" cap="flat" cmpd="sng" algn="ctr">
            <a:solidFill>
              <a:srgbClr val="A66C99"/>
            </a:solidFill>
            <a:prstDash val="solid"/>
            <a:miter lim="800000"/>
            <a:headEnd type="none" w="med" len="med"/>
            <a:tailEnd type="none" w="med" len="med"/>
          </a:ln>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5426" y="3044026"/>
            <a:ext cx="1377435" cy="1689665"/>
          </a:xfrm>
          <a:prstGeom prst="rect">
            <a:avLst/>
          </a:prstGeom>
          <a:noFill/>
          <a:ln w="38100" cap="flat" cmpd="sng" algn="ctr">
            <a:solidFill>
              <a:srgbClr val="A66C99"/>
            </a:solidFill>
            <a:prstDash val="solid"/>
            <a:miter lim="800000"/>
            <a:headEnd type="none" w="med" len="med"/>
            <a:tailEnd type="none" w="med" len="med"/>
          </a:ln>
        </p:spPr>
      </p:pic>
      <p:pic>
        <p:nvPicPr>
          <p:cNvPr id="9" name="Picture 8"/>
          <p:cNvPicPr>
            <a:picLocks noChangeAspect="1"/>
          </p:cNvPicPr>
          <p:nvPr/>
        </p:nvPicPr>
        <p:blipFill rotWithShape="1">
          <a:blip r:embed="rId7" cstate="print">
            <a:extLst>
              <a:ext uri="{28A0092B-C50C-407E-A947-70E740481C1C}">
                <a14:useLocalDpi xmlns:a14="http://schemas.microsoft.com/office/drawing/2010/main" val="0"/>
              </a:ext>
            </a:extLst>
          </a:blip>
          <a:srcRect l="15487" t="5223" r="7617" b="17638"/>
          <a:stretch/>
        </p:blipFill>
        <p:spPr>
          <a:xfrm>
            <a:off x="2813927" y="3044026"/>
            <a:ext cx="1338169" cy="1689665"/>
          </a:xfrm>
          <a:prstGeom prst="rect">
            <a:avLst/>
          </a:prstGeom>
          <a:noFill/>
          <a:ln w="38100" cap="flat" cmpd="sng" algn="ctr">
            <a:solidFill>
              <a:srgbClr val="A66C99"/>
            </a:solidFill>
            <a:prstDash val="solid"/>
            <a:miter lim="800000"/>
            <a:headEnd type="none" w="med" len="med"/>
            <a:tailEnd type="none" w="med" len="med"/>
          </a:ln>
        </p:spPr>
      </p:pic>
      <p:sp>
        <p:nvSpPr>
          <p:cNvPr id="33" name="Freeform 3"/>
          <p:cNvSpPr>
            <a:spLocks noChangeAspect="1"/>
          </p:cNvSpPr>
          <p:nvPr/>
        </p:nvSpPr>
        <p:spPr bwMode="auto">
          <a:xfrm>
            <a:off x="244622" y="1600204"/>
            <a:ext cx="2099043" cy="4388760"/>
          </a:xfrm>
          <a:custGeom>
            <a:avLst/>
            <a:gdLst>
              <a:gd name="T0" fmla="*/ 2147483647 w 545"/>
              <a:gd name="T1" fmla="*/ 2147483647 h 1140"/>
              <a:gd name="T2" fmla="*/ 0 w 545"/>
              <a:gd name="T3" fmla="*/ 2147483647 h 1140"/>
              <a:gd name="T4" fmla="*/ 0 w 545"/>
              <a:gd name="T5" fmla="*/ 2147483647 h 1140"/>
              <a:gd name="T6" fmla="*/ 0 w 545"/>
              <a:gd name="T7" fmla="*/ 2147483647 h 1140"/>
              <a:gd name="T8" fmla="*/ 2147483647 w 545"/>
              <a:gd name="T9" fmla="*/ 0 h 1140"/>
              <a:gd name="T10" fmla="*/ 2147483647 w 545"/>
              <a:gd name="T11" fmla="*/ 0 h 1140"/>
              <a:gd name="T12" fmla="*/ 2147483647 w 545"/>
              <a:gd name="T13" fmla="*/ 0 h 1140"/>
              <a:gd name="T14" fmla="*/ 2147483647 w 545"/>
              <a:gd name="T15" fmla="*/ 2147483647 h 1140"/>
              <a:gd name="T16" fmla="*/ 2147483647 w 545"/>
              <a:gd name="T17" fmla="*/ 2147483647 h 1140"/>
              <a:gd name="T18" fmla="*/ 2147483647 w 545"/>
              <a:gd name="T19" fmla="*/ 2147483647 h 1140"/>
              <a:gd name="T20" fmla="*/ 2147483647 w 545"/>
              <a:gd name="T21" fmla="*/ 2147483647 h 1140"/>
              <a:gd name="T22" fmla="*/ 2147483647 w 545"/>
              <a:gd name="T23" fmla="*/ 2147483647 h 1140"/>
              <a:gd name="T24" fmla="*/ 2147483647 w 545"/>
              <a:gd name="T25" fmla="*/ 2147483647 h 1140"/>
              <a:gd name="T26" fmla="*/ 2147483647 w 545"/>
              <a:gd name="T27" fmla="*/ 2147483647 h 1140"/>
              <a:gd name="T28" fmla="*/ 2147483647 w 545"/>
              <a:gd name="T29" fmla="*/ 2147483647 h 1140"/>
              <a:gd name="T30" fmla="*/ 2147483647 w 545"/>
              <a:gd name="T31" fmla="*/ 2147483647 h 1140"/>
              <a:gd name="T32" fmla="*/ 2147483647 w 545"/>
              <a:gd name="T33" fmla="*/ 2147483647 h 1140"/>
              <a:gd name="T34" fmla="*/ 2147483647 w 545"/>
              <a:gd name="T35" fmla="*/ 2147483647 h 1140"/>
              <a:gd name="T36" fmla="*/ 2147483647 w 545"/>
              <a:gd name="T37" fmla="*/ 2147483647 h 1140"/>
              <a:gd name="T38" fmla="*/ 2147483647 w 545"/>
              <a:gd name="T39" fmla="*/ 2147483647 h 1140"/>
              <a:gd name="T40" fmla="*/ 2147483647 w 545"/>
              <a:gd name="T41" fmla="*/ 2147483647 h 1140"/>
              <a:gd name="T42" fmla="*/ 2147483647 w 545"/>
              <a:gd name="T43" fmla="*/ 2147483647 h 1140"/>
              <a:gd name="T44" fmla="*/ 2147483647 w 545"/>
              <a:gd name="T45" fmla="*/ 2147483647 h 1140"/>
              <a:gd name="T46" fmla="*/ 2147483647 w 545"/>
              <a:gd name="T47" fmla="*/ 2147483647 h 1140"/>
              <a:gd name="T48" fmla="*/ 2147483647 w 545"/>
              <a:gd name="T49" fmla="*/ 2147483647 h 1140"/>
              <a:gd name="T50" fmla="*/ 2147483647 w 545"/>
              <a:gd name="T51" fmla="*/ 2147483647 h 1140"/>
              <a:gd name="T52" fmla="*/ 2147483647 w 545"/>
              <a:gd name="T53" fmla="*/ 2147483647 h 1140"/>
              <a:gd name="T54" fmla="*/ 2147483647 w 545"/>
              <a:gd name="T55" fmla="*/ 2147483647 h 1140"/>
              <a:gd name="T56" fmla="*/ 2147483647 w 545"/>
              <a:gd name="T57" fmla="*/ 2147483647 h 1140"/>
              <a:gd name="T58" fmla="*/ 2147483647 w 545"/>
              <a:gd name="T59" fmla="*/ 2147483647 h 1140"/>
              <a:gd name="T60" fmla="*/ 2147483647 w 545"/>
              <a:gd name="T61" fmla="*/ 2147483647 h 1140"/>
              <a:gd name="T62" fmla="*/ 2147483647 w 545"/>
              <a:gd name="T63" fmla="*/ 2147483647 h 1140"/>
              <a:gd name="T64" fmla="*/ 2147483647 w 545"/>
              <a:gd name="T65" fmla="*/ 2147483647 h 1140"/>
              <a:gd name="T66" fmla="*/ 2147483647 w 545"/>
              <a:gd name="T67" fmla="*/ 2147483647 h 1140"/>
              <a:gd name="T68" fmla="*/ 2147483647 w 545"/>
              <a:gd name="T69" fmla="*/ 2147483647 h 1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1140"/>
              <a:gd name="T107" fmla="*/ 545 w 545"/>
              <a:gd name="T108" fmla="*/ 1140 h 114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1140">
                <a:moveTo>
                  <a:pt x="30" y="1140"/>
                </a:moveTo>
                <a:cubicBezTo>
                  <a:pt x="13" y="1140"/>
                  <a:pt x="0" y="1126"/>
                  <a:pt x="0" y="1109"/>
                </a:cubicBezTo>
                <a:cubicBezTo>
                  <a:pt x="0" y="1109"/>
                  <a:pt x="0" y="1109"/>
                  <a:pt x="0" y="1109"/>
                </a:cubicBezTo>
                <a:cubicBezTo>
                  <a:pt x="0" y="31"/>
                  <a:pt x="0" y="31"/>
                  <a:pt x="0" y="31"/>
                </a:cubicBezTo>
                <a:cubicBezTo>
                  <a:pt x="0" y="14"/>
                  <a:pt x="13" y="0"/>
                  <a:pt x="30" y="0"/>
                </a:cubicBezTo>
                <a:cubicBezTo>
                  <a:pt x="30" y="0"/>
                  <a:pt x="30" y="0"/>
                  <a:pt x="30" y="0"/>
                </a:cubicBezTo>
                <a:cubicBezTo>
                  <a:pt x="514" y="0"/>
                  <a:pt x="514" y="0"/>
                  <a:pt x="514" y="0"/>
                </a:cubicBezTo>
                <a:cubicBezTo>
                  <a:pt x="531" y="0"/>
                  <a:pt x="545" y="14"/>
                  <a:pt x="545" y="31"/>
                </a:cubicBezTo>
                <a:cubicBezTo>
                  <a:pt x="545" y="31"/>
                  <a:pt x="545" y="31"/>
                  <a:pt x="545" y="31"/>
                </a:cubicBezTo>
                <a:cubicBezTo>
                  <a:pt x="545" y="53"/>
                  <a:pt x="545" y="53"/>
                  <a:pt x="545" y="53"/>
                </a:cubicBezTo>
                <a:cubicBezTo>
                  <a:pt x="545" y="57"/>
                  <a:pt x="541" y="61"/>
                  <a:pt x="537" y="61"/>
                </a:cubicBezTo>
                <a:cubicBezTo>
                  <a:pt x="537" y="61"/>
                  <a:pt x="537" y="61"/>
                  <a:pt x="537" y="61"/>
                </a:cubicBezTo>
                <a:cubicBezTo>
                  <a:pt x="532" y="61"/>
                  <a:pt x="529" y="57"/>
                  <a:pt x="529" y="53"/>
                </a:cubicBezTo>
                <a:cubicBezTo>
                  <a:pt x="529" y="53"/>
                  <a:pt x="529" y="53"/>
                  <a:pt x="529" y="53"/>
                </a:cubicBezTo>
                <a:cubicBezTo>
                  <a:pt x="529" y="31"/>
                  <a:pt x="529" y="31"/>
                  <a:pt x="529" y="31"/>
                </a:cubicBezTo>
                <a:cubicBezTo>
                  <a:pt x="529" y="23"/>
                  <a:pt x="522" y="16"/>
                  <a:pt x="514" y="16"/>
                </a:cubicBezTo>
                <a:cubicBezTo>
                  <a:pt x="514" y="16"/>
                  <a:pt x="514" y="16"/>
                  <a:pt x="514" y="16"/>
                </a:cubicBezTo>
                <a:cubicBezTo>
                  <a:pt x="30" y="16"/>
                  <a:pt x="30" y="16"/>
                  <a:pt x="30" y="16"/>
                </a:cubicBezTo>
                <a:cubicBezTo>
                  <a:pt x="22" y="16"/>
                  <a:pt x="16" y="23"/>
                  <a:pt x="16" y="31"/>
                </a:cubicBezTo>
                <a:cubicBezTo>
                  <a:pt x="16" y="31"/>
                  <a:pt x="16" y="31"/>
                  <a:pt x="16" y="31"/>
                </a:cubicBezTo>
                <a:cubicBezTo>
                  <a:pt x="16" y="1109"/>
                  <a:pt x="16" y="1109"/>
                  <a:pt x="16" y="1109"/>
                </a:cubicBezTo>
                <a:cubicBezTo>
                  <a:pt x="16" y="1117"/>
                  <a:pt x="22" y="1124"/>
                  <a:pt x="30" y="1124"/>
                </a:cubicBezTo>
                <a:cubicBezTo>
                  <a:pt x="30" y="1124"/>
                  <a:pt x="30" y="1124"/>
                  <a:pt x="30" y="1124"/>
                </a:cubicBezTo>
                <a:cubicBezTo>
                  <a:pt x="514" y="1124"/>
                  <a:pt x="514" y="1124"/>
                  <a:pt x="514" y="1124"/>
                </a:cubicBezTo>
                <a:cubicBezTo>
                  <a:pt x="522" y="1124"/>
                  <a:pt x="529" y="1117"/>
                  <a:pt x="529" y="1109"/>
                </a:cubicBezTo>
                <a:cubicBezTo>
                  <a:pt x="529" y="1109"/>
                  <a:pt x="529" y="1109"/>
                  <a:pt x="529" y="1109"/>
                </a:cubicBezTo>
                <a:cubicBezTo>
                  <a:pt x="529" y="82"/>
                  <a:pt x="529" y="82"/>
                  <a:pt x="529" y="82"/>
                </a:cubicBezTo>
                <a:cubicBezTo>
                  <a:pt x="529" y="78"/>
                  <a:pt x="532" y="74"/>
                  <a:pt x="537" y="74"/>
                </a:cubicBezTo>
                <a:cubicBezTo>
                  <a:pt x="537" y="74"/>
                  <a:pt x="537" y="74"/>
                  <a:pt x="537" y="74"/>
                </a:cubicBezTo>
                <a:cubicBezTo>
                  <a:pt x="541" y="74"/>
                  <a:pt x="545" y="78"/>
                  <a:pt x="545" y="82"/>
                </a:cubicBezTo>
                <a:cubicBezTo>
                  <a:pt x="545" y="82"/>
                  <a:pt x="545" y="82"/>
                  <a:pt x="545" y="82"/>
                </a:cubicBezTo>
                <a:cubicBezTo>
                  <a:pt x="545" y="1109"/>
                  <a:pt x="545" y="1109"/>
                  <a:pt x="545" y="1109"/>
                </a:cubicBezTo>
                <a:cubicBezTo>
                  <a:pt x="545" y="1126"/>
                  <a:pt x="531" y="1140"/>
                  <a:pt x="514" y="1140"/>
                </a:cubicBezTo>
                <a:cubicBezTo>
                  <a:pt x="514" y="1140"/>
                  <a:pt x="514" y="1140"/>
                  <a:pt x="514" y="1140"/>
                </a:cubicBezTo>
                <a:cubicBezTo>
                  <a:pt x="30" y="1140"/>
                  <a:pt x="30" y="1140"/>
                  <a:pt x="30" y="1140"/>
                </a:cubicBezTo>
                <a:close/>
              </a:path>
            </a:pathLst>
          </a:custGeom>
          <a:solidFill>
            <a:srgbClr val="A66C99"/>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lstStyle/>
          <a:p>
            <a:pPr>
              <a:spcBef>
                <a:spcPct val="50000"/>
              </a:spcBef>
            </a:pPr>
            <a:endParaRPr lang="en-US" dirty="0">
              <a:ea typeface="MS PGothic" pitchFamily="34" charset="-128"/>
            </a:endParaRPr>
          </a:p>
        </p:txBody>
      </p:sp>
      <p:sp>
        <p:nvSpPr>
          <p:cNvPr id="34" name="Freeform 3"/>
          <p:cNvSpPr>
            <a:spLocks noChangeAspect="1"/>
          </p:cNvSpPr>
          <p:nvPr/>
        </p:nvSpPr>
        <p:spPr bwMode="auto">
          <a:xfrm>
            <a:off x="2433489" y="1600204"/>
            <a:ext cx="2099043" cy="4388760"/>
          </a:xfrm>
          <a:custGeom>
            <a:avLst/>
            <a:gdLst>
              <a:gd name="T0" fmla="*/ 2147483647 w 545"/>
              <a:gd name="T1" fmla="*/ 2147483647 h 1140"/>
              <a:gd name="T2" fmla="*/ 0 w 545"/>
              <a:gd name="T3" fmla="*/ 2147483647 h 1140"/>
              <a:gd name="T4" fmla="*/ 0 w 545"/>
              <a:gd name="T5" fmla="*/ 2147483647 h 1140"/>
              <a:gd name="T6" fmla="*/ 0 w 545"/>
              <a:gd name="T7" fmla="*/ 2147483647 h 1140"/>
              <a:gd name="T8" fmla="*/ 2147483647 w 545"/>
              <a:gd name="T9" fmla="*/ 0 h 1140"/>
              <a:gd name="T10" fmla="*/ 2147483647 w 545"/>
              <a:gd name="T11" fmla="*/ 0 h 1140"/>
              <a:gd name="T12" fmla="*/ 2147483647 w 545"/>
              <a:gd name="T13" fmla="*/ 0 h 1140"/>
              <a:gd name="T14" fmla="*/ 2147483647 w 545"/>
              <a:gd name="T15" fmla="*/ 2147483647 h 1140"/>
              <a:gd name="T16" fmla="*/ 2147483647 w 545"/>
              <a:gd name="T17" fmla="*/ 2147483647 h 1140"/>
              <a:gd name="T18" fmla="*/ 2147483647 w 545"/>
              <a:gd name="T19" fmla="*/ 2147483647 h 1140"/>
              <a:gd name="T20" fmla="*/ 2147483647 w 545"/>
              <a:gd name="T21" fmla="*/ 2147483647 h 1140"/>
              <a:gd name="T22" fmla="*/ 2147483647 w 545"/>
              <a:gd name="T23" fmla="*/ 2147483647 h 1140"/>
              <a:gd name="T24" fmla="*/ 2147483647 w 545"/>
              <a:gd name="T25" fmla="*/ 2147483647 h 1140"/>
              <a:gd name="T26" fmla="*/ 2147483647 w 545"/>
              <a:gd name="T27" fmla="*/ 2147483647 h 1140"/>
              <a:gd name="T28" fmla="*/ 2147483647 w 545"/>
              <a:gd name="T29" fmla="*/ 2147483647 h 1140"/>
              <a:gd name="T30" fmla="*/ 2147483647 w 545"/>
              <a:gd name="T31" fmla="*/ 2147483647 h 1140"/>
              <a:gd name="T32" fmla="*/ 2147483647 w 545"/>
              <a:gd name="T33" fmla="*/ 2147483647 h 1140"/>
              <a:gd name="T34" fmla="*/ 2147483647 w 545"/>
              <a:gd name="T35" fmla="*/ 2147483647 h 1140"/>
              <a:gd name="T36" fmla="*/ 2147483647 w 545"/>
              <a:gd name="T37" fmla="*/ 2147483647 h 1140"/>
              <a:gd name="T38" fmla="*/ 2147483647 w 545"/>
              <a:gd name="T39" fmla="*/ 2147483647 h 1140"/>
              <a:gd name="T40" fmla="*/ 2147483647 w 545"/>
              <a:gd name="T41" fmla="*/ 2147483647 h 1140"/>
              <a:gd name="T42" fmla="*/ 2147483647 w 545"/>
              <a:gd name="T43" fmla="*/ 2147483647 h 1140"/>
              <a:gd name="T44" fmla="*/ 2147483647 w 545"/>
              <a:gd name="T45" fmla="*/ 2147483647 h 1140"/>
              <a:gd name="T46" fmla="*/ 2147483647 w 545"/>
              <a:gd name="T47" fmla="*/ 2147483647 h 1140"/>
              <a:gd name="T48" fmla="*/ 2147483647 w 545"/>
              <a:gd name="T49" fmla="*/ 2147483647 h 1140"/>
              <a:gd name="T50" fmla="*/ 2147483647 w 545"/>
              <a:gd name="T51" fmla="*/ 2147483647 h 1140"/>
              <a:gd name="T52" fmla="*/ 2147483647 w 545"/>
              <a:gd name="T53" fmla="*/ 2147483647 h 1140"/>
              <a:gd name="T54" fmla="*/ 2147483647 w 545"/>
              <a:gd name="T55" fmla="*/ 2147483647 h 1140"/>
              <a:gd name="T56" fmla="*/ 2147483647 w 545"/>
              <a:gd name="T57" fmla="*/ 2147483647 h 1140"/>
              <a:gd name="T58" fmla="*/ 2147483647 w 545"/>
              <a:gd name="T59" fmla="*/ 2147483647 h 1140"/>
              <a:gd name="T60" fmla="*/ 2147483647 w 545"/>
              <a:gd name="T61" fmla="*/ 2147483647 h 1140"/>
              <a:gd name="T62" fmla="*/ 2147483647 w 545"/>
              <a:gd name="T63" fmla="*/ 2147483647 h 1140"/>
              <a:gd name="T64" fmla="*/ 2147483647 w 545"/>
              <a:gd name="T65" fmla="*/ 2147483647 h 1140"/>
              <a:gd name="T66" fmla="*/ 2147483647 w 545"/>
              <a:gd name="T67" fmla="*/ 2147483647 h 1140"/>
              <a:gd name="T68" fmla="*/ 2147483647 w 545"/>
              <a:gd name="T69" fmla="*/ 2147483647 h 1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1140"/>
              <a:gd name="T107" fmla="*/ 545 w 545"/>
              <a:gd name="T108" fmla="*/ 1140 h 114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1140">
                <a:moveTo>
                  <a:pt x="30" y="1140"/>
                </a:moveTo>
                <a:cubicBezTo>
                  <a:pt x="13" y="1140"/>
                  <a:pt x="0" y="1126"/>
                  <a:pt x="0" y="1109"/>
                </a:cubicBezTo>
                <a:cubicBezTo>
                  <a:pt x="0" y="1109"/>
                  <a:pt x="0" y="1109"/>
                  <a:pt x="0" y="1109"/>
                </a:cubicBezTo>
                <a:cubicBezTo>
                  <a:pt x="0" y="31"/>
                  <a:pt x="0" y="31"/>
                  <a:pt x="0" y="31"/>
                </a:cubicBezTo>
                <a:cubicBezTo>
                  <a:pt x="0" y="14"/>
                  <a:pt x="13" y="0"/>
                  <a:pt x="30" y="0"/>
                </a:cubicBezTo>
                <a:cubicBezTo>
                  <a:pt x="30" y="0"/>
                  <a:pt x="30" y="0"/>
                  <a:pt x="30" y="0"/>
                </a:cubicBezTo>
                <a:cubicBezTo>
                  <a:pt x="514" y="0"/>
                  <a:pt x="514" y="0"/>
                  <a:pt x="514" y="0"/>
                </a:cubicBezTo>
                <a:cubicBezTo>
                  <a:pt x="531" y="0"/>
                  <a:pt x="545" y="14"/>
                  <a:pt x="545" y="31"/>
                </a:cubicBezTo>
                <a:cubicBezTo>
                  <a:pt x="545" y="31"/>
                  <a:pt x="545" y="31"/>
                  <a:pt x="545" y="31"/>
                </a:cubicBezTo>
                <a:cubicBezTo>
                  <a:pt x="545" y="53"/>
                  <a:pt x="545" y="53"/>
                  <a:pt x="545" y="53"/>
                </a:cubicBezTo>
                <a:cubicBezTo>
                  <a:pt x="545" y="57"/>
                  <a:pt x="541" y="61"/>
                  <a:pt x="537" y="61"/>
                </a:cubicBezTo>
                <a:cubicBezTo>
                  <a:pt x="537" y="61"/>
                  <a:pt x="537" y="61"/>
                  <a:pt x="537" y="61"/>
                </a:cubicBezTo>
                <a:cubicBezTo>
                  <a:pt x="532" y="61"/>
                  <a:pt x="529" y="57"/>
                  <a:pt x="529" y="53"/>
                </a:cubicBezTo>
                <a:cubicBezTo>
                  <a:pt x="529" y="53"/>
                  <a:pt x="529" y="53"/>
                  <a:pt x="529" y="53"/>
                </a:cubicBezTo>
                <a:cubicBezTo>
                  <a:pt x="529" y="31"/>
                  <a:pt x="529" y="31"/>
                  <a:pt x="529" y="31"/>
                </a:cubicBezTo>
                <a:cubicBezTo>
                  <a:pt x="529" y="23"/>
                  <a:pt x="522" y="16"/>
                  <a:pt x="514" y="16"/>
                </a:cubicBezTo>
                <a:cubicBezTo>
                  <a:pt x="514" y="16"/>
                  <a:pt x="514" y="16"/>
                  <a:pt x="514" y="16"/>
                </a:cubicBezTo>
                <a:cubicBezTo>
                  <a:pt x="30" y="16"/>
                  <a:pt x="30" y="16"/>
                  <a:pt x="30" y="16"/>
                </a:cubicBezTo>
                <a:cubicBezTo>
                  <a:pt x="22" y="16"/>
                  <a:pt x="16" y="23"/>
                  <a:pt x="16" y="31"/>
                </a:cubicBezTo>
                <a:cubicBezTo>
                  <a:pt x="16" y="31"/>
                  <a:pt x="16" y="31"/>
                  <a:pt x="16" y="31"/>
                </a:cubicBezTo>
                <a:cubicBezTo>
                  <a:pt x="16" y="1109"/>
                  <a:pt x="16" y="1109"/>
                  <a:pt x="16" y="1109"/>
                </a:cubicBezTo>
                <a:cubicBezTo>
                  <a:pt x="16" y="1117"/>
                  <a:pt x="22" y="1124"/>
                  <a:pt x="30" y="1124"/>
                </a:cubicBezTo>
                <a:cubicBezTo>
                  <a:pt x="30" y="1124"/>
                  <a:pt x="30" y="1124"/>
                  <a:pt x="30" y="1124"/>
                </a:cubicBezTo>
                <a:cubicBezTo>
                  <a:pt x="514" y="1124"/>
                  <a:pt x="514" y="1124"/>
                  <a:pt x="514" y="1124"/>
                </a:cubicBezTo>
                <a:cubicBezTo>
                  <a:pt x="522" y="1124"/>
                  <a:pt x="529" y="1117"/>
                  <a:pt x="529" y="1109"/>
                </a:cubicBezTo>
                <a:cubicBezTo>
                  <a:pt x="529" y="1109"/>
                  <a:pt x="529" y="1109"/>
                  <a:pt x="529" y="1109"/>
                </a:cubicBezTo>
                <a:cubicBezTo>
                  <a:pt x="529" y="82"/>
                  <a:pt x="529" y="82"/>
                  <a:pt x="529" y="82"/>
                </a:cubicBezTo>
                <a:cubicBezTo>
                  <a:pt x="529" y="78"/>
                  <a:pt x="532" y="74"/>
                  <a:pt x="537" y="74"/>
                </a:cubicBezTo>
                <a:cubicBezTo>
                  <a:pt x="537" y="74"/>
                  <a:pt x="537" y="74"/>
                  <a:pt x="537" y="74"/>
                </a:cubicBezTo>
                <a:cubicBezTo>
                  <a:pt x="541" y="74"/>
                  <a:pt x="545" y="78"/>
                  <a:pt x="545" y="82"/>
                </a:cubicBezTo>
                <a:cubicBezTo>
                  <a:pt x="545" y="82"/>
                  <a:pt x="545" y="82"/>
                  <a:pt x="545" y="82"/>
                </a:cubicBezTo>
                <a:cubicBezTo>
                  <a:pt x="545" y="1109"/>
                  <a:pt x="545" y="1109"/>
                  <a:pt x="545" y="1109"/>
                </a:cubicBezTo>
                <a:cubicBezTo>
                  <a:pt x="545" y="1126"/>
                  <a:pt x="531" y="1140"/>
                  <a:pt x="514" y="1140"/>
                </a:cubicBezTo>
                <a:cubicBezTo>
                  <a:pt x="514" y="1140"/>
                  <a:pt x="514" y="1140"/>
                  <a:pt x="514" y="1140"/>
                </a:cubicBezTo>
                <a:cubicBezTo>
                  <a:pt x="30" y="1140"/>
                  <a:pt x="30" y="1140"/>
                  <a:pt x="30" y="1140"/>
                </a:cubicBezTo>
                <a:close/>
              </a:path>
            </a:pathLst>
          </a:custGeom>
          <a:solidFill>
            <a:srgbClr val="A66C99"/>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lstStyle/>
          <a:p>
            <a:pPr>
              <a:spcBef>
                <a:spcPct val="50000"/>
              </a:spcBef>
            </a:pPr>
            <a:endParaRPr lang="en-US" dirty="0">
              <a:ea typeface="MS PGothic" pitchFamily="34" charset="-128"/>
            </a:endParaRPr>
          </a:p>
        </p:txBody>
      </p:sp>
      <p:sp>
        <p:nvSpPr>
          <p:cNvPr id="35" name="Freeform 3"/>
          <p:cNvSpPr>
            <a:spLocks noChangeAspect="1"/>
          </p:cNvSpPr>
          <p:nvPr/>
        </p:nvSpPr>
        <p:spPr bwMode="auto">
          <a:xfrm>
            <a:off x="4622354" y="1600204"/>
            <a:ext cx="2099043" cy="4388760"/>
          </a:xfrm>
          <a:custGeom>
            <a:avLst/>
            <a:gdLst>
              <a:gd name="T0" fmla="*/ 2147483647 w 545"/>
              <a:gd name="T1" fmla="*/ 2147483647 h 1140"/>
              <a:gd name="T2" fmla="*/ 0 w 545"/>
              <a:gd name="T3" fmla="*/ 2147483647 h 1140"/>
              <a:gd name="T4" fmla="*/ 0 w 545"/>
              <a:gd name="T5" fmla="*/ 2147483647 h 1140"/>
              <a:gd name="T6" fmla="*/ 0 w 545"/>
              <a:gd name="T7" fmla="*/ 2147483647 h 1140"/>
              <a:gd name="T8" fmla="*/ 2147483647 w 545"/>
              <a:gd name="T9" fmla="*/ 0 h 1140"/>
              <a:gd name="T10" fmla="*/ 2147483647 w 545"/>
              <a:gd name="T11" fmla="*/ 0 h 1140"/>
              <a:gd name="T12" fmla="*/ 2147483647 w 545"/>
              <a:gd name="T13" fmla="*/ 0 h 1140"/>
              <a:gd name="T14" fmla="*/ 2147483647 w 545"/>
              <a:gd name="T15" fmla="*/ 2147483647 h 1140"/>
              <a:gd name="T16" fmla="*/ 2147483647 w 545"/>
              <a:gd name="T17" fmla="*/ 2147483647 h 1140"/>
              <a:gd name="T18" fmla="*/ 2147483647 w 545"/>
              <a:gd name="T19" fmla="*/ 2147483647 h 1140"/>
              <a:gd name="T20" fmla="*/ 2147483647 w 545"/>
              <a:gd name="T21" fmla="*/ 2147483647 h 1140"/>
              <a:gd name="T22" fmla="*/ 2147483647 w 545"/>
              <a:gd name="T23" fmla="*/ 2147483647 h 1140"/>
              <a:gd name="T24" fmla="*/ 2147483647 w 545"/>
              <a:gd name="T25" fmla="*/ 2147483647 h 1140"/>
              <a:gd name="T26" fmla="*/ 2147483647 w 545"/>
              <a:gd name="T27" fmla="*/ 2147483647 h 1140"/>
              <a:gd name="T28" fmla="*/ 2147483647 w 545"/>
              <a:gd name="T29" fmla="*/ 2147483647 h 1140"/>
              <a:gd name="T30" fmla="*/ 2147483647 w 545"/>
              <a:gd name="T31" fmla="*/ 2147483647 h 1140"/>
              <a:gd name="T32" fmla="*/ 2147483647 w 545"/>
              <a:gd name="T33" fmla="*/ 2147483647 h 1140"/>
              <a:gd name="T34" fmla="*/ 2147483647 w 545"/>
              <a:gd name="T35" fmla="*/ 2147483647 h 1140"/>
              <a:gd name="T36" fmla="*/ 2147483647 w 545"/>
              <a:gd name="T37" fmla="*/ 2147483647 h 1140"/>
              <a:gd name="T38" fmla="*/ 2147483647 w 545"/>
              <a:gd name="T39" fmla="*/ 2147483647 h 1140"/>
              <a:gd name="T40" fmla="*/ 2147483647 w 545"/>
              <a:gd name="T41" fmla="*/ 2147483647 h 1140"/>
              <a:gd name="T42" fmla="*/ 2147483647 w 545"/>
              <a:gd name="T43" fmla="*/ 2147483647 h 1140"/>
              <a:gd name="T44" fmla="*/ 2147483647 w 545"/>
              <a:gd name="T45" fmla="*/ 2147483647 h 1140"/>
              <a:gd name="T46" fmla="*/ 2147483647 w 545"/>
              <a:gd name="T47" fmla="*/ 2147483647 h 1140"/>
              <a:gd name="T48" fmla="*/ 2147483647 w 545"/>
              <a:gd name="T49" fmla="*/ 2147483647 h 1140"/>
              <a:gd name="T50" fmla="*/ 2147483647 w 545"/>
              <a:gd name="T51" fmla="*/ 2147483647 h 1140"/>
              <a:gd name="T52" fmla="*/ 2147483647 w 545"/>
              <a:gd name="T53" fmla="*/ 2147483647 h 1140"/>
              <a:gd name="T54" fmla="*/ 2147483647 w 545"/>
              <a:gd name="T55" fmla="*/ 2147483647 h 1140"/>
              <a:gd name="T56" fmla="*/ 2147483647 w 545"/>
              <a:gd name="T57" fmla="*/ 2147483647 h 1140"/>
              <a:gd name="T58" fmla="*/ 2147483647 w 545"/>
              <a:gd name="T59" fmla="*/ 2147483647 h 1140"/>
              <a:gd name="T60" fmla="*/ 2147483647 w 545"/>
              <a:gd name="T61" fmla="*/ 2147483647 h 1140"/>
              <a:gd name="T62" fmla="*/ 2147483647 w 545"/>
              <a:gd name="T63" fmla="*/ 2147483647 h 1140"/>
              <a:gd name="T64" fmla="*/ 2147483647 w 545"/>
              <a:gd name="T65" fmla="*/ 2147483647 h 1140"/>
              <a:gd name="T66" fmla="*/ 2147483647 w 545"/>
              <a:gd name="T67" fmla="*/ 2147483647 h 1140"/>
              <a:gd name="T68" fmla="*/ 2147483647 w 545"/>
              <a:gd name="T69" fmla="*/ 2147483647 h 1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1140"/>
              <a:gd name="T107" fmla="*/ 545 w 545"/>
              <a:gd name="T108" fmla="*/ 1140 h 114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1140">
                <a:moveTo>
                  <a:pt x="30" y="1140"/>
                </a:moveTo>
                <a:cubicBezTo>
                  <a:pt x="13" y="1140"/>
                  <a:pt x="0" y="1126"/>
                  <a:pt x="0" y="1109"/>
                </a:cubicBezTo>
                <a:cubicBezTo>
                  <a:pt x="0" y="1109"/>
                  <a:pt x="0" y="1109"/>
                  <a:pt x="0" y="1109"/>
                </a:cubicBezTo>
                <a:cubicBezTo>
                  <a:pt x="0" y="31"/>
                  <a:pt x="0" y="31"/>
                  <a:pt x="0" y="31"/>
                </a:cubicBezTo>
                <a:cubicBezTo>
                  <a:pt x="0" y="14"/>
                  <a:pt x="13" y="0"/>
                  <a:pt x="30" y="0"/>
                </a:cubicBezTo>
                <a:cubicBezTo>
                  <a:pt x="30" y="0"/>
                  <a:pt x="30" y="0"/>
                  <a:pt x="30" y="0"/>
                </a:cubicBezTo>
                <a:cubicBezTo>
                  <a:pt x="514" y="0"/>
                  <a:pt x="514" y="0"/>
                  <a:pt x="514" y="0"/>
                </a:cubicBezTo>
                <a:cubicBezTo>
                  <a:pt x="531" y="0"/>
                  <a:pt x="545" y="14"/>
                  <a:pt x="545" y="31"/>
                </a:cubicBezTo>
                <a:cubicBezTo>
                  <a:pt x="545" y="31"/>
                  <a:pt x="545" y="31"/>
                  <a:pt x="545" y="31"/>
                </a:cubicBezTo>
                <a:cubicBezTo>
                  <a:pt x="545" y="53"/>
                  <a:pt x="545" y="53"/>
                  <a:pt x="545" y="53"/>
                </a:cubicBezTo>
                <a:cubicBezTo>
                  <a:pt x="545" y="57"/>
                  <a:pt x="541" y="61"/>
                  <a:pt x="537" y="61"/>
                </a:cubicBezTo>
                <a:cubicBezTo>
                  <a:pt x="537" y="61"/>
                  <a:pt x="537" y="61"/>
                  <a:pt x="537" y="61"/>
                </a:cubicBezTo>
                <a:cubicBezTo>
                  <a:pt x="532" y="61"/>
                  <a:pt x="529" y="57"/>
                  <a:pt x="529" y="53"/>
                </a:cubicBezTo>
                <a:cubicBezTo>
                  <a:pt x="529" y="53"/>
                  <a:pt x="529" y="53"/>
                  <a:pt x="529" y="53"/>
                </a:cubicBezTo>
                <a:cubicBezTo>
                  <a:pt x="529" y="31"/>
                  <a:pt x="529" y="31"/>
                  <a:pt x="529" y="31"/>
                </a:cubicBezTo>
                <a:cubicBezTo>
                  <a:pt x="529" y="23"/>
                  <a:pt x="522" y="16"/>
                  <a:pt x="514" y="16"/>
                </a:cubicBezTo>
                <a:cubicBezTo>
                  <a:pt x="514" y="16"/>
                  <a:pt x="514" y="16"/>
                  <a:pt x="514" y="16"/>
                </a:cubicBezTo>
                <a:cubicBezTo>
                  <a:pt x="30" y="16"/>
                  <a:pt x="30" y="16"/>
                  <a:pt x="30" y="16"/>
                </a:cubicBezTo>
                <a:cubicBezTo>
                  <a:pt x="22" y="16"/>
                  <a:pt x="16" y="23"/>
                  <a:pt x="16" y="31"/>
                </a:cubicBezTo>
                <a:cubicBezTo>
                  <a:pt x="16" y="31"/>
                  <a:pt x="16" y="31"/>
                  <a:pt x="16" y="31"/>
                </a:cubicBezTo>
                <a:cubicBezTo>
                  <a:pt x="16" y="1109"/>
                  <a:pt x="16" y="1109"/>
                  <a:pt x="16" y="1109"/>
                </a:cubicBezTo>
                <a:cubicBezTo>
                  <a:pt x="16" y="1117"/>
                  <a:pt x="22" y="1124"/>
                  <a:pt x="30" y="1124"/>
                </a:cubicBezTo>
                <a:cubicBezTo>
                  <a:pt x="30" y="1124"/>
                  <a:pt x="30" y="1124"/>
                  <a:pt x="30" y="1124"/>
                </a:cubicBezTo>
                <a:cubicBezTo>
                  <a:pt x="514" y="1124"/>
                  <a:pt x="514" y="1124"/>
                  <a:pt x="514" y="1124"/>
                </a:cubicBezTo>
                <a:cubicBezTo>
                  <a:pt x="522" y="1124"/>
                  <a:pt x="529" y="1117"/>
                  <a:pt x="529" y="1109"/>
                </a:cubicBezTo>
                <a:cubicBezTo>
                  <a:pt x="529" y="1109"/>
                  <a:pt x="529" y="1109"/>
                  <a:pt x="529" y="1109"/>
                </a:cubicBezTo>
                <a:cubicBezTo>
                  <a:pt x="529" y="82"/>
                  <a:pt x="529" y="82"/>
                  <a:pt x="529" y="82"/>
                </a:cubicBezTo>
                <a:cubicBezTo>
                  <a:pt x="529" y="78"/>
                  <a:pt x="532" y="74"/>
                  <a:pt x="537" y="74"/>
                </a:cubicBezTo>
                <a:cubicBezTo>
                  <a:pt x="537" y="74"/>
                  <a:pt x="537" y="74"/>
                  <a:pt x="537" y="74"/>
                </a:cubicBezTo>
                <a:cubicBezTo>
                  <a:pt x="541" y="74"/>
                  <a:pt x="545" y="78"/>
                  <a:pt x="545" y="82"/>
                </a:cubicBezTo>
                <a:cubicBezTo>
                  <a:pt x="545" y="82"/>
                  <a:pt x="545" y="82"/>
                  <a:pt x="545" y="82"/>
                </a:cubicBezTo>
                <a:cubicBezTo>
                  <a:pt x="545" y="1109"/>
                  <a:pt x="545" y="1109"/>
                  <a:pt x="545" y="1109"/>
                </a:cubicBezTo>
                <a:cubicBezTo>
                  <a:pt x="545" y="1126"/>
                  <a:pt x="531" y="1140"/>
                  <a:pt x="514" y="1140"/>
                </a:cubicBezTo>
                <a:cubicBezTo>
                  <a:pt x="514" y="1140"/>
                  <a:pt x="514" y="1140"/>
                  <a:pt x="514" y="1140"/>
                </a:cubicBezTo>
                <a:cubicBezTo>
                  <a:pt x="30" y="1140"/>
                  <a:pt x="30" y="1140"/>
                  <a:pt x="30" y="1140"/>
                </a:cubicBezTo>
                <a:close/>
              </a:path>
            </a:pathLst>
          </a:custGeom>
          <a:solidFill>
            <a:srgbClr val="A66C99"/>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lstStyle/>
          <a:p>
            <a:pPr>
              <a:spcBef>
                <a:spcPct val="50000"/>
              </a:spcBef>
            </a:pPr>
            <a:endParaRPr lang="en-US" dirty="0">
              <a:ea typeface="MS PGothic" pitchFamily="34" charset="-128"/>
            </a:endParaRPr>
          </a:p>
        </p:txBody>
      </p:sp>
      <p:sp>
        <p:nvSpPr>
          <p:cNvPr id="36" name="Freeform 3"/>
          <p:cNvSpPr>
            <a:spLocks noChangeAspect="1"/>
          </p:cNvSpPr>
          <p:nvPr/>
        </p:nvSpPr>
        <p:spPr bwMode="auto">
          <a:xfrm>
            <a:off x="6811220" y="1600204"/>
            <a:ext cx="2099043" cy="4388760"/>
          </a:xfrm>
          <a:custGeom>
            <a:avLst/>
            <a:gdLst>
              <a:gd name="T0" fmla="*/ 2147483647 w 545"/>
              <a:gd name="T1" fmla="*/ 2147483647 h 1140"/>
              <a:gd name="T2" fmla="*/ 0 w 545"/>
              <a:gd name="T3" fmla="*/ 2147483647 h 1140"/>
              <a:gd name="T4" fmla="*/ 0 w 545"/>
              <a:gd name="T5" fmla="*/ 2147483647 h 1140"/>
              <a:gd name="T6" fmla="*/ 0 w 545"/>
              <a:gd name="T7" fmla="*/ 2147483647 h 1140"/>
              <a:gd name="T8" fmla="*/ 2147483647 w 545"/>
              <a:gd name="T9" fmla="*/ 0 h 1140"/>
              <a:gd name="T10" fmla="*/ 2147483647 w 545"/>
              <a:gd name="T11" fmla="*/ 0 h 1140"/>
              <a:gd name="T12" fmla="*/ 2147483647 w 545"/>
              <a:gd name="T13" fmla="*/ 0 h 1140"/>
              <a:gd name="T14" fmla="*/ 2147483647 w 545"/>
              <a:gd name="T15" fmla="*/ 2147483647 h 1140"/>
              <a:gd name="T16" fmla="*/ 2147483647 w 545"/>
              <a:gd name="T17" fmla="*/ 2147483647 h 1140"/>
              <a:gd name="T18" fmla="*/ 2147483647 w 545"/>
              <a:gd name="T19" fmla="*/ 2147483647 h 1140"/>
              <a:gd name="T20" fmla="*/ 2147483647 w 545"/>
              <a:gd name="T21" fmla="*/ 2147483647 h 1140"/>
              <a:gd name="T22" fmla="*/ 2147483647 w 545"/>
              <a:gd name="T23" fmla="*/ 2147483647 h 1140"/>
              <a:gd name="T24" fmla="*/ 2147483647 w 545"/>
              <a:gd name="T25" fmla="*/ 2147483647 h 1140"/>
              <a:gd name="T26" fmla="*/ 2147483647 w 545"/>
              <a:gd name="T27" fmla="*/ 2147483647 h 1140"/>
              <a:gd name="T28" fmla="*/ 2147483647 w 545"/>
              <a:gd name="T29" fmla="*/ 2147483647 h 1140"/>
              <a:gd name="T30" fmla="*/ 2147483647 w 545"/>
              <a:gd name="T31" fmla="*/ 2147483647 h 1140"/>
              <a:gd name="T32" fmla="*/ 2147483647 w 545"/>
              <a:gd name="T33" fmla="*/ 2147483647 h 1140"/>
              <a:gd name="T34" fmla="*/ 2147483647 w 545"/>
              <a:gd name="T35" fmla="*/ 2147483647 h 1140"/>
              <a:gd name="T36" fmla="*/ 2147483647 w 545"/>
              <a:gd name="T37" fmla="*/ 2147483647 h 1140"/>
              <a:gd name="T38" fmla="*/ 2147483647 w 545"/>
              <a:gd name="T39" fmla="*/ 2147483647 h 1140"/>
              <a:gd name="T40" fmla="*/ 2147483647 w 545"/>
              <a:gd name="T41" fmla="*/ 2147483647 h 1140"/>
              <a:gd name="T42" fmla="*/ 2147483647 w 545"/>
              <a:gd name="T43" fmla="*/ 2147483647 h 1140"/>
              <a:gd name="T44" fmla="*/ 2147483647 w 545"/>
              <a:gd name="T45" fmla="*/ 2147483647 h 1140"/>
              <a:gd name="T46" fmla="*/ 2147483647 w 545"/>
              <a:gd name="T47" fmla="*/ 2147483647 h 1140"/>
              <a:gd name="T48" fmla="*/ 2147483647 w 545"/>
              <a:gd name="T49" fmla="*/ 2147483647 h 1140"/>
              <a:gd name="T50" fmla="*/ 2147483647 w 545"/>
              <a:gd name="T51" fmla="*/ 2147483647 h 1140"/>
              <a:gd name="T52" fmla="*/ 2147483647 w 545"/>
              <a:gd name="T53" fmla="*/ 2147483647 h 1140"/>
              <a:gd name="T54" fmla="*/ 2147483647 w 545"/>
              <a:gd name="T55" fmla="*/ 2147483647 h 1140"/>
              <a:gd name="T56" fmla="*/ 2147483647 w 545"/>
              <a:gd name="T57" fmla="*/ 2147483647 h 1140"/>
              <a:gd name="T58" fmla="*/ 2147483647 w 545"/>
              <a:gd name="T59" fmla="*/ 2147483647 h 1140"/>
              <a:gd name="T60" fmla="*/ 2147483647 w 545"/>
              <a:gd name="T61" fmla="*/ 2147483647 h 1140"/>
              <a:gd name="T62" fmla="*/ 2147483647 w 545"/>
              <a:gd name="T63" fmla="*/ 2147483647 h 1140"/>
              <a:gd name="T64" fmla="*/ 2147483647 w 545"/>
              <a:gd name="T65" fmla="*/ 2147483647 h 1140"/>
              <a:gd name="T66" fmla="*/ 2147483647 w 545"/>
              <a:gd name="T67" fmla="*/ 2147483647 h 1140"/>
              <a:gd name="T68" fmla="*/ 2147483647 w 545"/>
              <a:gd name="T69" fmla="*/ 2147483647 h 1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1140"/>
              <a:gd name="T107" fmla="*/ 545 w 545"/>
              <a:gd name="T108" fmla="*/ 1140 h 114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1140">
                <a:moveTo>
                  <a:pt x="30" y="1140"/>
                </a:moveTo>
                <a:cubicBezTo>
                  <a:pt x="13" y="1140"/>
                  <a:pt x="0" y="1126"/>
                  <a:pt x="0" y="1109"/>
                </a:cubicBezTo>
                <a:cubicBezTo>
                  <a:pt x="0" y="1109"/>
                  <a:pt x="0" y="1109"/>
                  <a:pt x="0" y="1109"/>
                </a:cubicBezTo>
                <a:cubicBezTo>
                  <a:pt x="0" y="31"/>
                  <a:pt x="0" y="31"/>
                  <a:pt x="0" y="31"/>
                </a:cubicBezTo>
                <a:cubicBezTo>
                  <a:pt x="0" y="14"/>
                  <a:pt x="13" y="0"/>
                  <a:pt x="30" y="0"/>
                </a:cubicBezTo>
                <a:cubicBezTo>
                  <a:pt x="30" y="0"/>
                  <a:pt x="30" y="0"/>
                  <a:pt x="30" y="0"/>
                </a:cubicBezTo>
                <a:cubicBezTo>
                  <a:pt x="514" y="0"/>
                  <a:pt x="514" y="0"/>
                  <a:pt x="514" y="0"/>
                </a:cubicBezTo>
                <a:cubicBezTo>
                  <a:pt x="531" y="0"/>
                  <a:pt x="545" y="14"/>
                  <a:pt x="545" y="31"/>
                </a:cubicBezTo>
                <a:cubicBezTo>
                  <a:pt x="545" y="31"/>
                  <a:pt x="545" y="31"/>
                  <a:pt x="545" y="31"/>
                </a:cubicBezTo>
                <a:cubicBezTo>
                  <a:pt x="545" y="53"/>
                  <a:pt x="545" y="53"/>
                  <a:pt x="545" y="53"/>
                </a:cubicBezTo>
                <a:cubicBezTo>
                  <a:pt x="545" y="57"/>
                  <a:pt x="541" y="61"/>
                  <a:pt x="537" y="61"/>
                </a:cubicBezTo>
                <a:cubicBezTo>
                  <a:pt x="537" y="61"/>
                  <a:pt x="537" y="61"/>
                  <a:pt x="537" y="61"/>
                </a:cubicBezTo>
                <a:cubicBezTo>
                  <a:pt x="532" y="61"/>
                  <a:pt x="529" y="57"/>
                  <a:pt x="529" y="53"/>
                </a:cubicBezTo>
                <a:cubicBezTo>
                  <a:pt x="529" y="53"/>
                  <a:pt x="529" y="53"/>
                  <a:pt x="529" y="53"/>
                </a:cubicBezTo>
                <a:cubicBezTo>
                  <a:pt x="529" y="31"/>
                  <a:pt x="529" y="31"/>
                  <a:pt x="529" y="31"/>
                </a:cubicBezTo>
                <a:cubicBezTo>
                  <a:pt x="529" y="23"/>
                  <a:pt x="522" y="16"/>
                  <a:pt x="514" y="16"/>
                </a:cubicBezTo>
                <a:cubicBezTo>
                  <a:pt x="514" y="16"/>
                  <a:pt x="514" y="16"/>
                  <a:pt x="514" y="16"/>
                </a:cubicBezTo>
                <a:cubicBezTo>
                  <a:pt x="30" y="16"/>
                  <a:pt x="30" y="16"/>
                  <a:pt x="30" y="16"/>
                </a:cubicBezTo>
                <a:cubicBezTo>
                  <a:pt x="22" y="16"/>
                  <a:pt x="16" y="23"/>
                  <a:pt x="16" y="31"/>
                </a:cubicBezTo>
                <a:cubicBezTo>
                  <a:pt x="16" y="31"/>
                  <a:pt x="16" y="31"/>
                  <a:pt x="16" y="31"/>
                </a:cubicBezTo>
                <a:cubicBezTo>
                  <a:pt x="16" y="1109"/>
                  <a:pt x="16" y="1109"/>
                  <a:pt x="16" y="1109"/>
                </a:cubicBezTo>
                <a:cubicBezTo>
                  <a:pt x="16" y="1117"/>
                  <a:pt x="22" y="1124"/>
                  <a:pt x="30" y="1124"/>
                </a:cubicBezTo>
                <a:cubicBezTo>
                  <a:pt x="30" y="1124"/>
                  <a:pt x="30" y="1124"/>
                  <a:pt x="30" y="1124"/>
                </a:cubicBezTo>
                <a:cubicBezTo>
                  <a:pt x="514" y="1124"/>
                  <a:pt x="514" y="1124"/>
                  <a:pt x="514" y="1124"/>
                </a:cubicBezTo>
                <a:cubicBezTo>
                  <a:pt x="522" y="1124"/>
                  <a:pt x="529" y="1117"/>
                  <a:pt x="529" y="1109"/>
                </a:cubicBezTo>
                <a:cubicBezTo>
                  <a:pt x="529" y="1109"/>
                  <a:pt x="529" y="1109"/>
                  <a:pt x="529" y="1109"/>
                </a:cubicBezTo>
                <a:cubicBezTo>
                  <a:pt x="529" y="82"/>
                  <a:pt x="529" y="82"/>
                  <a:pt x="529" y="82"/>
                </a:cubicBezTo>
                <a:cubicBezTo>
                  <a:pt x="529" y="78"/>
                  <a:pt x="532" y="74"/>
                  <a:pt x="537" y="74"/>
                </a:cubicBezTo>
                <a:cubicBezTo>
                  <a:pt x="537" y="74"/>
                  <a:pt x="537" y="74"/>
                  <a:pt x="537" y="74"/>
                </a:cubicBezTo>
                <a:cubicBezTo>
                  <a:pt x="541" y="74"/>
                  <a:pt x="545" y="78"/>
                  <a:pt x="545" y="82"/>
                </a:cubicBezTo>
                <a:cubicBezTo>
                  <a:pt x="545" y="82"/>
                  <a:pt x="545" y="82"/>
                  <a:pt x="545" y="82"/>
                </a:cubicBezTo>
                <a:cubicBezTo>
                  <a:pt x="545" y="1109"/>
                  <a:pt x="545" y="1109"/>
                  <a:pt x="545" y="1109"/>
                </a:cubicBezTo>
                <a:cubicBezTo>
                  <a:pt x="545" y="1126"/>
                  <a:pt x="531" y="1140"/>
                  <a:pt x="514" y="1140"/>
                </a:cubicBezTo>
                <a:cubicBezTo>
                  <a:pt x="514" y="1140"/>
                  <a:pt x="514" y="1140"/>
                  <a:pt x="514" y="1140"/>
                </a:cubicBezTo>
                <a:cubicBezTo>
                  <a:pt x="30" y="1140"/>
                  <a:pt x="30" y="1140"/>
                  <a:pt x="30" y="1140"/>
                </a:cubicBezTo>
                <a:close/>
              </a:path>
            </a:pathLst>
          </a:custGeom>
          <a:solidFill>
            <a:srgbClr val="A66C99"/>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lstStyle/>
          <a:p>
            <a:pPr>
              <a:spcBef>
                <a:spcPct val="50000"/>
              </a:spcBef>
            </a:pPr>
            <a:endParaRPr lang="en-US" dirty="0">
              <a:ea typeface="MS PGothic" pitchFamily="34" charset="-128"/>
            </a:endParaRPr>
          </a:p>
        </p:txBody>
      </p:sp>
      <p:sp>
        <p:nvSpPr>
          <p:cNvPr id="37" name="Rectangle 51"/>
          <p:cNvSpPr>
            <a:spLocks noChangeArrowheads="1"/>
          </p:cNvSpPr>
          <p:nvPr/>
        </p:nvSpPr>
        <p:spPr bwMode="auto">
          <a:xfrm>
            <a:off x="244622" y="1860249"/>
            <a:ext cx="2099043" cy="280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p>
            <a:pPr>
              <a:lnSpc>
                <a:spcPct val="90000"/>
              </a:lnSpc>
              <a:spcBef>
                <a:spcPts val="300"/>
              </a:spcBef>
              <a:spcAft>
                <a:spcPts val="600"/>
              </a:spcAft>
            </a:pPr>
            <a:r>
              <a:rPr lang="en-US" dirty="0" smtClean="0">
                <a:solidFill>
                  <a:srgbClr val="7B0663"/>
                </a:solidFill>
                <a:cs typeface="Arial" pitchFamily="34" charset="0"/>
              </a:rPr>
              <a:t>Robert Emery</a:t>
            </a:r>
            <a:endParaRPr lang="en-US" dirty="0">
              <a:solidFill>
                <a:srgbClr val="7B0663"/>
              </a:solidFill>
              <a:cs typeface="Arial" pitchFamily="34" charset="0"/>
            </a:endParaRPr>
          </a:p>
          <a:p>
            <a:pPr>
              <a:lnSpc>
                <a:spcPct val="90000"/>
              </a:lnSpc>
              <a:spcBef>
                <a:spcPts val="300"/>
              </a:spcBef>
            </a:pPr>
            <a:r>
              <a:rPr lang="en-US" sz="1800" dirty="0" smtClean="0"/>
              <a:t>Head of Product Management</a:t>
            </a:r>
            <a:endParaRPr lang="en-US" sz="1800" dirty="0">
              <a:solidFill>
                <a:srgbClr val="58585A"/>
              </a:solidFill>
              <a:cs typeface="Arial" pitchFamily="34" charset="0"/>
            </a:endParaRPr>
          </a:p>
        </p:txBody>
      </p:sp>
      <p:sp>
        <p:nvSpPr>
          <p:cNvPr id="38" name="Rectangle 51"/>
          <p:cNvSpPr>
            <a:spLocks noChangeArrowheads="1"/>
          </p:cNvSpPr>
          <p:nvPr/>
        </p:nvSpPr>
        <p:spPr bwMode="auto">
          <a:xfrm>
            <a:off x="2433489" y="1860249"/>
            <a:ext cx="2099043" cy="280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p>
            <a:pPr>
              <a:lnSpc>
                <a:spcPct val="90000"/>
              </a:lnSpc>
              <a:spcBef>
                <a:spcPts val="300"/>
              </a:spcBef>
              <a:spcAft>
                <a:spcPts val="600"/>
              </a:spcAft>
            </a:pPr>
            <a:r>
              <a:rPr lang="en-US" dirty="0" smtClean="0">
                <a:solidFill>
                  <a:srgbClr val="7B0663"/>
                </a:solidFill>
                <a:cs typeface="Arial" pitchFamily="34" charset="0"/>
              </a:rPr>
              <a:t>Sunny Auluck</a:t>
            </a:r>
            <a:endParaRPr lang="en-US" dirty="0">
              <a:solidFill>
                <a:srgbClr val="7B0663"/>
              </a:solidFill>
              <a:cs typeface="Arial" pitchFamily="34" charset="0"/>
            </a:endParaRPr>
          </a:p>
          <a:p>
            <a:pPr>
              <a:lnSpc>
                <a:spcPct val="90000"/>
              </a:lnSpc>
              <a:spcBef>
                <a:spcPts val="300"/>
              </a:spcBef>
            </a:pPr>
            <a:r>
              <a:rPr lang="en-US" sz="1800" dirty="0"/>
              <a:t>Strategic Product Manager</a:t>
            </a:r>
            <a:br>
              <a:rPr lang="en-US" sz="1800" dirty="0"/>
            </a:br>
            <a:endParaRPr lang="en-US" sz="1800" dirty="0">
              <a:solidFill>
                <a:srgbClr val="58585A"/>
              </a:solidFill>
              <a:cs typeface="Arial" pitchFamily="34" charset="0"/>
            </a:endParaRPr>
          </a:p>
        </p:txBody>
      </p:sp>
      <p:sp>
        <p:nvSpPr>
          <p:cNvPr id="39" name="Rectangle 51"/>
          <p:cNvSpPr>
            <a:spLocks noChangeArrowheads="1"/>
          </p:cNvSpPr>
          <p:nvPr/>
        </p:nvSpPr>
        <p:spPr bwMode="auto">
          <a:xfrm>
            <a:off x="4622354" y="1860249"/>
            <a:ext cx="2099044" cy="280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p>
            <a:pPr>
              <a:lnSpc>
                <a:spcPct val="90000"/>
              </a:lnSpc>
              <a:spcBef>
                <a:spcPts val="300"/>
              </a:spcBef>
              <a:spcAft>
                <a:spcPts val="600"/>
              </a:spcAft>
            </a:pPr>
            <a:r>
              <a:rPr lang="en-US" dirty="0" smtClean="0">
                <a:solidFill>
                  <a:srgbClr val="7B0663"/>
                </a:solidFill>
                <a:cs typeface="Arial" pitchFamily="34" charset="0"/>
              </a:rPr>
              <a:t>Richard Huffman</a:t>
            </a:r>
            <a:endParaRPr lang="en-US" dirty="0">
              <a:solidFill>
                <a:srgbClr val="7B0663"/>
              </a:solidFill>
              <a:cs typeface="Arial" pitchFamily="34" charset="0"/>
            </a:endParaRPr>
          </a:p>
          <a:p>
            <a:pPr>
              <a:lnSpc>
                <a:spcPct val="90000"/>
              </a:lnSpc>
              <a:spcBef>
                <a:spcPts val="300"/>
              </a:spcBef>
            </a:pPr>
            <a:r>
              <a:rPr lang="en-US" sz="1800" dirty="0"/>
              <a:t>Strategic Product Manager</a:t>
            </a:r>
            <a:br>
              <a:rPr lang="en-US" sz="1800" dirty="0"/>
            </a:br>
            <a:endParaRPr lang="en-US" sz="1800" dirty="0">
              <a:solidFill>
                <a:srgbClr val="58585A"/>
              </a:solidFill>
              <a:cs typeface="Arial" pitchFamily="34" charset="0"/>
            </a:endParaRPr>
          </a:p>
        </p:txBody>
      </p:sp>
      <p:sp>
        <p:nvSpPr>
          <p:cNvPr id="40" name="Rectangle 51"/>
          <p:cNvSpPr>
            <a:spLocks noChangeArrowheads="1"/>
          </p:cNvSpPr>
          <p:nvPr/>
        </p:nvSpPr>
        <p:spPr bwMode="auto">
          <a:xfrm>
            <a:off x="6811220" y="1860249"/>
            <a:ext cx="2099044" cy="280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p>
            <a:pPr>
              <a:lnSpc>
                <a:spcPct val="90000"/>
              </a:lnSpc>
              <a:spcBef>
                <a:spcPts val="300"/>
              </a:spcBef>
              <a:spcAft>
                <a:spcPts val="600"/>
              </a:spcAft>
            </a:pPr>
            <a:r>
              <a:rPr lang="en-US" dirty="0" smtClean="0">
                <a:solidFill>
                  <a:srgbClr val="7B0663"/>
                </a:solidFill>
                <a:cs typeface="Arial" pitchFamily="34" charset="0"/>
              </a:rPr>
              <a:t>Jeff Christian</a:t>
            </a:r>
            <a:endParaRPr lang="en-US" dirty="0">
              <a:solidFill>
                <a:srgbClr val="7B0663"/>
              </a:solidFill>
              <a:cs typeface="Arial" pitchFamily="34" charset="0"/>
            </a:endParaRPr>
          </a:p>
          <a:p>
            <a:pPr>
              <a:lnSpc>
                <a:spcPct val="90000"/>
              </a:lnSpc>
              <a:spcBef>
                <a:spcPts val="300"/>
              </a:spcBef>
            </a:pPr>
            <a:r>
              <a:rPr lang="en-US" sz="1800" dirty="0" smtClean="0"/>
              <a:t>Delivery</a:t>
            </a:r>
            <a:br>
              <a:rPr lang="en-US" sz="1800" dirty="0" smtClean="0"/>
            </a:br>
            <a:r>
              <a:rPr lang="en-US" sz="1800" dirty="0" smtClean="0"/>
              <a:t>Manager</a:t>
            </a:r>
            <a:r>
              <a:rPr lang="en-US" sz="1800" dirty="0"/>
              <a:t/>
            </a:r>
            <a:br>
              <a:rPr lang="en-US" sz="1800" dirty="0"/>
            </a:br>
            <a:endParaRPr lang="en-US" sz="1800" dirty="0">
              <a:solidFill>
                <a:srgbClr val="58585A"/>
              </a:solidFill>
              <a:cs typeface="Arial" pitchFamily="34" charset="0"/>
            </a:endParaRPr>
          </a:p>
        </p:txBody>
      </p:sp>
      <p:sp>
        <p:nvSpPr>
          <p:cNvPr id="41" name="Rectangle 51"/>
          <p:cNvSpPr>
            <a:spLocks noChangeArrowheads="1"/>
          </p:cNvSpPr>
          <p:nvPr/>
        </p:nvSpPr>
        <p:spPr bwMode="auto">
          <a:xfrm>
            <a:off x="244622" y="5035246"/>
            <a:ext cx="2099044" cy="317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p>
            <a:pPr>
              <a:lnSpc>
                <a:spcPct val="85000"/>
              </a:lnSpc>
            </a:pPr>
            <a:r>
              <a:rPr lang="en-US" sz="1800" dirty="0" smtClean="0">
                <a:solidFill>
                  <a:srgbClr val="2E4275"/>
                </a:solidFill>
                <a:ea typeface="MS PGothic" pitchFamily="34" charset="-128"/>
              </a:rPr>
              <a:t>MODERATOR</a:t>
            </a:r>
          </a:p>
          <a:p>
            <a:pPr>
              <a:lnSpc>
                <a:spcPct val="85000"/>
              </a:lnSpc>
            </a:pPr>
            <a:r>
              <a:rPr lang="en-US" sz="1800" dirty="0" smtClean="0">
                <a:solidFill>
                  <a:srgbClr val="2E4275"/>
                </a:solidFill>
                <a:ea typeface="MS PGothic" pitchFamily="34" charset="-128"/>
              </a:rPr>
              <a:t>&amp; WELCOME</a:t>
            </a:r>
            <a:endParaRPr lang="en-US" sz="1800" dirty="0">
              <a:solidFill>
                <a:srgbClr val="2E4275"/>
              </a:solidFill>
              <a:ea typeface="MS PGothic" pitchFamily="34" charset="-128"/>
            </a:endParaRPr>
          </a:p>
        </p:txBody>
      </p:sp>
      <p:sp>
        <p:nvSpPr>
          <p:cNvPr id="42" name="Rectangle 51"/>
          <p:cNvSpPr>
            <a:spLocks noChangeArrowheads="1"/>
          </p:cNvSpPr>
          <p:nvPr/>
        </p:nvSpPr>
        <p:spPr bwMode="auto">
          <a:xfrm>
            <a:off x="2433489" y="5035246"/>
            <a:ext cx="2099044" cy="317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p>
            <a:pPr>
              <a:lnSpc>
                <a:spcPct val="85000"/>
              </a:lnSpc>
            </a:pPr>
            <a:r>
              <a:rPr lang="en-US" sz="1800" dirty="0" smtClean="0">
                <a:solidFill>
                  <a:srgbClr val="2E4275"/>
                </a:solidFill>
                <a:ea typeface="MS PGothic" pitchFamily="34" charset="-128"/>
              </a:rPr>
              <a:t>ERICSSON CATALOG MANAGER R14</a:t>
            </a:r>
            <a:endParaRPr lang="en-US" sz="1800" dirty="0">
              <a:solidFill>
                <a:srgbClr val="2E4275"/>
              </a:solidFill>
              <a:ea typeface="MS PGothic" pitchFamily="34" charset="-128"/>
            </a:endParaRPr>
          </a:p>
        </p:txBody>
      </p:sp>
      <p:sp>
        <p:nvSpPr>
          <p:cNvPr id="43" name="Rectangle 51"/>
          <p:cNvSpPr>
            <a:spLocks noChangeArrowheads="1"/>
          </p:cNvSpPr>
          <p:nvPr/>
        </p:nvSpPr>
        <p:spPr bwMode="auto">
          <a:xfrm>
            <a:off x="4622354" y="5035246"/>
            <a:ext cx="2099044" cy="317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p>
            <a:pPr>
              <a:lnSpc>
                <a:spcPct val="85000"/>
              </a:lnSpc>
            </a:pPr>
            <a:r>
              <a:rPr lang="en-US" sz="1800" dirty="0" smtClean="0">
                <a:solidFill>
                  <a:srgbClr val="2E4275"/>
                </a:solidFill>
                <a:ea typeface="MS PGothic" pitchFamily="34" charset="-128"/>
              </a:rPr>
              <a:t>ERICSSON ORDER</a:t>
            </a:r>
            <a:br>
              <a:rPr lang="en-US" sz="1800" dirty="0" smtClean="0">
                <a:solidFill>
                  <a:srgbClr val="2E4275"/>
                </a:solidFill>
                <a:ea typeface="MS PGothic" pitchFamily="34" charset="-128"/>
              </a:rPr>
            </a:br>
            <a:r>
              <a:rPr lang="en-US" sz="1800" dirty="0" smtClean="0">
                <a:solidFill>
                  <a:srgbClr val="2E4275"/>
                </a:solidFill>
                <a:ea typeface="MS PGothic" pitchFamily="34" charset="-128"/>
              </a:rPr>
              <a:t>CARE R14</a:t>
            </a:r>
            <a:endParaRPr lang="en-US" sz="1800" dirty="0">
              <a:solidFill>
                <a:srgbClr val="2E4275"/>
              </a:solidFill>
              <a:ea typeface="MS PGothic" pitchFamily="34" charset="-128"/>
            </a:endParaRPr>
          </a:p>
        </p:txBody>
      </p:sp>
      <p:sp>
        <p:nvSpPr>
          <p:cNvPr id="44" name="Rectangle 51"/>
          <p:cNvSpPr>
            <a:spLocks noChangeArrowheads="1"/>
          </p:cNvSpPr>
          <p:nvPr/>
        </p:nvSpPr>
        <p:spPr bwMode="auto">
          <a:xfrm>
            <a:off x="6811220" y="5035246"/>
            <a:ext cx="2099044" cy="317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p>
            <a:pPr>
              <a:lnSpc>
                <a:spcPct val="85000"/>
              </a:lnSpc>
            </a:pPr>
            <a:r>
              <a:rPr lang="en-US" sz="1800" dirty="0" smtClean="0">
                <a:solidFill>
                  <a:srgbClr val="2E4275"/>
                </a:solidFill>
                <a:ea typeface="MS PGothic" pitchFamily="34" charset="-128"/>
              </a:rPr>
              <a:t>MIGRATING</a:t>
            </a:r>
            <a:br>
              <a:rPr lang="en-US" sz="1800" dirty="0" smtClean="0">
                <a:solidFill>
                  <a:srgbClr val="2E4275"/>
                </a:solidFill>
                <a:ea typeface="MS PGothic" pitchFamily="34" charset="-128"/>
              </a:rPr>
            </a:br>
            <a:r>
              <a:rPr lang="en-US" sz="1800" dirty="0" smtClean="0">
                <a:solidFill>
                  <a:srgbClr val="2E4275"/>
                </a:solidFill>
                <a:ea typeface="MS PGothic" pitchFamily="34" charset="-128"/>
              </a:rPr>
              <a:t>TO R14.X</a:t>
            </a:r>
            <a:endParaRPr lang="en-US" sz="1800" dirty="0">
              <a:solidFill>
                <a:srgbClr val="2E4275"/>
              </a:solidFill>
              <a:ea typeface="MS PGothic" pitchFamily="34" charset="-128"/>
            </a:endParaRPr>
          </a:p>
        </p:txBody>
      </p:sp>
    </p:spTree>
    <p:extLst>
      <p:ext uri="{BB962C8B-B14F-4D97-AF65-F5344CB8AC3E}">
        <p14:creationId xmlns:p14="http://schemas.microsoft.com/office/powerpoint/2010/main" val="23240832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2"/>
          <p:cNvSpPr>
            <a:spLocks noGrp="1"/>
          </p:cNvSpPr>
          <p:nvPr>
            <p:ph type="title"/>
          </p:nvPr>
        </p:nvSpPr>
        <p:spPr/>
        <p:txBody>
          <a:bodyPr/>
          <a:lstStyle/>
          <a:p>
            <a:r>
              <a:rPr lang="en-US" sz="3600" dirty="0" smtClean="0">
                <a:latin typeface="Ericsson Capital TT" pitchFamily="2" charset="0"/>
                <a:ea typeface="ＭＳ Ｐゴシック" pitchFamily="34" charset="-128"/>
              </a:rPr>
              <a:t>Digital Services</a:t>
            </a:r>
          </a:p>
        </p:txBody>
      </p:sp>
      <p:sp>
        <p:nvSpPr>
          <p:cNvPr id="23555" name="Rectangle 2"/>
          <p:cNvSpPr>
            <a:spLocks noChangeArrowheads="1"/>
          </p:cNvSpPr>
          <p:nvPr/>
        </p:nvSpPr>
        <p:spPr bwMode="auto">
          <a:xfrm>
            <a:off x="4479638" y="-200055"/>
            <a:ext cx="18473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15" name="Rectangle 51"/>
          <p:cNvSpPr>
            <a:spLocks noChangeArrowheads="1"/>
          </p:cNvSpPr>
          <p:nvPr/>
        </p:nvSpPr>
        <p:spPr bwMode="auto">
          <a:xfrm>
            <a:off x="4664369" y="414426"/>
            <a:ext cx="3152529"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nchor="ctr"/>
          <a:lstStyle/>
          <a:p>
            <a:pPr algn="l">
              <a:lnSpc>
                <a:spcPct val="90000"/>
              </a:lnSpc>
            </a:pPr>
            <a:r>
              <a:rPr lang="en-US" sz="2800" dirty="0" smtClean="0">
                <a:solidFill>
                  <a:srgbClr val="00A9D4"/>
                </a:solidFill>
                <a:ea typeface="MS PGothic" pitchFamily="34" charset="-128"/>
              </a:rPr>
              <a:t>Release 14.1 GA</a:t>
            </a:r>
            <a:endParaRPr lang="en-US" sz="2800" dirty="0">
              <a:solidFill>
                <a:srgbClr val="00A9D4"/>
              </a:solidFill>
              <a:ea typeface="MS PGothic" pitchFamily="34" charset="-128"/>
            </a:endParaRPr>
          </a:p>
        </p:txBody>
      </p:sp>
      <p:pic>
        <p:nvPicPr>
          <p:cNvPr id="368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97795" y="2463145"/>
            <a:ext cx="4367990" cy="40324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6" name="Group 15"/>
          <p:cNvGrpSpPr/>
          <p:nvPr/>
        </p:nvGrpSpPr>
        <p:grpSpPr>
          <a:xfrm>
            <a:off x="989012" y="1182208"/>
            <a:ext cx="7165976" cy="1205773"/>
            <a:chOff x="989012" y="1182208"/>
            <a:chExt cx="7165976" cy="1205773"/>
          </a:xfrm>
        </p:grpSpPr>
        <p:sp>
          <p:nvSpPr>
            <p:cNvPr id="22" name="Freeform 22"/>
            <p:cNvSpPr>
              <a:spLocks noChangeAspect="1"/>
            </p:cNvSpPr>
            <p:nvPr/>
          </p:nvSpPr>
          <p:spPr bwMode="auto">
            <a:xfrm rot="5400000">
              <a:off x="1514661" y="656561"/>
              <a:ext cx="1205772" cy="2257068"/>
            </a:xfrm>
            <a:custGeom>
              <a:avLst/>
              <a:gdLst>
                <a:gd name="T0" fmla="*/ 2147483647 w 357"/>
                <a:gd name="T1" fmla="*/ 2147483647 h 668"/>
                <a:gd name="T2" fmla="*/ 2147483647 w 357"/>
                <a:gd name="T3" fmla="*/ 2147483647 h 668"/>
                <a:gd name="T4" fmla="*/ 2147483647 w 357"/>
                <a:gd name="T5" fmla="*/ 0 h 668"/>
                <a:gd name="T6" fmla="*/ 2147483647 w 357"/>
                <a:gd name="T7" fmla="*/ 0 h 668"/>
                <a:gd name="T8" fmla="*/ 0 w 357"/>
                <a:gd name="T9" fmla="*/ 2147483647 h 668"/>
                <a:gd name="T10" fmla="*/ 0 w 357"/>
                <a:gd name="T11" fmla="*/ 2147483647 h 668"/>
                <a:gd name="T12" fmla="*/ 2147483647 w 357"/>
                <a:gd name="T13" fmla="*/ 2147483647 h 668"/>
                <a:gd name="T14" fmla="*/ 2147483647 w 357"/>
                <a:gd name="T15" fmla="*/ 2147483647 h 668"/>
                <a:gd name="T16" fmla="*/ 2147483647 w 357"/>
                <a:gd name="T17" fmla="*/ 2147483647 h 668"/>
                <a:gd name="T18" fmla="*/ 2147483647 w 357"/>
                <a:gd name="T19" fmla="*/ 2147483647 h 668"/>
                <a:gd name="T20" fmla="*/ 2147483647 w 357"/>
                <a:gd name="T21" fmla="*/ 2147483647 h 6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7"/>
                <a:gd name="T34" fmla="*/ 0 h 668"/>
                <a:gd name="T35" fmla="*/ 357 w 357"/>
                <a:gd name="T36" fmla="*/ 668 h 6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7" h="668">
                  <a:moveTo>
                    <a:pt x="346" y="300"/>
                  </a:moveTo>
                  <a:cubicBezTo>
                    <a:pt x="261" y="32"/>
                    <a:pt x="261" y="32"/>
                    <a:pt x="261" y="32"/>
                  </a:cubicBezTo>
                  <a:cubicBezTo>
                    <a:pt x="261" y="32"/>
                    <a:pt x="251" y="0"/>
                    <a:pt x="235" y="0"/>
                  </a:cubicBezTo>
                  <a:cubicBezTo>
                    <a:pt x="230" y="0"/>
                    <a:pt x="19" y="0"/>
                    <a:pt x="19" y="0"/>
                  </a:cubicBezTo>
                  <a:cubicBezTo>
                    <a:pt x="8" y="0"/>
                    <a:pt x="0" y="10"/>
                    <a:pt x="0" y="21"/>
                  </a:cubicBezTo>
                  <a:cubicBezTo>
                    <a:pt x="0" y="646"/>
                    <a:pt x="0" y="646"/>
                    <a:pt x="0" y="646"/>
                  </a:cubicBezTo>
                  <a:cubicBezTo>
                    <a:pt x="0" y="657"/>
                    <a:pt x="8" y="666"/>
                    <a:pt x="19" y="668"/>
                  </a:cubicBezTo>
                  <a:cubicBezTo>
                    <a:pt x="19" y="668"/>
                    <a:pt x="230" y="668"/>
                    <a:pt x="235" y="668"/>
                  </a:cubicBezTo>
                  <a:cubicBezTo>
                    <a:pt x="250" y="668"/>
                    <a:pt x="261" y="636"/>
                    <a:pt x="261" y="636"/>
                  </a:cubicBezTo>
                  <a:cubicBezTo>
                    <a:pt x="261" y="636"/>
                    <a:pt x="334" y="405"/>
                    <a:pt x="346" y="368"/>
                  </a:cubicBezTo>
                  <a:cubicBezTo>
                    <a:pt x="357" y="332"/>
                    <a:pt x="346" y="300"/>
                    <a:pt x="346" y="300"/>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spcBef>
                  <a:spcPct val="50000"/>
                </a:spcBef>
              </a:pPr>
              <a:endParaRPr lang="en-US" dirty="0">
                <a:solidFill>
                  <a:srgbClr val="B1B3B4"/>
                </a:solidFill>
                <a:ea typeface="ＭＳ Ｐゴシック" pitchFamily="34" charset="-128"/>
              </a:endParaRPr>
            </a:p>
          </p:txBody>
        </p:sp>
        <p:sp>
          <p:nvSpPr>
            <p:cNvPr id="23" name="Freeform 22"/>
            <p:cNvSpPr>
              <a:spLocks noChangeAspect="1"/>
            </p:cNvSpPr>
            <p:nvPr/>
          </p:nvSpPr>
          <p:spPr bwMode="auto">
            <a:xfrm rot="5400000">
              <a:off x="3969114" y="656560"/>
              <a:ext cx="1205772" cy="2257068"/>
            </a:xfrm>
            <a:custGeom>
              <a:avLst/>
              <a:gdLst>
                <a:gd name="T0" fmla="*/ 2147483647 w 357"/>
                <a:gd name="T1" fmla="*/ 2147483647 h 668"/>
                <a:gd name="T2" fmla="*/ 2147483647 w 357"/>
                <a:gd name="T3" fmla="*/ 2147483647 h 668"/>
                <a:gd name="T4" fmla="*/ 2147483647 w 357"/>
                <a:gd name="T5" fmla="*/ 0 h 668"/>
                <a:gd name="T6" fmla="*/ 2147483647 w 357"/>
                <a:gd name="T7" fmla="*/ 0 h 668"/>
                <a:gd name="T8" fmla="*/ 0 w 357"/>
                <a:gd name="T9" fmla="*/ 2147483647 h 668"/>
                <a:gd name="T10" fmla="*/ 0 w 357"/>
                <a:gd name="T11" fmla="*/ 2147483647 h 668"/>
                <a:gd name="T12" fmla="*/ 2147483647 w 357"/>
                <a:gd name="T13" fmla="*/ 2147483647 h 668"/>
                <a:gd name="T14" fmla="*/ 2147483647 w 357"/>
                <a:gd name="T15" fmla="*/ 2147483647 h 668"/>
                <a:gd name="T16" fmla="*/ 2147483647 w 357"/>
                <a:gd name="T17" fmla="*/ 2147483647 h 668"/>
                <a:gd name="T18" fmla="*/ 2147483647 w 357"/>
                <a:gd name="T19" fmla="*/ 2147483647 h 668"/>
                <a:gd name="T20" fmla="*/ 2147483647 w 357"/>
                <a:gd name="T21" fmla="*/ 2147483647 h 6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7"/>
                <a:gd name="T34" fmla="*/ 0 h 668"/>
                <a:gd name="T35" fmla="*/ 357 w 357"/>
                <a:gd name="T36" fmla="*/ 668 h 6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7" h="668">
                  <a:moveTo>
                    <a:pt x="346" y="300"/>
                  </a:moveTo>
                  <a:cubicBezTo>
                    <a:pt x="261" y="32"/>
                    <a:pt x="261" y="32"/>
                    <a:pt x="261" y="32"/>
                  </a:cubicBezTo>
                  <a:cubicBezTo>
                    <a:pt x="261" y="32"/>
                    <a:pt x="251" y="0"/>
                    <a:pt x="235" y="0"/>
                  </a:cubicBezTo>
                  <a:cubicBezTo>
                    <a:pt x="230" y="0"/>
                    <a:pt x="19" y="0"/>
                    <a:pt x="19" y="0"/>
                  </a:cubicBezTo>
                  <a:cubicBezTo>
                    <a:pt x="8" y="0"/>
                    <a:pt x="0" y="10"/>
                    <a:pt x="0" y="21"/>
                  </a:cubicBezTo>
                  <a:cubicBezTo>
                    <a:pt x="0" y="646"/>
                    <a:pt x="0" y="646"/>
                    <a:pt x="0" y="646"/>
                  </a:cubicBezTo>
                  <a:cubicBezTo>
                    <a:pt x="0" y="657"/>
                    <a:pt x="8" y="666"/>
                    <a:pt x="19" y="668"/>
                  </a:cubicBezTo>
                  <a:cubicBezTo>
                    <a:pt x="19" y="668"/>
                    <a:pt x="230" y="668"/>
                    <a:pt x="235" y="668"/>
                  </a:cubicBezTo>
                  <a:cubicBezTo>
                    <a:pt x="250" y="668"/>
                    <a:pt x="261" y="636"/>
                    <a:pt x="261" y="636"/>
                  </a:cubicBezTo>
                  <a:cubicBezTo>
                    <a:pt x="261" y="636"/>
                    <a:pt x="334" y="405"/>
                    <a:pt x="346" y="368"/>
                  </a:cubicBezTo>
                  <a:cubicBezTo>
                    <a:pt x="357" y="332"/>
                    <a:pt x="346" y="300"/>
                    <a:pt x="346" y="300"/>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spcBef>
                  <a:spcPct val="50000"/>
                </a:spcBef>
              </a:pPr>
              <a:endParaRPr lang="en-US" dirty="0">
                <a:solidFill>
                  <a:srgbClr val="B1B3B4"/>
                </a:solidFill>
                <a:ea typeface="ＭＳ Ｐゴシック" pitchFamily="34" charset="-128"/>
              </a:endParaRPr>
            </a:p>
          </p:txBody>
        </p:sp>
        <p:sp>
          <p:nvSpPr>
            <p:cNvPr id="24" name="Freeform 22"/>
            <p:cNvSpPr>
              <a:spLocks noChangeAspect="1"/>
            </p:cNvSpPr>
            <p:nvPr/>
          </p:nvSpPr>
          <p:spPr bwMode="auto">
            <a:xfrm rot="5400000">
              <a:off x="6423568" y="656560"/>
              <a:ext cx="1205772" cy="2257068"/>
            </a:xfrm>
            <a:custGeom>
              <a:avLst/>
              <a:gdLst>
                <a:gd name="T0" fmla="*/ 2147483647 w 357"/>
                <a:gd name="T1" fmla="*/ 2147483647 h 668"/>
                <a:gd name="T2" fmla="*/ 2147483647 w 357"/>
                <a:gd name="T3" fmla="*/ 2147483647 h 668"/>
                <a:gd name="T4" fmla="*/ 2147483647 w 357"/>
                <a:gd name="T5" fmla="*/ 0 h 668"/>
                <a:gd name="T6" fmla="*/ 2147483647 w 357"/>
                <a:gd name="T7" fmla="*/ 0 h 668"/>
                <a:gd name="T8" fmla="*/ 0 w 357"/>
                <a:gd name="T9" fmla="*/ 2147483647 h 668"/>
                <a:gd name="T10" fmla="*/ 0 w 357"/>
                <a:gd name="T11" fmla="*/ 2147483647 h 668"/>
                <a:gd name="T12" fmla="*/ 2147483647 w 357"/>
                <a:gd name="T13" fmla="*/ 2147483647 h 668"/>
                <a:gd name="T14" fmla="*/ 2147483647 w 357"/>
                <a:gd name="T15" fmla="*/ 2147483647 h 668"/>
                <a:gd name="T16" fmla="*/ 2147483647 w 357"/>
                <a:gd name="T17" fmla="*/ 2147483647 h 668"/>
                <a:gd name="T18" fmla="*/ 2147483647 w 357"/>
                <a:gd name="T19" fmla="*/ 2147483647 h 668"/>
                <a:gd name="T20" fmla="*/ 2147483647 w 357"/>
                <a:gd name="T21" fmla="*/ 2147483647 h 6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7"/>
                <a:gd name="T34" fmla="*/ 0 h 668"/>
                <a:gd name="T35" fmla="*/ 357 w 357"/>
                <a:gd name="T36" fmla="*/ 668 h 6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7" h="668">
                  <a:moveTo>
                    <a:pt x="346" y="300"/>
                  </a:moveTo>
                  <a:cubicBezTo>
                    <a:pt x="261" y="32"/>
                    <a:pt x="261" y="32"/>
                    <a:pt x="261" y="32"/>
                  </a:cubicBezTo>
                  <a:cubicBezTo>
                    <a:pt x="261" y="32"/>
                    <a:pt x="251" y="0"/>
                    <a:pt x="235" y="0"/>
                  </a:cubicBezTo>
                  <a:cubicBezTo>
                    <a:pt x="230" y="0"/>
                    <a:pt x="19" y="0"/>
                    <a:pt x="19" y="0"/>
                  </a:cubicBezTo>
                  <a:cubicBezTo>
                    <a:pt x="8" y="0"/>
                    <a:pt x="0" y="10"/>
                    <a:pt x="0" y="21"/>
                  </a:cubicBezTo>
                  <a:cubicBezTo>
                    <a:pt x="0" y="646"/>
                    <a:pt x="0" y="646"/>
                    <a:pt x="0" y="646"/>
                  </a:cubicBezTo>
                  <a:cubicBezTo>
                    <a:pt x="0" y="657"/>
                    <a:pt x="8" y="666"/>
                    <a:pt x="19" y="668"/>
                  </a:cubicBezTo>
                  <a:cubicBezTo>
                    <a:pt x="19" y="668"/>
                    <a:pt x="230" y="668"/>
                    <a:pt x="235" y="668"/>
                  </a:cubicBezTo>
                  <a:cubicBezTo>
                    <a:pt x="250" y="668"/>
                    <a:pt x="261" y="636"/>
                    <a:pt x="261" y="636"/>
                  </a:cubicBezTo>
                  <a:cubicBezTo>
                    <a:pt x="261" y="636"/>
                    <a:pt x="334" y="405"/>
                    <a:pt x="346" y="368"/>
                  </a:cubicBezTo>
                  <a:cubicBezTo>
                    <a:pt x="357" y="332"/>
                    <a:pt x="346" y="300"/>
                    <a:pt x="346" y="300"/>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spcBef>
                  <a:spcPct val="50000"/>
                </a:spcBef>
              </a:pPr>
              <a:endParaRPr lang="en-US" dirty="0">
                <a:solidFill>
                  <a:srgbClr val="B1B3B4"/>
                </a:solidFill>
                <a:ea typeface="ＭＳ Ｐゴシック" pitchFamily="34" charset="-128"/>
              </a:endParaRPr>
            </a:p>
          </p:txBody>
        </p:sp>
        <p:sp>
          <p:nvSpPr>
            <p:cNvPr id="10" name="Rectangle 9"/>
            <p:cNvSpPr/>
            <p:nvPr/>
          </p:nvSpPr>
          <p:spPr>
            <a:xfrm>
              <a:off x="989012" y="1278722"/>
              <a:ext cx="2257069" cy="646331"/>
            </a:xfrm>
            <a:prstGeom prst="rect">
              <a:avLst/>
            </a:prstGeom>
          </p:spPr>
          <p:txBody>
            <a:bodyPr wrap="square">
              <a:spAutoFit/>
            </a:bodyPr>
            <a:lstStyle/>
            <a:p>
              <a:pPr>
                <a:lnSpc>
                  <a:spcPct val="90000"/>
                </a:lnSpc>
                <a:spcAft>
                  <a:spcPts val="1800"/>
                </a:spcAft>
                <a:buClr>
                  <a:schemeClr val="bg1"/>
                </a:buClr>
              </a:pPr>
              <a:r>
                <a:rPr lang="en-US" dirty="0">
                  <a:solidFill>
                    <a:schemeClr val="bg1"/>
                  </a:solidFill>
                </a:rPr>
                <a:t>Faster </a:t>
              </a:r>
              <a:r>
                <a:rPr lang="en-US" dirty="0" smtClean="0">
                  <a:solidFill>
                    <a:schemeClr val="bg1"/>
                  </a:solidFill>
                </a:rPr>
                <a:t/>
              </a:r>
              <a:br>
                <a:rPr lang="en-US" dirty="0" smtClean="0">
                  <a:solidFill>
                    <a:schemeClr val="bg1"/>
                  </a:solidFill>
                </a:rPr>
              </a:br>
              <a:r>
                <a:rPr lang="en-US" dirty="0" smtClean="0">
                  <a:solidFill>
                    <a:schemeClr val="bg1"/>
                  </a:solidFill>
                </a:rPr>
                <a:t>Time-to-Market</a:t>
              </a:r>
              <a:endParaRPr lang="en-US" dirty="0">
                <a:solidFill>
                  <a:schemeClr val="bg1"/>
                </a:solidFill>
              </a:endParaRPr>
            </a:p>
          </p:txBody>
        </p:sp>
        <p:sp>
          <p:nvSpPr>
            <p:cNvPr id="11" name="Rectangle 10"/>
            <p:cNvSpPr/>
            <p:nvPr/>
          </p:nvSpPr>
          <p:spPr>
            <a:xfrm>
              <a:off x="3443467" y="1278722"/>
              <a:ext cx="2257068" cy="923330"/>
            </a:xfrm>
            <a:prstGeom prst="rect">
              <a:avLst/>
            </a:prstGeom>
          </p:spPr>
          <p:txBody>
            <a:bodyPr wrap="square">
              <a:spAutoFit/>
            </a:bodyPr>
            <a:lstStyle/>
            <a:p>
              <a:pPr>
                <a:lnSpc>
                  <a:spcPct val="90000"/>
                </a:lnSpc>
                <a:spcAft>
                  <a:spcPts val="1800"/>
                </a:spcAft>
                <a:buClr>
                  <a:schemeClr val="bg1"/>
                </a:buClr>
              </a:pPr>
              <a:r>
                <a:rPr lang="en-US" dirty="0" smtClean="0">
                  <a:solidFill>
                    <a:schemeClr val="bg1"/>
                  </a:solidFill>
                </a:rPr>
                <a:t>Available</a:t>
              </a:r>
              <a:br>
                <a:rPr lang="en-US" dirty="0" smtClean="0">
                  <a:solidFill>
                    <a:schemeClr val="bg1"/>
                  </a:solidFill>
                </a:rPr>
              </a:br>
              <a:r>
                <a:rPr lang="en-US" dirty="0" smtClean="0">
                  <a:solidFill>
                    <a:schemeClr val="bg1"/>
                  </a:solidFill>
                </a:rPr>
                <a:t>Pre-integrated Solutions</a:t>
              </a:r>
              <a:endParaRPr lang="en-US" dirty="0">
                <a:solidFill>
                  <a:schemeClr val="bg1"/>
                </a:solidFill>
              </a:endParaRPr>
            </a:p>
          </p:txBody>
        </p:sp>
        <p:sp>
          <p:nvSpPr>
            <p:cNvPr id="12" name="Rectangle 11"/>
            <p:cNvSpPr/>
            <p:nvPr/>
          </p:nvSpPr>
          <p:spPr>
            <a:xfrm>
              <a:off x="5897920" y="1278722"/>
              <a:ext cx="2257068" cy="640497"/>
            </a:xfrm>
            <a:prstGeom prst="rect">
              <a:avLst/>
            </a:prstGeom>
          </p:spPr>
          <p:txBody>
            <a:bodyPr wrap="square">
              <a:spAutoFit/>
            </a:bodyPr>
            <a:lstStyle/>
            <a:p>
              <a:pPr>
                <a:lnSpc>
                  <a:spcPct val="90000"/>
                </a:lnSpc>
                <a:spcAft>
                  <a:spcPts val="1800"/>
                </a:spcAft>
                <a:buClr>
                  <a:schemeClr val="bg1"/>
                </a:buClr>
              </a:pPr>
              <a:r>
                <a:rPr lang="en-US" dirty="0">
                  <a:solidFill>
                    <a:schemeClr val="bg1"/>
                  </a:solidFill>
                </a:rPr>
                <a:t>Capture New Revenues</a:t>
              </a:r>
            </a:p>
          </p:txBody>
        </p:sp>
      </p:grpSp>
      <p:cxnSp>
        <p:nvCxnSpPr>
          <p:cNvPr id="6" name="Straight Connector 5"/>
          <p:cNvCxnSpPr/>
          <p:nvPr/>
        </p:nvCxnSpPr>
        <p:spPr bwMode="auto">
          <a:xfrm flipH="1" flipV="1">
            <a:off x="3246081" y="2781301"/>
            <a:ext cx="1139591" cy="1038224"/>
          </a:xfrm>
          <a:prstGeom prst="line">
            <a:avLst/>
          </a:prstGeom>
          <a:solidFill>
            <a:schemeClr val="accent1"/>
          </a:solidFill>
          <a:ln w="28575" cap="flat" cmpd="sng" algn="ctr">
            <a:solidFill>
              <a:srgbClr val="87888A"/>
            </a:solidFill>
            <a:prstDash val="solid"/>
            <a:round/>
            <a:headEnd type="none" w="med" len="med"/>
            <a:tailEnd type="none" w="med" len="med"/>
          </a:ln>
          <a:effectLst/>
        </p:spPr>
      </p:cxnSp>
      <p:cxnSp>
        <p:nvCxnSpPr>
          <p:cNvPr id="35" name="Straight Connector 34"/>
          <p:cNvCxnSpPr/>
          <p:nvPr/>
        </p:nvCxnSpPr>
        <p:spPr bwMode="auto">
          <a:xfrm flipH="1">
            <a:off x="3246081" y="4756760"/>
            <a:ext cx="1139591" cy="1038224"/>
          </a:xfrm>
          <a:prstGeom prst="line">
            <a:avLst/>
          </a:prstGeom>
          <a:solidFill>
            <a:schemeClr val="accent1"/>
          </a:solidFill>
          <a:ln w="28575" cap="flat" cmpd="sng" algn="ctr">
            <a:solidFill>
              <a:srgbClr val="87888A"/>
            </a:solidFill>
            <a:prstDash val="solid"/>
            <a:round/>
            <a:headEnd type="none" w="med" len="med"/>
            <a:tailEnd type="none" w="med" len="med"/>
          </a:ln>
          <a:effectLst/>
        </p:spPr>
      </p:cxnSp>
      <p:sp>
        <p:nvSpPr>
          <p:cNvPr id="30" name="Freeform 53"/>
          <p:cNvSpPr>
            <a:spLocks noChangeAspect="1"/>
          </p:cNvSpPr>
          <p:nvPr/>
        </p:nvSpPr>
        <p:spPr bwMode="auto">
          <a:xfrm>
            <a:off x="3981922" y="3676650"/>
            <a:ext cx="1231745" cy="1204913"/>
          </a:xfrm>
          <a:custGeom>
            <a:avLst/>
            <a:gdLst>
              <a:gd name="T0" fmla="*/ 2147483647 w 408"/>
              <a:gd name="T1" fmla="*/ 2147483647 h 399"/>
              <a:gd name="T2" fmla="*/ 2147483647 w 408"/>
              <a:gd name="T3" fmla="*/ 2147483647 h 399"/>
              <a:gd name="T4" fmla="*/ 2147483647 w 408"/>
              <a:gd name="T5" fmla="*/ 2147483647 h 399"/>
              <a:gd name="T6" fmla="*/ 2147483647 w 408"/>
              <a:gd name="T7" fmla="*/ 2147483647 h 399"/>
              <a:gd name="T8" fmla="*/ 2147483647 w 408"/>
              <a:gd name="T9" fmla="*/ 2147483647 h 399"/>
              <a:gd name="T10" fmla="*/ 2147483647 w 408"/>
              <a:gd name="T11" fmla="*/ 2147483647 h 399"/>
              <a:gd name="T12" fmla="*/ 2147483647 w 408"/>
              <a:gd name="T13" fmla="*/ 2147483647 h 399"/>
              <a:gd name="T14" fmla="*/ 2147483647 w 408"/>
              <a:gd name="T15" fmla="*/ 2147483647 h 399"/>
              <a:gd name="T16" fmla="*/ 2147483647 w 408"/>
              <a:gd name="T17" fmla="*/ 2147483647 h 399"/>
              <a:gd name="T18" fmla="*/ 2147483647 w 408"/>
              <a:gd name="T19" fmla="*/ 2147483647 h 399"/>
              <a:gd name="T20" fmla="*/ 2147483647 w 408"/>
              <a:gd name="T21" fmla="*/ 2147483647 h 399"/>
              <a:gd name="T22" fmla="*/ 2147483647 w 408"/>
              <a:gd name="T23" fmla="*/ 2147483647 h 399"/>
              <a:gd name="T24" fmla="*/ 2147483647 w 408"/>
              <a:gd name="T25" fmla="*/ 2147483647 h 399"/>
              <a:gd name="T26" fmla="*/ 2147483647 w 408"/>
              <a:gd name="T27" fmla="*/ 2147483647 h 399"/>
              <a:gd name="T28" fmla="*/ 2147483647 w 408"/>
              <a:gd name="T29" fmla="*/ 2147483647 h 399"/>
              <a:gd name="T30" fmla="*/ 2147483647 w 408"/>
              <a:gd name="T31" fmla="*/ 0 h 399"/>
              <a:gd name="T32" fmla="*/ 2147483647 w 408"/>
              <a:gd name="T33" fmla="*/ 2147483647 h 399"/>
              <a:gd name="T34" fmla="*/ 2147483647 w 408"/>
              <a:gd name="T35" fmla="*/ 2147483647 h 399"/>
              <a:gd name="T36" fmla="*/ 2147483647 w 408"/>
              <a:gd name="T37" fmla="*/ 2147483647 h 399"/>
              <a:gd name="T38" fmla="*/ 2147483647 w 408"/>
              <a:gd name="T39" fmla="*/ 2147483647 h 399"/>
              <a:gd name="T40" fmla="*/ 2147483647 w 408"/>
              <a:gd name="T41" fmla="*/ 2147483647 h 399"/>
              <a:gd name="T42" fmla="*/ 2147483647 w 408"/>
              <a:gd name="T43" fmla="*/ 2147483647 h 399"/>
              <a:gd name="T44" fmla="*/ 2147483647 w 408"/>
              <a:gd name="T45" fmla="*/ 2147483647 h 399"/>
              <a:gd name="T46" fmla="*/ 2147483647 w 408"/>
              <a:gd name="T47" fmla="*/ 2147483647 h 399"/>
              <a:gd name="T48" fmla="*/ 2147483647 w 408"/>
              <a:gd name="T49" fmla="*/ 2147483647 h 399"/>
              <a:gd name="T50" fmla="*/ 2147483647 w 408"/>
              <a:gd name="T51" fmla="*/ 2147483647 h 399"/>
              <a:gd name="T52" fmla="*/ 2147483647 w 408"/>
              <a:gd name="T53" fmla="*/ 2147483647 h 399"/>
              <a:gd name="T54" fmla="*/ 2147483647 w 408"/>
              <a:gd name="T55" fmla="*/ 2147483647 h 399"/>
              <a:gd name="T56" fmla="*/ 2147483647 w 408"/>
              <a:gd name="T57" fmla="*/ 2147483647 h 399"/>
              <a:gd name="T58" fmla="*/ 2147483647 w 408"/>
              <a:gd name="T59" fmla="*/ 2147483647 h 399"/>
              <a:gd name="T60" fmla="*/ 2147483647 w 408"/>
              <a:gd name="T61" fmla="*/ 2147483647 h 399"/>
              <a:gd name="T62" fmla="*/ 2147483647 w 408"/>
              <a:gd name="T63" fmla="*/ 2147483647 h 399"/>
              <a:gd name="T64" fmla="*/ 2147483647 w 408"/>
              <a:gd name="T65" fmla="*/ 2147483647 h 399"/>
              <a:gd name="T66" fmla="*/ 2147483647 w 408"/>
              <a:gd name="T67" fmla="*/ 2147483647 h 399"/>
              <a:gd name="T68" fmla="*/ 2147483647 w 408"/>
              <a:gd name="T69" fmla="*/ 2147483647 h 399"/>
              <a:gd name="T70" fmla="*/ 2147483647 w 408"/>
              <a:gd name="T71" fmla="*/ 2147483647 h 399"/>
              <a:gd name="T72" fmla="*/ 2147483647 w 408"/>
              <a:gd name="T73" fmla="*/ 2147483647 h 399"/>
              <a:gd name="T74" fmla="*/ 2147483647 w 408"/>
              <a:gd name="T75" fmla="*/ 2147483647 h 399"/>
              <a:gd name="T76" fmla="*/ 2147483647 w 408"/>
              <a:gd name="T77" fmla="*/ 2147483647 h 399"/>
              <a:gd name="T78" fmla="*/ 2147483647 w 408"/>
              <a:gd name="T79" fmla="*/ 2147483647 h 399"/>
              <a:gd name="T80" fmla="*/ 2147483647 w 408"/>
              <a:gd name="T81" fmla="*/ 2147483647 h 399"/>
              <a:gd name="T82" fmla="*/ 2147483647 w 408"/>
              <a:gd name="T83" fmla="*/ 2147483647 h 399"/>
              <a:gd name="T84" fmla="*/ 2147483647 w 408"/>
              <a:gd name="T85" fmla="*/ 2147483647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08" h="399">
                <a:moveTo>
                  <a:pt x="396" y="207"/>
                </a:moveTo>
                <a:cubicBezTo>
                  <a:pt x="376" y="202"/>
                  <a:pt x="376" y="202"/>
                  <a:pt x="376" y="202"/>
                </a:cubicBezTo>
                <a:cubicBezTo>
                  <a:pt x="376" y="200"/>
                  <a:pt x="376" y="198"/>
                  <a:pt x="376" y="196"/>
                </a:cubicBezTo>
                <a:cubicBezTo>
                  <a:pt x="376" y="180"/>
                  <a:pt x="373" y="164"/>
                  <a:pt x="369" y="148"/>
                </a:cubicBezTo>
                <a:cubicBezTo>
                  <a:pt x="385" y="143"/>
                  <a:pt x="385" y="143"/>
                  <a:pt x="385" y="143"/>
                </a:cubicBezTo>
                <a:cubicBezTo>
                  <a:pt x="391" y="140"/>
                  <a:pt x="395" y="133"/>
                  <a:pt x="392" y="126"/>
                </a:cubicBezTo>
                <a:cubicBezTo>
                  <a:pt x="386" y="109"/>
                  <a:pt x="386" y="109"/>
                  <a:pt x="386" y="109"/>
                </a:cubicBezTo>
                <a:cubicBezTo>
                  <a:pt x="383" y="103"/>
                  <a:pt x="376" y="99"/>
                  <a:pt x="370" y="102"/>
                </a:cubicBezTo>
                <a:cubicBezTo>
                  <a:pt x="351" y="108"/>
                  <a:pt x="351" y="108"/>
                  <a:pt x="351" y="108"/>
                </a:cubicBezTo>
                <a:cubicBezTo>
                  <a:pt x="350" y="105"/>
                  <a:pt x="348" y="102"/>
                  <a:pt x="346" y="100"/>
                </a:cubicBezTo>
                <a:cubicBezTo>
                  <a:pt x="343" y="96"/>
                  <a:pt x="338" y="95"/>
                  <a:pt x="335" y="98"/>
                </a:cubicBezTo>
                <a:cubicBezTo>
                  <a:pt x="331" y="100"/>
                  <a:pt x="330" y="105"/>
                  <a:pt x="333" y="109"/>
                </a:cubicBezTo>
                <a:cubicBezTo>
                  <a:pt x="350" y="134"/>
                  <a:pt x="360" y="164"/>
                  <a:pt x="360" y="196"/>
                </a:cubicBezTo>
                <a:cubicBezTo>
                  <a:pt x="360" y="201"/>
                  <a:pt x="360" y="206"/>
                  <a:pt x="359" y="211"/>
                </a:cubicBezTo>
                <a:cubicBezTo>
                  <a:pt x="352" y="292"/>
                  <a:pt x="284" y="353"/>
                  <a:pt x="204" y="353"/>
                </a:cubicBezTo>
                <a:cubicBezTo>
                  <a:pt x="199" y="353"/>
                  <a:pt x="194" y="352"/>
                  <a:pt x="190" y="352"/>
                </a:cubicBezTo>
                <a:cubicBezTo>
                  <a:pt x="109" y="345"/>
                  <a:pt x="48" y="277"/>
                  <a:pt x="48" y="197"/>
                </a:cubicBezTo>
                <a:cubicBezTo>
                  <a:pt x="48" y="192"/>
                  <a:pt x="48" y="187"/>
                  <a:pt x="48" y="182"/>
                </a:cubicBezTo>
                <a:cubicBezTo>
                  <a:pt x="56" y="101"/>
                  <a:pt x="124" y="41"/>
                  <a:pt x="204" y="41"/>
                </a:cubicBezTo>
                <a:cubicBezTo>
                  <a:pt x="208" y="41"/>
                  <a:pt x="213" y="41"/>
                  <a:pt x="218" y="41"/>
                </a:cubicBezTo>
                <a:cubicBezTo>
                  <a:pt x="255" y="45"/>
                  <a:pt x="288" y="61"/>
                  <a:pt x="313" y="86"/>
                </a:cubicBezTo>
                <a:cubicBezTo>
                  <a:pt x="316" y="89"/>
                  <a:pt x="322" y="89"/>
                  <a:pt x="325" y="85"/>
                </a:cubicBezTo>
                <a:cubicBezTo>
                  <a:pt x="328" y="82"/>
                  <a:pt x="328" y="77"/>
                  <a:pt x="325" y="74"/>
                </a:cubicBezTo>
                <a:cubicBezTo>
                  <a:pt x="322" y="71"/>
                  <a:pt x="319" y="69"/>
                  <a:pt x="316" y="66"/>
                </a:cubicBezTo>
                <a:cubicBezTo>
                  <a:pt x="325" y="52"/>
                  <a:pt x="325" y="52"/>
                  <a:pt x="325" y="52"/>
                </a:cubicBezTo>
                <a:cubicBezTo>
                  <a:pt x="329" y="46"/>
                  <a:pt x="327" y="38"/>
                  <a:pt x="321" y="35"/>
                </a:cubicBezTo>
                <a:cubicBezTo>
                  <a:pt x="306" y="25"/>
                  <a:pt x="306" y="25"/>
                  <a:pt x="306" y="25"/>
                </a:cubicBezTo>
                <a:cubicBezTo>
                  <a:pt x="300" y="21"/>
                  <a:pt x="292" y="23"/>
                  <a:pt x="288" y="29"/>
                </a:cubicBezTo>
                <a:cubicBezTo>
                  <a:pt x="280" y="42"/>
                  <a:pt x="280" y="42"/>
                  <a:pt x="280" y="42"/>
                </a:cubicBezTo>
                <a:cubicBezTo>
                  <a:pt x="263" y="34"/>
                  <a:pt x="245" y="28"/>
                  <a:pt x="225" y="26"/>
                </a:cubicBezTo>
                <a:cubicBezTo>
                  <a:pt x="225" y="12"/>
                  <a:pt x="225" y="12"/>
                  <a:pt x="225" y="12"/>
                </a:cubicBezTo>
                <a:cubicBezTo>
                  <a:pt x="225" y="5"/>
                  <a:pt x="219" y="0"/>
                  <a:pt x="212" y="0"/>
                </a:cubicBezTo>
                <a:cubicBezTo>
                  <a:pt x="194" y="0"/>
                  <a:pt x="194" y="0"/>
                  <a:pt x="194" y="0"/>
                </a:cubicBezTo>
                <a:cubicBezTo>
                  <a:pt x="187" y="0"/>
                  <a:pt x="181" y="5"/>
                  <a:pt x="181" y="12"/>
                </a:cubicBezTo>
                <a:cubicBezTo>
                  <a:pt x="181" y="26"/>
                  <a:pt x="181" y="26"/>
                  <a:pt x="181" y="26"/>
                </a:cubicBezTo>
                <a:cubicBezTo>
                  <a:pt x="163" y="28"/>
                  <a:pt x="144" y="34"/>
                  <a:pt x="128" y="42"/>
                </a:cubicBezTo>
                <a:cubicBezTo>
                  <a:pt x="120" y="29"/>
                  <a:pt x="120" y="29"/>
                  <a:pt x="120" y="29"/>
                </a:cubicBezTo>
                <a:cubicBezTo>
                  <a:pt x="116" y="23"/>
                  <a:pt x="108" y="21"/>
                  <a:pt x="102" y="25"/>
                </a:cubicBezTo>
                <a:cubicBezTo>
                  <a:pt x="87" y="35"/>
                  <a:pt x="87" y="35"/>
                  <a:pt x="87" y="35"/>
                </a:cubicBezTo>
                <a:cubicBezTo>
                  <a:pt x="81" y="38"/>
                  <a:pt x="79" y="46"/>
                  <a:pt x="83" y="52"/>
                </a:cubicBezTo>
                <a:cubicBezTo>
                  <a:pt x="91" y="66"/>
                  <a:pt x="91" y="66"/>
                  <a:pt x="91" y="66"/>
                </a:cubicBezTo>
                <a:cubicBezTo>
                  <a:pt x="78" y="78"/>
                  <a:pt x="66" y="92"/>
                  <a:pt x="56" y="108"/>
                </a:cubicBezTo>
                <a:cubicBezTo>
                  <a:pt x="38" y="102"/>
                  <a:pt x="38" y="102"/>
                  <a:pt x="38" y="102"/>
                </a:cubicBezTo>
                <a:cubicBezTo>
                  <a:pt x="31" y="99"/>
                  <a:pt x="24" y="103"/>
                  <a:pt x="22" y="109"/>
                </a:cubicBezTo>
                <a:cubicBezTo>
                  <a:pt x="16" y="126"/>
                  <a:pt x="16" y="126"/>
                  <a:pt x="16" y="126"/>
                </a:cubicBezTo>
                <a:cubicBezTo>
                  <a:pt x="13" y="133"/>
                  <a:pt x="17" y="140"/>
                  <a:pt x="23" y="143"/>
                </a:cubicBezTo>
                <a:cubicBezTo>
                  <a:pt x="39" y="148"/>
                  <a:pt x="39" y="148"/>
                  <a:pt x="39" y="148"/>
                </a:cubicBezTo>
                <a:cubicBezTo>
                  <a:pt x="36" y="159"/>
                  <a:pt x="34" y="170"/>
                  <a:pt x="32" y="181"/>
                </a:cubicBezTo>
                <a:cubicBezTo>
                  <a:pt x="32" y="186"/>
                  <a:pt x="32" y="192"/>
                  <a:pt x="32" y="197"/>
                </a:cubicBezTo>
                <a:cubicBezTo>
                  <a:pt x="32" y="199"/>
                  <a:pt x="32" y="200"/>
                  <a:pt x="32" y="202"/>
                </a:cubicBezTo>
                <a:cubicBezTo>
                  <a:pt x="11" y="207"/>
                  <a:pt x="11" y="207"/>
                  <a:pt x="11" y="207"/>
                </a:cubicBezTo>
                <a:cubicBezTo>
                  <a:pt x="4" y="208"/>
                  <a:pt x="0" y="215"/>
                  <a:pt x="1" y="222"/>
                </a:cubicBezTo>
                <a:cubicBezTo>
                  <a:pt x="5" y="240"/>
                  <a:pt x="5" y="240"/>
                  <a:pt x="5" y="240"/>
                </a:cubicBezTo>
                <a:cubicBezTo>
                  <a:pt x="7" y="247"/>
                  <a:pt x="13" y="251"/>
                  <a:pt x="20" y="250"/>
                </a:cubicBezTo>
                <a:cubicBezTo>
                  <a:pt x="39" y="245"/>
                  <a:pt x="39" y="245"/>
                  <a:pt x="39" y="245"/>
                </a:cubicBezTo>
                <a:cubicBezTo>
                  <a:pt x="44" y="263"/>
                  <a:pt x="52" y="279"/>
                  <a:pt x="62" y="294"/>
                </a:cubicBezTo>
                <a:cubicBezTo>
                  <a:pt x="45" y="310"/>
                  <a:pt x="45" y="310"/>
                  <a:pt x="45" y="310"/>
                </a:cubicBezTo>
                <a:cubicBezTo>
                  <a:pt x="40" y="315"/>
                  <a:pt x="40" y="323"/>
                  <a:pt x="45" y="328"/>
                </a:cubicBezTo>
                <a:cubicBezTo>
                  <a:pt x="58" y="341"/>
                  <a:pt x="58" y="341"/>
                  <a:pt x="58" y="341"/>
                </a:cubicBezTo>
                <a:cubicBezTo>
                  <a:pt x="63" y="346"/>
                  <a:pt x="71" y="346"/>
                  <a:pt x="76" y="341"/>
                </a:cubicBezTo>
                <a:cubicBezTo>
                  <a:pt x="91" y="326"/>
                  <a:pt x="91" y="326"/>
                  <a:pt x="91" y="326"/>
                </a:cubicBezTo>
                <a:cubicBezTo>
                  <a:pt x="104" y="338"/>
                  <a:pt x="119" y="347"/>
                  <a:pt x="136" y="354"/>
                </a:cubicBezTo>
                <a:cubicBezTo>
                  <a:pt x="129" y="378"/>
                  <a:pt x="129" y="378"/>
                  <a:pt x="129" y="378"/>
                </a:cubicBezTo>
                <a:cubicBezTo>
                  <a:pt x="128" y="385"/>
                  <a:pt x="132" y="391"/>
                  <a:pt x="139" y="393"/>
                </a:cubicBezTo>
                <a:cubicBezTo>
                  <a:pt x="156" y="398"/>
                  <a:pt x="156" y="398"/>
                  <a:pt x="156" y="398"/>
                </a:cubicBezTo>
                <a:cubicBezTo>
                  <a:pt x="163" y="399"/>
                  <a:pt x="170" y="395"/>
                  <a:pt x="172" y="388"/>
                </a:cubicBezTo>
                <a:cubicBezTo>
                  <a:pt x="177" y="366"/>
                  <a:pt x="177" y="366"/>
                  <a:pt x="177" y="366"/>
                </a:cubicBezTo>
                <a:cubicBezTo>
                  <a:pt x="181" y="367"/>
                  <a:pt x="185" y="368"/>
                  <a:pt x="188" y="368"/>
                </a:cubicBezTo>
                <a:cubicBezTo>
                  <a:pt x="194" y="368"/>
                  <a:pt x="199" y="369"/>
                  <a:pt x="204" y="369"/>
                </a:cubicBezTo>
                <a:cubicBezTo>
                  <a:pt x="213" y="369"/>
                  <a:pt x="222" y="368"/>
                  <a:pt x="230" y="366"/>
                </a:cubicBezTo>
                <a:cubicBezTo>
                  <a:pt x="236" y="388"/>
                  <a:pt x="236" y="388"/>
                  <a:pt x="236" y="388"/>
                </a:cubicBezTo>
                <a:cubicBezTo>
                  <a:pt x="238" y="395"/>
                  <a:pt x="244" y="399"/>
                  <a:pt x="251" y="398"/>
                </a:cubicBezTo>
                <a:cubicBezTo>
                  <a:pt x="269" y="393"/>
                  <a:pt x="269" y="393"/>
                  <a:pt x="269" y="393"/>
                </a:cubicBezTo>
                <a:cubicBezTo>
                  <a:pt x="276" y="391"/>
                  <a:pt x="280" y="385"/>
                  <a:pt x="278" y="378"/>
                </a:cubicBezTo>
                <a:cubicBezTo>
                  <a:pt x="272" y="354"/>
                  <a:pt x="272" y="354"/>
                  <a:pt x="272" y="354"/>
                </a:cubicBezTo>
                <a:cubicBezTo>
                  <a:pt x="288" y="347"/>
                  <a:pt x="303" y="338"/>
                  <a:pt x="317" y="326"/>
                </a:cubicBezTo>
                <a:cubicBezTo>
                  <a:pt x="332" y="341"/>
                  <a:pt x="332" y="341"/>
                  <a:pt x="332" y="341"/>
                </a:cubicBezTo>
                <a:cubicBezTo>
                  <a:pt x="337" y="346"/>
                  <a:pt x="345" y="346"/>
                  <a:pt x="350" y="341"/>
                </a:cubicBezTo>
                <a:cubicBezTo>
                  <a:pt x="363" y="328"/>
                  <a:pt x="363" y="328"/>
                  <a:pt x="363" y="328"/>
                </a:cubicBezTo>
                <a:cubicBezTo>
                  <a:pt x="368" y="323"/>
                  <a:pt x="367" y="315"/>
                  <a:pt x="362" y="310"/>
                </a:cubicBezTo>
                <a:cubicBezTo>
                  <a:pt x="346" y="294"/>
                  <a:pt x="346" y="294"/>
                  <a:pt x="346" y="294"/>
                </a:cubicBezTo>
                <a:cubicBezTo>
                  <a:pt x="356" y="279"/>
                  <a:pt x="364" y="263"/>
                  <a:pt x="369" y="245"/>
                </a:cubicBezTo>
                <a:cubicBezTo>
                  <a:pt x="387" y="250"/>
                  <a:pt x="387" y="250"/>
                  <a:pt x="387" y="250"/>
                </a:cubicBezTo>
                <a:cubicBezTo>
                  <a:pt x="394" y="251"/>
                  <a:pt x="401" y="247"/>
                  <a:pt x="402" y="240"/>
                </a:cubicBezTo>
                <a:cubicBezTo>
                  <a:pt x="406" y="222"/>
                  <a:pt x="406" y="222"/>
                  <a:pt x="406" y="222"/>
                </a:cubicBezTo>
                <a:cubicBezTo>
                  <a:pt x="408" y="215"/>
                  <a:pt x="403" y="208"/>
                  <a:pt x="396" y="207"/>
                </a:cubicBezTo>
                <a:close/>
              </a:path>
            </a:pathLst>
          </a:custGeom>
          <a:solidFill>
            <a:srgbClr val="87888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87888A"/>
                </a:solidFill>
                <a:prstDash val="solid"/>
                <a:round/>
                <a:headEnd type="none" w="med" len="med"/>
                <a:tailEnd type="none" w="med" len="med"/>
              </a14:hiddenLine>
            </a:ext>
          </a:extLst>
        </p:spPr>
        <p:txBody>
          <a:bodyPr/>
          <a:lstStyle/>
          <a:p>
            <a:endParaRPr lang="en-US"/>
          </a:p>
        </p:txBody>
      </p:sp>
      <p:graphicFrame>
        <p:nvGraphicFramePr>
          <p:cNvPr id="2" name="Object 1"/>
          <p:cNvGraphicFramePr>
            <a:graphicFrameLocks noChangeAspect="1"/>
          </p:cNvGraphicFramePr>
          <p:nvPr>
            <p:extLst>
              <p:ext uri="{D42A27DB-BD31-4B8C-83A1-F6EECF244321}">
                <p14:modId xmlns:p14="http://schemas.microsoft.com/office/powerpoint/2010/main" val="2822650693"/>
              </p:ext>
            </p:extLst>
          </p:nvPr>
        </p:nvGraphicFramePr>
        <p:xfrm>
          <a:off x="244891" y="2951028"/>
          <a:ext cx="3686028" cy="2758231"/>
        </p:xfrm>
        <a:graphic>
          <a:graphicData uri="http://schemas.openxmlformats.org/presentationml/2006/ole">
            <mc:AlternateContent xmlns:mc="http://schemas.openxmlformats.org/markup-compatibility/2006">
              <mc:Choice xmlns:v="urn:schemas-microsoft-com:vml" Requires="v">
                <p:oleObj spid="_x0000_s35895" r:id="rId5" imgW="9364753" imgH="6183216" progId="Visio.Drawing.11">
                  <p:embed/>
                </p:oleObj>
              </mc:Choice>
              <mc:Fallback>
                <p:oleObj r:id="rId5" imgW="9364753" imgH="6183216" progId="Visio.Drawing.1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4891" y="2951028"/>
                        <a:ext cx="3686028" cy="2758231"/>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323919552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8"/>
          <p:cNvSpPr>
            <a:spLocks noChangeAspect="1"/>
          </p:cNvSpPr>
          <p:nvPr/>
        </p:nvSpPr>
        <p:spPr bwMode="auto">
          <a:xfrm>
            <a:off x="411162" y="2199830"/>
            <a:ext cx="2776853" cy="3461196"/>
          </a:xfrm>
          <a:custGeom>
            <a:avLst/>
            <a:gdLst>
              <a:gd name="T0" fmla="*/ 2147483647 w 536"/>
              <a:gd name="T1" fmla="*/ 2147483647 h 668"/>
              <a:gd name="T2" fmla="*/ 2147483647 w 536"/>
              <a:gd name="T3" fmla="*/ 2147483647 h 668"/>
              <a:gd name="T4" fmla="*/ 2147483647 w 536"/>
              <a:gd name="T5" fmla="*/ 0 h 668"/>
              <a:gd name="T6" fmla="*/ 2147483647 w 536"/>
              <a:gd name="T7" fmla="*/ 0 h 668"/>
              <a:gd name="T8" fmla="*/ 0 w 536"/>
              <a:gd name="T9" fmla="*/ 2147483647 h 668"/>
              <a:gd name="T10" fmla="*/ 0 w 536"/>
              <a:gd name="T11" fmla="*/ 2147483647 h 668"/>
              <a:gd name="T12" fmla="*/ 2147483647 w 536"/>
              <a:gd name="T13" fmla="*/ 2147483647 h 668"/>
              <a:gd name="T14" fmla="*/ 2147483647 w 536"/>
              <a:gd name="T15" fmla="*/ 2147483647 h 668"/>
              <a:gd name="T16" fmla="*/ 2147483647 w 536"/>
              <a:gd name="T17" fmla="*/ 2147483647 h 668"/>
              <a:gd name="T18" fmla="*/ 2147483647 w 536"/>
              <a:gd name="T19" fmla="*/ 2147483647 h 668"/>
              <a:gd name="T20" fmla="*/ 2147483647 w 536"/>
              <a:gd name="T21" fmla="*/ 2147483647 h 6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6"/>
              <a:gd name="T34" fmla="*/ 0 h 668"/>
              <a:gd name="T35" fmla="*/ 536 w 536"/>
              <a:gd name="T36" fmla="*/ 668 h 6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6" h="668">
                <a:moveTo>
                  <a:pt x="524" y="300"/>
                </a:moveTo>
                <a:cubicBezTo>
                  <a:pt x="439" y="33"/>
                  <a:pt x="439" y="33"/>
                  <a:pt x="439" y="33"/>
                </a:cubicBezTo>
                <a:cubicBezTo>
                  <a:pt x="439" y="33"/>
                  <a:pt x="430" y="0"/>
                  <a:pt x="413" y="0"/>
                </a:cubicBezTo>
                <a:cubicBezTo>
                  <a:pt x="408" y="0"/>
                  <a:pt x="19" y="0"/>
                  <a:pt x="19" y="0"/>
                </a:cubicBezTo>
                <a:cubicBezTo>
                  <a:pt x="8" y="0"/>
                  <a:pt x="0" y="11"/>
                  <a:pt x="0" y="22"/>
                </a:cubicBezTo>
                <a:cubicBezTo>
                  <a:pt x="0" y="647"/>
                  <a:pt x="0" y="647"/>
                  <a:pt x="0" y="647"/>
                </a:cubicBezTo>
                <a:cubicBezTo>
                  <a:pt x="0" y="658"/>
                  <a:pt x="8" y="667"/>
                  <a:pt x="19" y="668"/>
                </a:cubicBezTo>
                <a:cubicBezTo>
                  <a:pt x="19" y="668"/>
                  <a:pt x="408" y="668"/>
                  <a:pt x="413" y="668"/>
                </a:cubicBezTo>
                <a:cubicBezTo>
                  <a:pt x="428" y="668"/>
                  <a:pt x="439" y="636"/>
                  <a:pt x="439" y="636"/>
                </a:cubicBezTo>
                <a:cubicBezTo>
                  <a:pt x="439" y="636"/>
                  <a:pt x="512" y="405"/>
                  <a:pt x="524" y="369"/>
                </a:cubicBezTo>
                <a:cubicBezTo>
                  <a:pt x="536" y="332"/>
                  <a:pt x="524" y="300"/>
                  <a:pt x="524" y="300"/>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spcBef>
                <a:spcPct val="50000"/>
              </a:spcBef>
            </a:pPr>
            <a:endParaRPr lang="en-US" dirty="0">
              <a:ea typeface="ＭＳ Ｐゴシック" pitchFamily="34" charset="-128"/>
            </a:endParaRPr>
          </a:p>
        </p:txBody>
      </p:sp>
      <p:sp>
        <p:nvSpPr>
          <p:cNvPr id="4" name="Content Placeholder 3"/>
          <p:cNvSpPr>
            <a:spLocks noGrp="1"/>
          </p:cNvSpPr>
          <p:nvPr>
            <p:ph idx="1"/>
          </p:nvPr>
        </p:nvSpPr>
        <p:spPr>
          <a:xfrm>
            <a:off x="3371850" y="1981200"/>
            <a:ext cx="5373690" cy="4070850"/>
          </a:xfrm>
        </p:spPr>
        <p:txBody>
          <a:bodyPr/>
          <a:lstStyle/>
          <a:p>
            <a:pPr>
              <a:lnSpc>
                <a:spcPct val="90000"/>
              </a:lnSpc>
              <a:spcBef>
                <a:spcPct val="0"/>
              </a:spcBef>
              <a:spcAft>
                <a:spcPts val="600"/>
              </a:spcAft>
              <a:buClr>
                <a:srgbClr val="00B0F0"/>
              </a:buClr>
              <a:defRPr/>
            </a:pPr>
            <a:r>
              <a:rPr lang="en-US" sz="2200" b="1" dirty="0">
                <a:solidFill>
                  <a:srgbClr val="00A9D4"/>
                </a:solidFill>
              </a:rPr>
              <a:t>API specification </a:t>
            </a:r>
            <a:r>
              <a:rPr lang="en-US" sz="2200" dirty="0">
                <a:solidFill>
                  <a:schemeClr val="bg2">
                    <a:lumMod val="50000"/>
                  </a:schemeClr>
                </a:solidFill>
              </a:rPr>
              <a:t>model creation based on SID model</a:t>
            </a:r>
          </a:p>
          <a:p>
            <a:pPr>
              <a:lnSpc>
                <a:spcPct val="90000"/>
              </a:lnSpc>
              <a:spcBef>
                <a:spcPct val="0"/>
              </a:spcBef>
              <a:spcAft>
                <a:spcPts val="600"/>
              </a:spcAft>
              <a:buClr>
                <a:srgbClr val="00B0F0"/>
              </a:buClr>
              <a:defRPr/>
            </a:pPr>
            <a:r>
              <a:rPr lang="en-US" sz="2200" b="1" dirty="0">
                <a:solidFill>
                  <a:srgbClr val="00A9D4"/>
                </a:solidFill>
              </a:rPr>
              <a:t>Expose as offerings </a:t>
            </a:r>
            <a:r>
              <a:rPr lang="en-US" sz="2200" dirty="0">
                <a:solidFill>
                  <a:schemeClr val="bg2">
                    <a:lumMod val="50000"/>
                  </a:schemeClr>
                </a:solidFill>
              </a:rPr>
              <a:t>and allows for mash up that can be made available for ordering </a:t>
            </a:r>
          </a:p>
          <a:p>
            <a:pPr>
              <a:lnSpc>
                <a:spcPct val="90000"/>
              </a:lnSpc>
              <a:spcBef>
                <a:spcPct val="0"/>
              </a:spcBef>
              <a:spcAft>
                <a:spcPts val="600"/>
              </a:spcAft>
              <a:buClr>
                <a:srgbClr val="00B0F0"/>
              </a:buClr>
              <a:defRPr/>
            </a:pPr>
            <a:r>
              <a:rPr lang="en-US" sz="2200" b="1" dirty="0" err="1">
                <a:solidFill>
                  <a:srgbClr val="00A9D4"/>
                </a:solidFill>
              </a:rPr>
              <a:t>RESTful</a:t>
            </a:r>
            <a:r>
              <a:rPr lang="en-US" sz="2200" b="1" dirty="0">
                <a:solidFill>
                  <a:srgbClr val="00A9D4"/>
                </a:solidFill>
              </a:rPr>
              <a:t> APIs</a:t>
            </a:r>
          </a:p>
          <a:p>
            <a:pPr lvl="1">
              <a:lnSpc>
                <a:spcPct val="90000"/>
              </a:lnSpc>
              <a:spcBef>
                <a:spcPct val="0"/>
              </a:spcBef>
              <a:spcAft>
                <a:spcPts val="600"/>
              </a:spcAft>
              <a:buClr>
                <a:srgbClr val="00B0F0"/>
              </a:buClr>
              <a:defRPr/>
            </a:pPr>
            <a:r>
              <a:rPr lang="en-US" sz="1800" dirty="0">
                <a:solidFill>
                  <a:schemeClr val="bg2">
                    <a:lumMod val="50000"/>
                  </a:schemeClr>
                </a:solidFill>
              </a:rPr>
              <a:t>SID / TMF based </a:t>
            </a:r>
            <a:r>
              <a:rPr lang="en-US" sz="1800" dirty="0" err="1">
                <a:solidFill>
                  <a:schemeClr val="bg2">
                    <a:lumMod val="50000"/>
                  </a:schemeClr>
                </a:solidFill>
              </a:rPr>
              <a:t>RESTful</a:t>
            </a:r>
            <a:r>
              <a:rPr lang="en-US" sz="1800" dirty="0">
                <a:solidFill>
                  <a:schemeClr val="bg2">
                    <a:lumMod val="50000"/>
                  </a:schemeClr>
                </a:solidFill>
              </a:rPr>
              <a:t> API support</a:t>
            </a:r>
          </a:p>
          <a:p>
            <a:pPr lvl="1">
              <a:lnSpc>
                <a:spcPct val="90000"/>
              </a:lnSpc>
              <a:spcBef>
                <a:spcPct val="0"/>
              </a:spcBef>
              <a:spcAft>
                <a:spcPts val="600"/>
              </a:spcAft>
              <a:buClr>
                <a:srgbClr val="00B0F0"/>
              </a:buClr>
              <a:defRPr/>
            </a:pPr>
            <a:r>
              <a:rPr lang="en-US" sz="1800" dirty="0">
                <a:solidFill>
                  <a:schemeClr val="bg2">
                    <a:lumMod val="50000"/>
                  </a:schemeClr>
                </a:solidFill>
              </a:rPr>
              <a:t>Browse (Run Time)</a:t>
            </a:r>
          </a:p>
          <a:p>
            <a:pPr lvl="1">
              <a:lnSpc>
                <a:spcPct val="90000"/>
              </a:lnSpc>
              <a:spcBef>
                <a:spcPct val="0"/>
              </a:spcBef>
              <a:spcAft>
                <a:spcPts val="600"/>
              </a:spcAft>
              <a:buClr>
                <a:srgbClr val="00B0F0"/>
              </a:buClr>
              <a:defRPr/>
            </a:pPr>
            <a:r>
              <a:rPr lang="en-US" sz="1800" dirty="0">
                <a:solidFill>
                  <a:schemeClr val="bg2">
                    <a:lumMod val="50000"/>
                  </a:schemeClr>
                </a:solidFill>
              </a:rPr>
              <a:t>Manage (Design Time)</a:t>
            </a:r>
          </a:p>
          <a:p>
            <a:pPr>
              <a:lnSpc>
                <a:spcPct val="90000"/>
              </a:lnSpc>
              <a:spcBef>
                <a:spcPct val="0"/>
              </a:spcBef>
              <a:spcAft>
                <a:spcPts val="600"/>
              </a:spcAft>
              <a:buClr>
                <a:srgbClr val="00B0F0"/>
              </a:buClr>
              <a:defRPr/>
            </a:pPr>
            <a:r>
              <a:rPr lang="en-US" sz="2200" b="1" dirty="0">
                <a:solidFill>
                  <a:srgbClr val="00A9D4"/>
                </a:solidFill>
              </a:rPr>
              <a:t>Associate components </a:t>
            </a:r>
            <a:r>
              <a:rPr lang="en-US" sz="2200" dirty="0">
                <a:solidFill>
                  <a:schemeClr val="bg2">
                    <a:lumMod val="50000"/>
                  </a:schemeClr>
                </a:solidFill>
              </a:rPr>
              <a:t>Policy, Charging  and Fulfillment  to Digital </a:t>
            </a:r>
            <a:r>
              <a:rPr lang="en-US" sz="2200" dirty="0" smtClean="0">
                <a:solidFill>
                  <a:schemeClr val="bg2">
                    <a:lumMod val="50000"/>
                  </a:schemeClr>
                </a:solidFill>
              </a:rPr>
              <a:t>API</a:t>
            </a:r>
            <a:endParaRPr lang="en-US" sz="2200" dirty="0">
              <a:solidFill>
                <a:schemeClr val="bg2">
                  <a:lumMod val="50000"/>
                </a:schemeClr>
              </a:solidFill>
            </a:endParaRPr>
          </a:p>
        </p:txBody>
      </p:sp>
      <p:sp>
        <p:nvSpPr>
          <p:cNvPr id="23554" name="Title 2"/>
          <p:cNvSpPr>
            <a:spLocks noGrp="1"/>
          </p:cNvSpPr>
          <p:nvPr>
            <p:ph type="title"/>
          </p:nvPr>
        </p:nvSpPr>
        <p:spPr/>
        <p:txBody>
          <a:bodyPr/>
          <a:lstStyle/>
          <a:p>
            <a:r>
              <a:rPr lang="en-US" sz="3600" dirty="0" smtClean="0">
                <a:latin typeface="Ericsson Capital TT" pitchFamily="2" charset="0"/>
                <a:ea typeface="ＭＳ Ｐゴシック" pitchFamily="34" charset="-128"/>
              </a:rPr>
              <a:t>Digital Services</a:t>
            </a:r>
          </a:p>
        </p:txBody>
      </p:sp>
      <p:sp>
        <p:nvSpPr>
          <p:cNvPr id="23555" name="Rectangle 2"/>
          <p:cNvSpPr>
            <a:spLocks noChangeArrowheads="1"/>
          </p:cNvSpPr>
          <p:nvPr/>
        </p:nvSpPr>
        <p:spPr bwMode="auto">
          <a:xfrm>
            <a:off x="4479638" y="-200055"/>
            <a:ext cx="18473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15" name="Rectangle 51"/>
          <p:cNvSpPr>
            <a:spLocks noChangeArrowheads="1"/>
          </p:cNvSpPr>
          <p:nvPr/>
        </p:nvSpPr>
        <p:spPr bwMode="auto">
          <a:xfrm>
            <a:off x="4479638" y="1086027"/>
            <a:ext cx="3152529"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nchor="ctr"/>
          <a:lstStyle/>
          <a:p>
            <a:pPr algn="l">
              <a:lnSpc>
                <a:spcPct val="90000"/>
              </a:lnSpc>
            </a:pPr>
            <a:r>
              <a:rPr lang="en-US" sz="2800" dirty="0" smtClean="0">
                <a:solidFill>
                  <a:srgbClr val="00A9D4"/>
                </a:solidFill>
                <a:ea typeface="MS PGothic" pitchFamily="34" charset="-128"/>
              </a:rPr>
              <a:t>Release 14.1 GA</a:t>
            </a:r>
            <a:endParaRPr lang="en-US" sz="2800" dirty="0">
              <a:solidFill>
                <a:srgbClr val="00A9D4"/>
              </a:solidFill>
              <a:ea typeface="MS PGothic" pitchFamily="34" charset="-128"/>
            </a:endParaRPr>
          </a:p>
        </p:txBody>
      </p:sp>
      <p:sp>
        <p:nvSpPr>
          <p:cNvPr id="3" name="TextBox 2"/>
          <p:cNvSpPr txBox="1"/>
          <p:nvPr/>
        </p:nvSpPr>
        <p:spPr>
          <a:xfrm>
            <a:off x="811276" y="2449034"/>
            <a:ext cx="1643399" cy="978729"/>
          </a:xfrm>
          <a:prstGeom prst="rect">
            <a:avLst/>
          </a:prstGeom>
          <a:noFill/>
        </p:spPr>
        <p:txBody>
          <a:bodyPr wrap="none" rtlCol="0">
            <a:spAutoFit/>
          </a:bodyPr>
          <a:lstStyle/>
          <a:p>
            <a:pPr>
              <a:lnSpc>
                <a:spcPct val="90000"/>
              </a:lnSpc>
            </a:pPr>
            <a:r>
              <a:rPr lang="en-US" sz="3200" dirty="0" smtClean="0">
                <a:solidFill>
                  <a:srgbClr val="FFFFFF"/>
                </a:solidFill>
              </a:rPr>
              <a:t>How we</a:t>
            </a:r>
            <a:br>
              <a:rPr lang="en-US" sz="3200" dirty="0" smtClean="0">
                <a:solidFill>
                  <a:srgbClr val="FFFFFF"/>
                </a:solidFill>
              </a:rPr>
            </a:br>
            <a:r>
              <a:rPr lang="en-US" sz="3200" dirty="0" smtClean="0">
                <a:solidFill>
                  <a:srgbClr val="FFFFFF"/>
                </a:solidFill>
              </a:rPr>
              <a:t>do it</a:t>
            </a:r>
            <a:endParaRPr lang="en-US" sz="3200" dirty="0">
              <a:solidFill>
                <a:srgbClr val="FFFFFF"/>
              </a:solidFill>
            </a:endParaRPr>
          </a:p>
        </p:txBody>
      </p:sp>
      <p:sp>
        <p:nvSpPr>
          <p:cNvPr id="14" name="Freeform 3"/>
          <p:cNvSpPr>
            <a:spLocks noChangeAspect="1" noEditPoints="1"/>
          </p:cNvSpPr>
          <p:nvPr/>
        </p:nvSpPr>
        <p:spPr bwMode="auto">
          <a:xfrm>
            <a:off x="814178" y="3792364"/>
            <a:ext cx="1637594" cy="1637594"/>
          </a:xfrm>
          <a:custGeom>
            <a:avLst/>
            <a:gdLst>
              <a:gd name="T0" fmla="*/ 2147483647 w 380"/>
              <a:gd name="T1" fmla="*/ 2147483647 h 380"/>
              <a:gd name="T2" fmla="*/ 2147483647 w 380"/>
              <a:gd name="T3" fmla="*/ 2147483647 h 380"/>
              <a:gd name="T4" fmla="*/ 2147483647 w 380"/>
              <a:gd name="T5" fmla="*/ 2147483647 h 380"/>
              <a:gd name="T6" fmla="*/ 2147483647 w 380"/>
              <a:gd name="T7" fmla="*/ 2147483647 h 380"/>
              <a:gd name="T8" fmla="*/ 2147483647 w 380"/>
              <a:gd name="T9" fmla="*/ 2147483647 h 380"/>
              <a:gd name="T10" fmla="*/ 2147483647 w 380"/>
              <a:gd name="T11" fmla="*/ 2147483647 h 380"/>
              <a:gd name="T12" fmla="*/ 2147483647 w 380"/>
              <a:gd name="T13" fmla="*/ 2147483647 h 380"/>
              <a:gd name="T14" fmla="*/ 2147483647 w 380"/>
              <a:gd name="T15" fmla="*/ 2147483647 h 380"/>
              <a:gd name="T16" fmla="*/ 2147483647 w 380"/>
              <a:gd name="T17" fmla="*/ 2147483647 h 380"/>
              <a:gd name="T18" fmla="*/ 2147483647 w 380"/>
              <a:gd name="T19" fmla="*/ 2147483647 h 380"/>
              <a:gd name="T20" fmla="*/ 2147483647 w 380"/>
              <a:gd name="T21" fmla="*/ 2147483647 h 380"/>
              <a:gd name="T22" fmla="*/ 2147483647 w 380"/>
              <a:gd name="T23" fmla="*/ 2147483647 h 380"/>
              <a:gd name="T24" fmla="*/ 2147483647 w 380"/>
              <a:gd name="T25" fmla="*/ 2147483647 h 380"/>
              <a:gd name="T26" fmla="*/ 2147483647 w 380"/>
              <a:gd name="T27" fmla="*/ 2147483647 h 380"/>
              <a:gd name="T28" fmla="*/ 2147483647 w 380"/>
              <a:gd name="T29" fmla="*/ 2147483647 h 380"/>
              <a:gd name="T30" fmla="*/ 2147483647 w 380"/>
              <a:gd name="T31" fmla="*/ 2147483647 h 380"/>
              <a:gd name="T32" fmla="*/ 2147483647 w 380"/>
              <a:gd name="T33" fmla="*/ 2147483647 h 380"/>
              <a:gd name="T34" fmla="*/ 2147483647 w 380"/>
              <a:gd name="T35" fmla="*/ 2147483647 h 380"/>
              <a:gd name="T36" fmla="*/ 2147483647 w 380"/>
              <a:gd name="T37" fmla="*/ 2147483647 h 380"/>
              <a:gd name="T38" fmla="*/ 2147483647 w 380"/>
              <a:gd name="T39" fmla="*/ 2147483647 h 380"/>
              <a:gd name="T40" fmla="*/ 2147483647 w 380"/>
              <a:gd name="T41" fmla="*/ 0 h 380"/>
              <a:gd name="T42" fmla="*/ 2147483647 w 380"/>
              <a:gd name="T43" fmla="*/ 2147483647 h 380"/>
              <a:gd name="T44" fmla="*/ 2147483647 w 380"/>
              <a:gd name="T45" fmla="*/ 2147483647 h 380"/>
              <a:gd name="T46" fmla="*/ 2147483647 w 380"/>
              <a:gd name="T47" fmla="*/ 2147483647 h 380"/>
              <a:gd name="T48" fmla="*/ 2147483647 w 380"/>
              <a:gd name="T49" fmla="*/ 2147483647 h 380"/>
              <a:gd name="T50" fmla="*/ 2147483647 w 380"/>
              <a:gd name="T51" fmla="*/ 2147483647 h 380"/>
              <a:gd name="T52" fmla="*/ 2147483647 w 380"/>
              <a:gd name="T53" fmla="*/ 2147483647 h 380"/>
              <a:gd name="T54" fmla="*/ 2147483647 w 380"/>
              <a:gd name="T55" fmla="*/ 2147483647 h 380"/>
              <a:gd name="T56" fmla="*/ 2147483647 w 380"/>
              <a:gd name="T57" fmla="*/ 2147483647 h 380"/>
              <a:gd name="T58" fmla="*/ 2147483647 w 380"/>
              <a:gd name="T59" fmla="*/ 2147483647 h 380"/>
              <a:gd name="T60" fmla="*/ 2147483647 w 380"/>
              <a:gd name="T61" fmla="*/ 2147483647 h 380"/>
              <a:gd name="T62" fmla="*/ 2147483647 w 380"/>
              <a:gd name="T63" fmla="*/ 2147483647 h 380"/>
              <a:gd name="T64" fmla="*/ 2147483647 w 380"/>
              <a:gd name="T65" fmla="*/ 2147483647 h 380"/>
              <a:gd name="T66" fmla="*/ 2147483647 w 380"/>
              <a:gd name="T67" fmla="*/ 2147483647 h 380"/>
              <a:gd name="T68" fmla="*/ 2147483647 w 380"/>
              <a:gd name="T69" fmla="*/ 2147483647 h 380"/>
              <a:gd name="T70" fmla="*/ 2147483647 w 380"/>
              <a:gd name="T71" fmla="*/ 2147483647 h 380"/>
              <a:gd name="T72" fmla="*/ 2147483647 w 380"/>
              <a:gd name="T73" fmla="*/ 2147483647 h 380"/>
              <a:gd name="T74" fmla="*/ 2147483647 w 380"/>
              <a:gd name="T75" fmla="*/ 2147483647 h 380"/>
              <a:gd name="T76" fmla="*/ 2147483647 w 380"/>
              <a:gd name="T77" fmla="*/ 2147483647 h 380"/>
              <a:gd name="T78" fmla="*/ 2147483647 w 380"/>
              <a:gd name="T79" fmla="*/ 2147483647 h 380"/>
              <a:gd name="T80" fmla="*/ 2147483647 w 380"/>
              <a:gd name="T81" fmla="*/ 2147483647 h 380"/>
              <a:gd name="T82" fmla="*/ 2147483647 w 380"/>
              <a:gd name="T83" fmla="*/ 2147483647 h 380"/>
              <a:gd name="T84" fmla="*/ 2147483647 w 380"/>
              <a:gd name="T85" fmla="*/ 2147483647 h 380"/>
              <a:gd name="T86" fmla="*/ 2147483647 w 380"/>
              <a:gd name="T87" fmla="*/ 2147483647 h 380"/>
              <a:gd name="T88" fmla="*/ 2147483647 w 380"/>
              <a:gd name="T89" fmla="*/ 2147483647 h 380"/>
              <a:gd name="T90" fmla="*/ 2147483647 w 380"/>
              <a:gd name="T91" fmla="*/ 2147483647 h 380"/>
              <a:gd name="T92" fmla="*/ 2147483647 w 380"/>
              <a:gd name="T93" fmla="*/ 2147483647 h 380"/>
              <a:gd name="T94" fmla="*/ 2147483647 w 380"/>
              <a:gd name="T95" fmla="*/ 2147483647 h 380"/>
              <a:gd name="T96" fmla="*/ 2147483647 w 380"/>
              <a:gd name="T97" fmla="*/ 2147483647 h 380"/>
              <a:gd name="T98" fmla="*/ 2147483647 w 380"/>
              <a:gd name="T99" fmla="*/ 2147483647 h 380"/>
              <a:gd name="T100" fmla="*/ 2147483647 w 380"/>
              <a:gd name="T101" fmla="*/ 2147483647 h 380"/>
              <a:gd name="T102" fmla="*/ 2147483647 w 380"/>
              <a:gd name="T103" fmla="*/ 2147483647 h 380"/>
              <a:gd name="T104" fmla="*/ 2147483647 w 380"/>
              <a:gd name="T105" fmla="*/ 2147483647 h 380"/>
              <a:gd name="T106" fmla="*/ 2147483647 w 380"/>
              <a:gd name="T107" fmla="*/ 2147483647 h 380"/>
              <a:gd name="T108" fmla="*/ 2147483647 w 380"/>
              <a:gd name="T109" fmla="*/ 2147483647 h 380"/>
              <a:gd name="T110" fmla="*/ 2147483647 w 380"/>
              <a:gd name="T111" fmla="*/ 2147483647 h 380"/>
              <a:gd name="T112" fmla="*/ 2147483647 w 380"/>
              <a:gd name="T113" fmla="*/ 2147483647 h 380"/>
              <a:gd name="T114" fmla="*/ 2147483647 w 380"/>
              <a:gd name="T115" fmla="*/ 2147483647 h 380"/>
              <a:gd name="T116" fmla="*/ 2147483647 w 380"/>
              <a:gd name="T117" fmla="*/ 2147483647 h 380"/>
              <a:gd name="T118" fmla="*/ 2147483647 w 380"/>
              <a:gd name="T119" fmla="*/ 2147483647 h 380"/>
              <a:gd name="T120" fmla="*/ 2147483647 w 380"/>
              <a:gd name="T121" fmla="*/ 2147483647 h 380"/>
              <a:gd name="T122" fmla="*/ 2147483647 w 380"/>
              <a:gd name="T123" fmla="*/ 2147483647 h 3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80" h="380">
                <a:moveTo>
                  <a:pt x="310" y="136"/>
                </a:moveTo>
                <a:cubicBezTo>
                  <a:pt x="309" y="134"/>
                  <a:pt x="309" y="134"/>
                  <a:pt x="309" y="134"/>
                </a:cubicBezTo>
                <a:cubicBezTo>
                  <a:pt x="308" y="132"/>
                  <a:pt x="306" y="132"/>
                  <a:pt x="304" y="133"/>
                </a:cubicBezTo>
                <a:cubicBezTo>
                  <a:pt x="302" y="134"/>
                  <a:pt x="302" y="134"/>
                  <a:pt x="302" y="134"/>
                </a:cubicBezTo>
                <a:cubicBezTo>
                  <a:pt x="300" y="132"/>
                  <a:pt x="297" y="130"/>
                  <a:pt x="294" y="129"/>
                </a:cubicBezTo>
                <a:cubicBezTo>
                  <a:pt x="294" y="126"/>
                  <a:pt x="294" y="126"/>
                  <a:pt x="294" y="126"/>
                </a:cubicBezTo>
                <a:cubicBezTo>
                  <a:pt x="294" y="124"/>
                  <a:pt x="292" y="123"/>
                  <a:pt x="290" y="123"/>
                </a:cubicBezTo>
                <a:cubicBezTo>
                  <a:pt x="288" y="123"/>
                  <a:pt x="288" y="123"/>
                  <a:pt x="288" y="123"/>
                </a:cubicBezTo>
                <a:cubicBezTo>
                  <a:pt x="286" y="123"/>
                  <a:pt x="284" y="124"/>
                  <a:pt x="284" y="126"/>
                </a:cubicBezTo>
                <a:cubicBezTo>
                  <a:pt x="284" y="129"/>
                  <a:pt x="284" y="129"/>
                  <a:pt x="284" y="129"/>
                </a:cubicBezTo>
                <a:cubicBezTo>
                  <a:pt x="282" y="129"/>
                  <a:pt x="281" y="130"/>
                  <a:pt x="279" y="130"/>
                </a:cubicBezTo>
                <a:cubicBezTo>
                  <a:pt x="278" y="131"/>
                  <a:pt x="277" y="132"/>
                  <a:pt x="275" y="133"/>
                </a:cubicBezTo>
                <a:cubicBezTo>
                  <a:pt x="273" y="132"/>
                  <a:pt x="273" y="132"/>
                  <a:pt x="273" y="132"/>
                </a:cubicBezTo>
                <a:cubicBezTo>
                  <a:pt x="272" y="131"/>
                  <a:pt x="269" y="132"/>
                  <a:pt x="268" y="133"/>
                </a:cubicBezTo>
                <a:cubicBezTo>
                  <a:pt x="267" y="135"/>
                  <a:pt x="267" y="135"/>
                  <a:pt x="267" y="135"/>
                </a:cubicBezTo>
                <a:cubicBezTo>
                  <a:pt x="266" y="137"/>
                  <a:pt x="266" y="140"/>
                  <a:pt x="268" y="141"/>
                </a:cubicBezTo>
                <a:cubicBezTo>
                  <a:pt x="270" y="142"/>
                  <a:pt x="270" y="142"/>
                  <a:pt x="270" y="142"/>
                </a:cubicBezTo>
                <a:cubicBezTo>
                  <a:pt x="270" y="145"/>
                  <a:pt x="269" y="148"/>
                  <a:pt x="270" y="151"/>
                </a:cubicBezTo>
                <a:cubicBezTo>
                  <a:pt x="268" y="153"/>
                  <a:pt x="268" y="153"/>
                  <a:pt x="268" y="153"/>
                </a:cubicBezTo>
                <a:cubicBezTo>
                  <a:pt x="266" y="154"/>
                  <a:pt x="266" y="156"/>
                  <a:pt x="267" y="158"/>
                </a:cubicBezTo>
                <a:cubicBezTo>
                  <a:pt x="267" y="159"/>
                  <a:pt x="267" y="159"/>
                  <a:pt x="267" y="159"/>
                </a:cubicBezTo>
                <a:cubicBezTo>
                  <a:pt x="268" y="161"/>
                  <a:pt x="271" y="162"/>
                  <a:pt x="272" y="161"/>
                </a:cubicBezTo>
                <a:cubicBezTo>
                  <a:pt x="275" y="159"/>
                  <a:pt x="275" y="159"/>
                  <a:pt x="275" y="159"/>
                </a:cubicBezTo>
                <a:cubicBezTo>
                  <a:pt x="277" y="162"/>
                  <a:pt x="280" y="163"/>
                  <a:pt x="283" y="164"/>
                </a:cubicBezTo>
                <a:cubicBezTo>
                  <a:pt x="283" y="167"/>
                  <a:pt x="283" y="167"/>
                  <a:pt x="283" y="167"/>
                </a:cubicBezTo>
                <a:cubicBezTo>
                  <a:pt x="283" y="169"/>
                  <a:pt x="284" y="170"/>
                  <a:pt x="286" y="171"/>
                </a:cubicBezTo>
                <a:cubicBezTo>
                  <a:pt x="289" y="171"/>
                  <a:pt x="289" y="171"/>
                  <a:pt x="289" y="171"/>
                </a:cubicBezTo>
                <a:cubicBezTo>
                  <a:pt x="291" y="171"/>
                  <a:pt x="293" y="169"/>
                  <a:pt x="293" y="167"/>
                </a:cubicBezTo>
                <a:cubicBezTo>
                  <a:pt x="293" y="165"/>
                  <a:pt x="293" y="165"/>
                  <a:pt x="293" y="165"/>
                </a:cubicBezTo>
                <a:cubicBezTo>
                  <a:pt x="294" y="164"/>
                  <a:pt x="296" y="164"/>
                  <a:pt x="297" y="163"/>
                </a:cubicBezTo>
                <a:cubicBezTo>
                  <a:pt x="299" y="162"/>
                  <a:pt x="300" y="161"/>
                  <a:pt x="301" y="160"/>
                </a:cubicBezTo>
                <a:cubicBezTo>
                  <a:pt x="303" y="161"/>
                  <a:pt x="303" y="161"/>
                  <a:pt x="303" y="161"/>
                </a:cubicBezTo>
                <a:cubicBezTo>
                  <a:pt x="305" y="162"/>
                  <a:pt x="307" y="162"/>
                  <a:pt x="308" y="160"/>
                </a:cubicBezTo>
                <a:cubicBezTo>
                  <a:pt x="309" y="158"/>
                  <a:pt x="309" y="158"/>
                  <a:pt x="309" y="158"/>
                </a:cubicBezTo>
                <a:cubicBezTo>
                  <a:pt x="311" y="156"/>
                  <a:pt x="310" y="154"/>
                  <a:pt x="308" y="153"/>
                </a:cubicBezTo>
                <a:cubicBezTo>
                  <a:pt x="306" y="151"/>
                  <a:pt x="306" y="151"/>
                  <a:pt x="306" y="151"/>
                </a:cubicBezTo>
                <a:cubicBezTo>
                  <a:pt x="307" y="148"/>
                  <a:pt x="307" y="145"/>
                  <a:pt x="306" y="142"/>
                </a:cubicBezTo>
                <a:cubicBezTo>
                  <a:pt x="308" y="141"/>
                  <a:pt x="308" y="141"/>
                  <a:pt x="308" y="141"/>
                </a:cubicBezTo>
                <a:cubicBezTo>
                  <a:pt x="310" y="140"/>
                  <a:pt x="311" y="137"/>
                  <a:pt x="310" y="136"/>
                </a:cubicBezTo>
                <a:close/>
                <a:moveTo>
                  <a:pt x="296" y="153"/>
                </a:moveTo>
                <a:cubicBezTo>
                  <a:pt x="293" y="158"/>
                  <a:pt x="286" y="158"/>
                  <a:pt x="281" y="155"/>
                </a:cubicBezTo>
                <a:cubicBezTo>
                  <a:pt x="277" y="151"/>
                  <a:pt x="276" y="144"/>
                  <a:pt x="280" y="140"/>
                </a:cubicBezTo>
                <a:cubicBezTo>
                  <a:pt x="284" y="135"/>
                  <a:pt x="291" y="135"/>
                  <a:pt x="295" y="138"/>
                </a:cubicBezTo>
                <a:cubicBezTo>
                  <a:pt x="300" y="142"/>
                  <a:pt x="300" y="149"/>
                  <a:pt x="296" y="153"/>
                </a:cubicBezTo>
                <a:close/>
                <a:moveTo>
                  <a:pt x="336" y="68"/>
                </a:moveTo>
                <a:cubicBezTo>
                  <a:pt x="333" y="65"/>
                  <a:pt x="328" y="64"/>
                  <a:pt x="325" y="67"/>
                </a:cubicBezTo>
                <a:cubicBezTo>
                  <a:pt x="321" y="70"/>
                  <a:pt x="321" y="75"/>
                  <a:pt x="324" y="78"/>
                </a:cubicBezTo>
                <a:cubicBezTo>
                  <a:pt x="349" y="108"/>
                  <a:pt x="364" y="147"/>
                  <a:pt x="364" y="190"/>
                </a:cubicBezTo>
                <a:cubicBezTo>
                  <a:pt x="364" y="225"/>
                  <a:pt x="353" y="259"/>
                  <a:pt x="335" y="286"/>
                </a:cubicBezTo>
                <a:cubicBezTo>
                  <a:pt x="333" y="288"/>
                  <a:pt x="329" y="289"/>
                  <a:pt x="326" y="285"/>
                </a:cubicBezTo>
                <a:cubicBezTo>
                  <a:pt x="299" y="258"/>
                  <a:pt x="299" y="258"/>
                  <a:pt x="299" y="258"/>
                </a:cubicBezTo>
                <a:cubicBezTo>
                  <a:pt x="296" y="255"/>
                  <a:pt x="296" y="251"/>
                  <a:pt x="296" y="251"/>
                </a:cubicBezTo>
                <a:cubicBezTo>
                  <a:pt x="302" y="229"/>
                  <a:pt x="302" y="229"/>
                  <a:pt x="302" y="229"/>
                </a:cubicBezTo>
                <a:cubicBezTo>
                  <a:pt x="303" y="226"/>
                  <a:pt x="302" y="224"/>
                  <a:pt x="301" y="222"/>
                </a:cubicBezTo>
                <a:cubicBezTo>
                  <a:pt x="259" y="181"/>
                  <a:pt x="259" y="181"/>
                  <a:pt x="259" y="181"/>
                </a:cubicBezTo>
                <a:cubicBezTo>
                  <a:pt x="258" y="179"/>
                  <a:pt x="255" y="178"/>
                  <a:pt x="253" y="179"/>
                </a:cubicBezTo>
                <a:cubicBezTo>
                  <a:pt x="233" y="184"/>
                  <a:pt x="233" y="184"/>
                  <a:pt x="233" y="184"/>
                </a:cubicBezTo>
                <a:cubicBezTo>
                  <a:pt x="233" y="184"/>
                  <a:pt x="226" y="186"/>
                  <a:pt x="231" y="191"/>
                </a:cubicBezTo>
                <a:cubicBezTo>
                  <a:pt x="237" y="196"/>
                  <a:pt x="258" y="218"/>
                  <a:pt x="258" y="218"/>
                </a:cubicBezTo>
                <a:cubicBezTo>
                  <a:pt x="259" y="219"/>
                  <a:pt x="260" y="220"/>
                  <a:pt x="259" y="221"/>
                </a:cubicBezTo>
                <a:cubicBezTo>
                  <a:pt x="251" y="251"/>
                  <a:pt x="251" y="251"/>
                  <a:pt x="251" y="251"/>
                </a:cubicBezTo>
                <a:cubicBezTo>
                  <a:pt x="251" y="252"/>
                  <a:pt x="250" y="253"/>
                  <a:pt x="249" y="254"/>
                </a:cubicBezTo>
                <a:cubicBezTo>
                  <a:pt x="219" y="262"/>
                  <a:pt x="219" y="262"/>
                  <a:pt x="219" y="262"/>
                </a:cubicBezTo>
                <a:cubicBezTo>
                  <a:pt x="217" y="262"/>
                  <a:pt x="216" y="262"/>
                  <a:pt x="215" y="261"/>
                </a:cubicBezTo>
                <a:cubicBezTo>
                  <a:pt x="215" y="261"/>
                  <a:pt x="193" y="239"/>
                  <a:pt x="188" y="234"/>
                </a:cubicBezTo>
                <a:cubicBezTo>
                  <a:pt x="183" y="229"/>
                  <a:pt x="182" y="236"/>
                  <a:pt x="182" y="236"/>
                </a:cubicBezTo>
                <a:cubicBezTo>
                  <a:pt x="176" y="255"/>
                  <a:pt x="176" y="255"/>
                  <a:pt x="176" y="255"/>
                </a:cubicBezTo>
                <a:cubicBezTo>
                  <a:pt x="176" y="258"/>
                  <a:pt x="176" y="260"/>
                  <a:pt x="178" y="262"/>
                </a:cubicBezTo>
                <a:cubicBezTo>
                  <a:pt x="219" y="303"/>
                  <a:pt x="219" y="303"/>
                  <a:pt x="219" y="303"/>
                </a:cubicBezTo>
                <a:cubicBezTo>
                  <a:pt x="221" y="305"/>
                  <a:pt x="224" y="306"/>
                  <a:pt x="226" y="305"/>
                </a:cubicBezTo>
                <a:cubicBezTo>
                  <a:pt x="248" y="299"/>
                  <a:pt x="248" y="299"/>
                  <a:pt x="248" y="299"/>
                </a:cubicBezTo>
                <a:cubicBezTo>
                  <a:pt x="249" y="299"/>
                  <a:pt x="252" y="298"/>
                  <a:pt x="255" y="301"/>
                </a:cubicBezTo>
                <a:cubicBezTo>
                  <a:pt x="282" y="328"/>
                  <a:pt x="282" y="328"/>
                  <a:pt x="282" y="328"/>
                </a:cubicBezTo>
                <a:cubicBezTo>
                  <a:pt x="286" y="332"/>
                  <a:pt x="285" y="335"/>
                  <a:pt x="282" y="337"/>
                </a:cubicBezTo>
                <a:cubicBezTo>
                  <a:pt x="255" y="354"/>
                  <a:pt x="224" y="364"/>
                  <a:pt x="190" y="364"/>
                </a:cubicBezTo>
                <a:cubicBezTo>
                  <a:pt x="142" y="364"/>
                  <a:pt x="99" y="344"/>
                  <a:pt x="67" y="313"/>
                </a:cubicBezTo>
                <a:cubicBezTo>
                  <a:pt x="36" y="281"/>
                  <a:pt x="16" y="238"/>
                  <a:pt x="16" y="190"/>
                </a:cubicBezTo>
                <a:cubicBezTo>
                  <a:pt x="16" y="142"/>
                  <a:pt x="36" y="98"/>
                  <a:pt x="67" y="67"/>
                </a:cubicBezTo>
                <a:cubicBezTo>
                  <a:pt x="99" y="35"/>
                  <a:pt x="142" y="16"/>
                  <a:pt x="190" y="16"/>
                </a:cubicBezTo>
                <a:cubicBezTo>
                  <a:pt x="233" y="16"/>
                  <a:pt x="272" y="31"/>
                  <a:pt x="302" y="57"/>
                </a:cubicBezTo>
                <a:cubicBezTo>
                  <a:pt x="305" y="59"/>
                  <a:pt x="310" y="59"/>
                  <a:pt x="313" y="56"/>
                </a:cubicBezTo>
                <a:cubicBezTo>
                  <a:pt x="316" y="52"/>
                  <a:pt x="316" y="47"/>
                  <a:pt x="312" y="44"/>
                </a:cubicBezTo>
                <a:cubicBezTo>
                  <a:pt x="312" y="44"/>
                  <a:pt x="312" y="44"/>
                  <a:pt x="312" y="44"/>
                </a:cubicBezTo>
                <a:cubicBezTo>
                  <a:pt x="279" y="17"/>
                  <a:pt x="237" y="0"/>
                  <a:pt x="190" y="0"/>
                </a:cubicBezTo>
                <a:cubicBezTo>
                  <a:pt x="85" y="0"/>
                  <a:pt x="0" y="85"/>
                  <a:pt x="0" y="190"/>
                </a:cubicBezTo>
                <a:cubicBezTo>
                  <a:pt x="0" y="295"/>
                  <a:pt x="85" y="380"/>
                  <a:pt x="190" y="380"/>
                </a:cubicBezTo>
                <a:cubicBezTo>
                  <a:pt x="224" y="380"/>
                  <a:pt x="255" y="371"/>
                  <a:pt x="282" y="356"/>
                </a:cubicBezTo>
                <a:cubicBezTo>
                  <a:pt x="283" y="356"/>
                  <a:pt x="283" y="356"/>
                  <a:pt x="283" y="356"/>
                </a:cubicBezTo>
                <a:cubicBezTo>
                  <a:pt x="284" y="355"/>
                  <a:pt x="284" y="355"/>
                  <a:pt x="284" y="355"/>
                </a:cubicBezTo>
                <a:cubicBezTo>
                  <a:pt x="341" y="322"/>
                  <a:pt x="380" y="261"/>
                  <a:pt x="380" y="190"/>
                </a:cubicBezTo>
                <a:cubicBezTo>
                  <a:pt x="380" y="143"/>
                  <a:pt x="363" y="101"/>
                  <a:pt x="336" y="68"/>
                </a:cubicBezTo>
                <a:close/>
                <a:moveTo>
                  <a:pt x="247" y="105"/>
                </a:moveTo>
                <a:cubicBezTo>
                  <a:pt x="250" y="105"/>
                  <a:pt x="250" y="105"/>
                  <a:pt x="250" y="105"/>
                </a:cubicBezTo>
                <a:cubicBezTo>
                  <a:pt x="252" y="105"/>
                  <a:pt x="254" y="103"/>
                  <a:pt x="254" y="101"/>
                </a:cubicBezTo>
                <a:cubicBezTo>
                  <a:pt x="254" y="99"/>
                  <a:pt x="254" y="99"/>
                  <a:pt x="254" y="99"/>
                </a:cubicBezTo>
                <a:cubicBezTo>
                  <a:pt x="255" y="99"/>
                  <a:pt x="257" y="98"/>
                  <a:pt x="258" y="97"/>
                </a:cubicBezTo>
                <a:cubicBezTo>
                  <a:pt x="260" y="96"/>
                  <a:pt x="261" y="95"/>
                  <a:pt x="262" y="94"/>
                </a:cubicBezTo>
                <a:cubicBezTo>
                  <a:pt x="264" y="95"/>
                  <a:pt x="264" y="95"/>
                  <a:pt x="264" y="95"/>
                </a:cubicBezTo>
                <a:cubicBezTo>
                  <a:pt x="266" y="96"/>
                  <a:pt x="268" y="96"/>
                  <a:pt x="269" y="94"/>
                </a:cubicBezTo>
                <a:cubicBezTo>
                  <a:pt x="271" y="92"/>
                  <a:pt x="271" y="92"/>
                  <a:pt x="271" y="92"/>
                </a:cubicBezTo>
                <a:cubicBezTo>
                  <a:pt x="272" y="90"/>
                  <a:pt x="271" y="88"/>
                  <a:pt x="269" y="87"/>
                </a:cubicBezTo>
                <a:cubicBezTo>
                  <a:pt x="267" y="86"/>
                  <a:pt x="267" y="86"/>
                  <a:pt x="267" y="86"/>
                </a:cubicBezTo>
                <a:cubicBezTo>
                  <a:pt x="268" y="83"/>
                  <a:pt x="268" y="79"/>
                  <a:pt x="267" y="76"/>
                </a:cubicBezTo>
                <a:cubicBezTo>
                  <a:pt x="270" y="75"/>
                  <a:pt x="270" y="75"/>
                  <a:pt x="270" y="75"/>
                </a:cubicBezTo>
                <a:cubicBezTo>
                  <a:pt x="271" y="74"/>
                  <a:pt x="272" y="72"/>
                  <a:pt x="271" y="70"/>
                </a:cubicBezTo>
                <a:cubicBezTo>
                  <a:pt x="270" y="68"/>
                  <a:pt x="270" y="68"/>
                  <a:pt x="270" y="68"/>
                </a:cubicBezTo>
                <a:cubicBezTo>
                  <a:pt x="269" y="67"/>
                  <a:pt x="267" y="66"/>
                  <a:pt x="265" y="67"/>
                </a:cubicBezTo>
                <a:cubicBezTo>
                  <a:pt x="263" y="68"/>
                  <a:pt x="263" y="68"/>
                  <a:pt x="263" y="68"/>
                </a:cubicBezTo>
                <a:cubicBezTo>
                  <a:pt x="261" y="66"/>
                  <a:pt x="258" y="64"/>
                  <a:pt x="255" y="63"/>
                </a:cubicBezTo>
                <a:cubicBezTo>
                  <a:pt x="255" y="61"/>
                  <a:pt x="255" y="61"/>
                  <a:pt x="255" y="61"/>
                </a:cubicBezTo>
                <a:cubicBezTo>
                  <a:pt x="255" y="59"/>
                  <a:pt x="253" y="57"/>
                  <a:pt x="251" y="57"/>
                </a:cubicBezTo>
                <a:cubicBezTo>
                  <a:pt x="249" y="57"/>
                  <a:pt x="249" y="57"/>
                  <a:pt x="249" y="57"/>
                </a:cubicBezTo>
                <a:cubicBezTo>
                  <a:pt x="247" y="57"/>
                  <a:pt x="245" y="58"/>
                  <a:pt x="245" y="61"/>
                </a:cubicBezTo>
                <a:cubicBezTo>
                  <a:pt x="245" y="63"/>
                  <a:pt x="245" y="63"/>
                  <a:pt x="245" y="63"/>
                </a:cubicBezTo>
                <a:cubicBezTo>
                  <a:pt x="243" y="63"/>
                  <a:pt x="242" y="64"/>
                  <a:pt x="240" y="65"/>
                </a:cubicBezTo>
                <a:cubicBezTo>
                  <a:pt x="239" y="65"/>
                  <a:pt x="238" y="66"/>
                  <a:pt x="236" y="68"/>
                </a:cubicBezTo>
                <a:cubicBezTo>
                  <a:pt x="235" y="66"/>
                  <a:pt x="235" y="66"/>
                  <a:pt x="235" y="66"/>
                </a:cubicBezTo>
                <a:cubicBezTo>
                  <a:pt x="233" y="65"/>
                  <a:pt x="230" y="66"/>
                  <a:pt x="229" y="68"/>
                </a:cubicBezTo>
                <a:cubicBezTo>
                  <a:pt x="228" y="70"/>
                  <a:pt x="228" y="70"/>
                  <a:pt x="228" y="70"/>
                </a:cubicBezTo>
                <a:cubicBezTo>
                  <a:pt x="227" y="71"/>
                  <a:pt x="228" y="74"/>
                  <a:pt x="229" y="75"/>
                </a:cubicBezTo>
                <a:cubicBezTo>
                  <a:pt x="231" y="76"/>
                  <a:pt x="231" y="76"/>
                  <a:pt x="231" y="76"/>
                </a:cubicBezTo>
                <a:cubicBezTo>
                  <a:pt x="231" y="79"/>
                  <a:pt x="231" y="82"/>
                  <a:pt x="231" y="86"/>
                </a:cubicBezTo>
                <a:cubicBezTo>
                  <a:pt x="229" y="87"/>
                  <a:pt x="229" y="87"/>
                  <a:pt x="229" y="87"/>
                </a:cubicBezTo>
                <a:cubicBezTo>
                  <a:pt x="227" y="88"/>
                  <a:pt x="227" y="90"/>
                  <a:pt x="228" y="92"/>
                </a:cubicBezTo>
                <a:cubicBezTo>
                  <a:pt x="228" y="93"/>
                  <a:pt x="228" y="93"/>
                  <a:pt x="228" y="93"/>
                </a:cubicBezTo>
                <a:cubicBezTo>
                  <a:pt x="229" y="95"/>
                  <a:pt x="232" y="96"/>
                  <a:pt x="234" y="95"/>
                </a:cubicBezTo>
                <a:cubicBezTo>
                  <a:pt x="236" y="94"/>
                  <a:pt x="236" y="94"/>
                  <a:pt x="236" y="94"/>
                </a:cubicBezTo>
                <a:cubicBezTo>
                  <a:pt x="238" y="96"/>
                  <a:pt x="241" y="98"/>
                  <a:pt x="244" y="99"/>
                </a:cubicBezTo>
                <a:cubicBezTo>
                  <a:pt x="244" y="101"/>
                  <a:pt x="244" y="101"/>
                  <a:pt x="244" y="101"/>
                </a:cubicBezTo>
                <a:cubicBezTo>
                  <a:pt x="244" y="103"/>
                  <a:pt x="245" y="105"/>
                  <a:pt x="247" y="105"/>
                </a:cubicBezTo>
                <a:close/>
                <a:moveTo>
                  <a:pt x="243" y="89"/>
                </a:moveTo>
                <a:cubicBezTo>
                  <a:pt x="238" y="85"/>
                  <a:pt x="237" y="78"/>
                  <a:pt x="241" y="74"/>
                </a:cubicBezTo>
                <a:cubicBezTo>
                  <a:pt x="245" y="70"/>
                  <a:pt x="252" y="69"/>
                  <a:pt x="256" y="73"/>
                </a:cubicBezTo>
                <a:cubicBezTo>
                  <a:pt x="261" y="77"/>
                  <a:pt x="261" y="83"/>
                  <a:pt x="257" y="88"/>
                </a:cubicBezTo>
                <a:cubicBezTo>
                  <a:pt x="254" y="92"/>
                  <a:pt x="247" y="93"/>
                  <a:pt x="243" y="89"/>
                </a:cubicBezTo>
                <a:close/>
                <a:moveTo>
                  <a:pt x="147" y="283"/>
                </a:moveTo>
                <a:cubicBezTo>
                  <a:pt x="150" y="283"/>
                  <a:pt x="150" y="283"/>
                  <a:pt x="150" y="283"/>
                </a:cubicBezTo>
                <a:cubicBezTo>
                  <a:pt x="153" y="282"/>
                  <a:pt x="155" y="280"/>
                  <a:pt x="155" y="277"/>
                </a:cubicBezTo>
                <a:cubicBezTo>
                  <a:pt x="155" y="273"/>
                  <a:pt x="155" y="273"/>
                  <a:pt x="155" y="273"/>
                </a:cubicBezTo>
                <a:cubicBezTo>
                  <a:pt x="155" y="270"/>
                  <a:pt x="152" y="268"/>
                  <a:pt x="149" y="268"/>
                </a:cubicBezTo>
                <a:cubicBezTo>
                  <a:pt x="145" y="268"/>
                  <a:pt x="145" y="268"/>
                  <a:pt x="145" y="268"/>
                </a:cubicBezTo>
                <a:cubicBezTo>
                  <a:pt x="144" y="264"/>
                  <a:pt x="141" y="260"/>
                  <a:pt x="137" y="256"/>
                </a:cubicBezTo>
                <a:cubicBezTo>
                  <a:pt x="139" y="253"/>
                  <a:pt x="139" y="253"/>
                  <a:pt x="139" y="253"/>
                </a:cubicBezTo>
                <a:cubicBezTo>
                  <a:pt x="140" y="250"/>
                  <a:pt x="139" y="247"/>
                  <a:pt x="136" y="246"/>
                </a:cubicBezTo>
                <a:cubicBezTo>
                  <a:pt x="134" y="245"/>
                  <a:pt x="134" y="245"/>
                  <a:pt x="134" y="245"/>
                </a:cubicBezTo>
                <a:cubicBezTo>
                  <a:pt x="131" y="243"/>
                  <a:pt x="128" y="244"/>
                  <a:pt x="127" y="247"/>
                </a:cubicBezTo>
                <a:cubicBezTo>
                  <a:pt x="125" y="251"/>
                  <a:pt x="125" y="251"/>
                  <a:pt x="125" y="251"/>
                </a:cubicBezTo>
                <a:cubicBezTo>
                  <a:pt x="120" y="250"/>
                  <a:pt x="115" y="250"/>
                  <a:pt x="111" y="251"/>
                </a:cubicBezTo>
                <a:cubicBezTo>
                  <a:pt x="109" y="248"/>
                  <a:pt x="109" y="248"/>
                  <a:pt x="109" y="248"/>
                </a:cubicBezTo>
                <a:cubicBezTo>
                  <a:pt x="107" y="246"/>
                  <a:pt x="104" y="245"/>
                  <a:pt x="101" y="247"/>
                </a:cubicBezTo>
                <a:cubicBezTo>
                  <a:pt x="98" y="249"/>
                  <a:pt x="98" y="249"/>
                  <a:pt x="98" y="249"/>
                </a:cubicBezTo>
                <a:cubicBezTo>
                  <a:pt x="95" y="251"/>
                  <a:pt x="95" y="254"/>
                  <a:pt x="97" y="257"/>
                </a:cubicBezTo>
                <a:cubicBezTo>
                  <a:pt x="98" y="260"/>
                  <a:pt x="98" y="260"/>
                  <a:pt x="98" y="260"/>
                </a:cubicBezTo>
                <a:cubicBezTo>
                  <a:pt x="97" y="261"/>
                  <a:pt x="96" y="263"/>
                  <a:pt x="94" y="266"/>
                </a:cubicBezTo>
                <a:cubicBezTo>
                  <a:pt x="93" y="268"/>
                  <a:pt x="93" y="270"/>
                  <a:pt x="92" y="273"/>
                </a:cubicBezTo>
                <a:cubicBezTo>
                  <a:pt x="89" y="273"/>
                  <a:pt x="89" y="273"/>
                  <a:pt x="89" y="273"/>
                </a:cubicBezTo>
                <a:cubicBezTo>
                  <a:pt x="86" y="273"/>
                  <a:pt x="83" y="276"/>
                  <a:pt x="84" y="279"/>
                </a:cubicBezTo>
                <a:cubicBezTo>
                  <a:pt x="84" y="282"/>
                  <a:pt x="84" y="282"/>
                  <a:pt x="84" y="282"/>
                </a:cubicBezTo>
                <a:cubicBezTo>
                  <a:pt x="84" y="286"/>
                  <a:pt x="87" y="288"/>
                  <a:pt x="90" y="288"/>
                </a:cubicBezTo>
                <a:cubicBezTo>
                  <a:pt x="93" y="287"/>
                  <a:pt x="93" y="287"/>
                  <a:pt x="93" y="287"/>
                </a:cubicBezTo>
                <a:cubicBezTo>
                  <a:pt x="95" y="292"/>
                  <a:pt x="98" y="296"/>
                  <a:pt x="102" y="299"/>
                </a:cubicBezTo>
                <a:cubicBezTo>
                  <a:pt x="100" y="302"/>
                  <a:pt x="100" y="302"/>
                  <a:pt x="100" y="302"/>
                </a:cubicBezTo>
                <a:cubicBezTo>
                  <a:pt x="99" y="305"/>
                  <a:pt x="100" y="308"/>
                  <a:pt x="103" y="310"/>
                </a:cubicBezTo>
                <a:cubicBezTo>
                  <a:pt x="105" y="311"/>
                  <a:pt x="105" y="311"/>
                  <a:pt x="105" y="311"/>
                </a:cubicBezTo>
                <a:cubicBezTo>
                  <a:pt x="107" y="312"/>
                  <a:pt x="111" y="311"/>
                  <a:pt x="112" y="308"/>
                </a:cubicBezTo>
                <a:cubicBezTo>
                  <a:pt x="114" y="305"/>
                  <a:pt x="114" y="305"/>
                  <a:pt x="114" y="305"/>
                </a:cubicBezTo>
                <a:cubicBezTo>
                  <a:pt x="119" y="306"/>
                  <a:pt x="123" y="305"/>
                  <a:pt x="128" y="304"/>
                </a:cubicBezTo>
                <a:cubicBezTo>
                  <a:pt x="130" y="307"/>
                  <a:pt x="130" y="307"/>
                  <a:pt x="130" y="307"/>
                </a:cubicBezTo>
                <a:cubicBezTo>
                  <a:pt x="132" y="309"/>
                  <a:pt x="135" y="310"/>
                  <a:pt x="138" y="308"/>
                </a:cubicBezTo>
                <a:cubicBezTo>
                  <a:pt x="141" y="306"/>
                  <a:pt x="141" y="306"/>
                  <a:pt x="141" y="306"/>
                </a:cubicBezTo>
                <a:cubicBezTo>
                  <a:pt x="143" y="305"/>
                  <a:pt x="144" y="301"/>
                  <a:pt x="142" y="299"/>
                </a:cubicBezTo>
                <a:cubicBezTo>
                  <a:pt x="140" y="296"/>
                  <a:pt x="140" y="296"/>
                  <a:pt x="140" y="296"/>
                </a:cubicBezTo>
                <a:cubicBezTo>
                  <a:pt x="142" y="294"/>
                  <a:pt x="143" y="292"/>
                  <a:pt x="144" y="290"/>
                </a:cubicBezTo>
                <a:cubicBezTo>
                  <a:pt x="145" y="287"/>
                  <a:pt x="146" y="285"/>
                  <a:pt x="147" y="283"/>
                </a:cubicBezTo>
                <a:close/>
                <a:moveTo>
                  <a:pt x="132" y="289"/>
                </a:moveTo>
                <a:cubicBezTo>
                  <a:pt x="126" y="296"/>
                  <a:pt x="115" y="297"/>
                  <a:pt x="108" y="291"/>
                </a:cubicBezTo>
                <a:cubicBezTo>
                  <a:pt x="101" y="285"/>
                  <a:pt x="100" y="274"/>
                  <a:pt x="106" y="267"/>
                </a:cubicBezTo>
                <a:cubicBezTo>
                  <a:pt x="112" y="259"/>
                  <a:pt x="123" y="258"/>
                  <a:pt x="130" y="265"/>
                </a:cubicBezTo>
                <a:cubicBezTo>
                  <a:pt x="138" y="271"/>
                  <a:pt x="139" y="282"/>
                  <a:pt x="132" y="289"/>
                </a:cubicBezTo>
                <a:close/>
                <a:moveTo>
                  <a:pt x="201" y="155"/>
                </a:moveTo>
                <a:cubicBezTo>
                  <a:pt x="201" y="154"/>
                  <a:pt x="201" y="154"/>
                  <a:pt x="201" y="153"/>
                </a:cubicBezTo>
                <a:cubicBezTo>
                  <a:pt x="202" y="153"/>
                  <a:pt x="202" y="152"/>
                  <a:pt x="202" y="151"/>
                </a:cubicBezTo>
                <a:cubicBezTo>
                  <a:pt x="202" y="151"/>
                  <a:pt x="202" y="151"/>
                  <a:pt x="202" y="151"/>
                </a:cubicBezTo>
                <a:cubicBezTo>
                  <a:pt x="208" y="151"/>
                  <a:pt x="208" y="151"/>
                  <a:pt x="208" y="151"/>
                </a:cubicBezTo>
                <a:cubicBezTo>
                  <a:pt x="211" y="151"/>
                  <a:pt x="214" y="148"/>
                  <a:pt x="214" y="145"/>
                </a:cubicBezTo>
                <a:cubicBezTo>
                  <a:pt x="214" y="135"/>
                  <a:pt x="214" y="135"/>
                  <a:pt x="214" y="135"/>
                </a:cubicBezTo>
                <a:cubicBezTo>
                  <a:pt x="214" y="132"/>
                  <a:pt x="211" y="129"/>
                  <a:pt x="208" y="129"/>
                </a:cubicBezTo>
                <a:cubicBezTo>
                  <a:pt x="202" y="129"/>
                  <a:pt x="202" y="129"/>
                  <a:pt x="202" y="129"/>
                </a:cubicBezTo>
                <a:cubicBezTo>
                  <a:pt x="201" y="125"/>
                  <a:pt x="200" y="120"/>
                  <a:pt x="198" y="115"/>
                </a:cubicBezTo>
                <a:cubicBezTo>
                  <a:pt x="196" y="111"/>
                  <a:pt x="194" y="107"/>
                  <a:pt x="192" y="104"/>
                </a:cubicBezTo>
                <a:cubicBezTo>
                  <a:pt x="196" y="100"/>
                  <a:pt x="196" y="100"/>
                  <a:pt x="196" y="100"/>
                </a:cubicBezTo>
                <a:cubicBezTo>
                  <a:pt x="198" y="98"/>
                  <a:pt x="198" y="94"/>
                  <a:pt x="196" y="92"/>
                </a:cubicBezTo>
                <a:cubicBezTo>
                  <a:pt x="189" y="85"/>
                  <a:pt x="189" y="85"/>
                  <a:pt x="189" y="85"/>
                </a:cubicBezTo>
                <a:cubicBezTo>
                  <a:pt x="186" y="82"/>
                  <a:pt x="183" y="82"/>
                  <a:pt x="180" y="85"/>
                </a:cubicBezTo>
                <a:cubicBezTo>
                  <a:pt x="176" y="88"/>
                  <a:pt x="176" y="88"/>
                  <a:pt x="176" y="88"/>
                </a:cubicBezTo>
                <a:cubicBezTo>
                  <a:pt x="169" y="83"/>
                  <a:pt x="160" y="79"/>
                  <a:pt x="151" y="78"/>
                </a:cubicBezTo>
                <a:cubicBezTo>
                  <a:pt x="151" y="72"/>
                  <a:pt x="151" y="72"/>
                  <a:pt x="151" y="72"/>
                </a:cubicBezTo>
                <a:cubicBezTo>
                  <a:pt x="151" y="69"/>
                  <a:pt x="148" y="66"/>
                  <a:pt x="145" y="66"/>
                </a:cubicBezTo>
                <a:cubicBezTo>
                  <a:pt x="135" y="67"/>
                  <a:pt x="135" y="67"/>
                  <a:pt x="135" y="67"/>
                </a:cubicBezTo>
                <a:cubicBezTo>
                  <a:pt x="132" y="67"/>
                  <a:pt x="129" y="69"/>
                  <a:pt x="129" y="72"/>
                </a:cubicBezTo>
                <a:cubicBezTo>
                  <a:pt x="129" y="78"/>
                  <a:pt x="129" y="78"/>
                  <a:pt x="129" y="78"/>
                </a:cubicBezTo>
                <a:cubicBezTo>
                  <a:pt x="125" y="78"/>
                  <a:pt x="120" y="80"/>
                  <a:pt x="115" y="82"/>
                </a:cubicBezTo>
                <a:cubicBezTo>
                  <a:pt x="111" y="84"/>
                  <a:pt x="107" y="86"/>
                  <a:pt x="103" y="88"/>
                </a:cubicBezTo>
                <a:cubicBezTo>
                  <a:pt x="100" y="85"/>
                  <a:pt x="100" y="85"/>
                  <a:pt x="100" y="85"/>
                </a:cubicBezTo>
                <a:cubicBezTo>
                  <a:pt x="97" y="82"/>
                  <a:pt x="94" y="82"/>
                  <a:pt x="91" y="85"/>
                </a:cubicBezTo>
                <a:cubicBezTo>
                  <a:pt x="84" y="92"/>
                  <a:pt x="84" y="92"/>
                  <a:pt x="84" y="92"/>
                </a:cubicBezTo>
                <a:cubicBezTo>
                  <a:pt x="82" y="94"/>
                  <a:pt x="82" y="98"/>
                  <a:pt x="84" y="100"/>
                </a:cubicBezTo>
                <a:cubicBezTo>
                  <a:pt x="88" y="104"/>
                  <a:pt x="88" y="104"/>
                  <a:pt x="88" y="104"/>
                </a:cubicBezTo>
                <a:cubicBezTo>
                  <a:pt x="83" y="111"/>
                  <a:pt x="79" y="120"/>
                  <a:pt x="78" y="130"/>
                </a:cubicBezTo>
                <a:cubicBezTo>
                  <a:pt x="72" y="130"/>
                  <a:pt x="72" y="130"/>
                  <a:pt x="72" y="130"/>
                </a:cubicBezTo>
                <a:cubicBezTo>
                  <a:pt x="69" y="130"/>
                  <a:pt x="66" y="132"/>
                  <a:pt x="66" y="135"/>
                </a:cubicBezTo>
                <a:cubicBezTo>
                  <a:pt x="66" y="145"/>
                  <a:pt x="66" y="145"/>
                  <a:pt x="66" y="145"/>
                </a:cubicBezTo>
                <a:cubicBezTo>
                  <a:pt x="66" y="148"/>
                  <a:pt x="69" y="151"/>
                  <a:pt x="72" y="151"/>
                </a:cubicBezTo>
                <a:cubicBezTo>
                  <a:pt x="78" y="151"/>
                  <a:pt x="78" y="151"/>
                  <a:pt x="78" y="151"/>
                </a:cubicBezTo>
                <a:cubicBezTo>
                  <a:pt x="79" y="156"/>
                  <a:pt x="80" y="160"/>
                  <a:pt x="82" y="164"/>
                </a:cubicBezTo>
                <a:cubicBezTo>
                  <a:pt x="84" y="169"/>
                  <a:pt x="86" y="173"/>
                  <a:pt x="89" y="177"/>
                </a:cubicBezTo>
                <a:cubicBezTo>
                  <a:pt x="84" y="181"/>
                  <a:pt x="84" y="181"/>
                  <a:pt x="84" y="181"/>
                </a:cubicBezTo>
                <a:cubicBezTo>
                  <a:pt x="82" y="183"/>
                  <a:pt x="82" y="187"/>
                  <a:pt x="84" y="189"/>
                </a:cubicBezTo>
                <a:cubicBezTo>
                  <a:pt x="91" y="196"/>
                  <a:pt x="91" y="196"/>
                  <a:pt x="91" y="196"/>
                </a:cubicBezTo>
                <a:cubicBezTo>
                  <a:pt x="94" y="198"/>
                  <a:pt x="97" y="198"/>
                  <a:pt x="100" y="196"/>
                </a:cubicBezTo>
                <a:cubicBezTo>
                  <a:pt x="104" y="192"/>
                  <a:pt x="104" y="192"/>
                  <a:pt x="104" y="192"/>
                </a:cubicBezTo>
                <a:cubicBezTo>
                  <a:pt x="104" y="192"/>
                  <a:pt x="104" y="192"/>
                  <a:pt x="104" y="192"/>
                </a:cubicBezTo>
                <a:cubicBezTo>
                  <a:pt x="105" y="192"/>
                  <a:pt x="106" y="193"/>
                  <a:pt x="106" y="193"/>
                </a:cubicBezTo>
                <a:cubicBezTo>
                  <a:pt x="107" y="193"/>
                  <a:pt x="107" y="194"/>
                  <a:pt x="108" y="194"/>
                </a:cubicBezTo>
                <a:cubicBezTo>
                  <a:pt x="108" y="194"/>
                  <a:pt x="108" y="194"/>
                  <a:pt x="108" y="194"/>
                </a:cubicBezTo>
                <a:cubicBezTo>
                  <a:pt x="115" y="198"/>
                  <a:pt x="122" y="201"/>
                  <a:pt x="129" y="202"/>
                </a:cubicBezTo>
                <a:cubicBezTo>
                  <a:pt x="129" y="208"/>
                  <a:pt x="129" y="208"/>
                  <a:pt x="129" y="208"/>
                </a:cubicBezTo>
                <a:cubicBezTo>
                  <a:pt x="129" y="211"/>
                  <a:pt x="132" y="214"/>
                  <a:pt x="135" y="214"/>
                </a:cubicBezTo>
                <a:cubicBezTo>
                  <a:pt x="145" y="214"/>
                  <a:pt x="145" y="214"/>
                  <a:pt x="145" y="214"/>
                </a:cubicBezTo>
                <a:cubicBezTo>
                  <a:pt x="148" y="214"/>
                  <a:pt x="151" y="211"/>
                  <a:pt x="151" y="208"/>
                </a:cubicBezTo>
                <a:cubicBezTo>
                  <a:pt x="151" y="202"/>
                  <a:pt x="151" y="202"/>
                  <a:pt x="151" y="202"/>
                </a:cubicBezTo>
                <a:cubicBezTo>
                  <a:pt x="155" y="201"/>
                  <a:pt x="160" y="200"/>
                  <a:pt x="165" y="198"/>
                </a:cubicBezTo>
                <a:cubicBezTo>
                  <a:pt x="169" y="196"/>
                  <a:pt x="173" y="194"/>
                  <a:pt x="176" y="192"/>
                </a:cubicBezTo>
                <a:cubicBezTo>
                  <a:pt x="180" y="196"/>
                  <a:pt x="180" y="196"/>
                  <a:pt x="180" y="196"/>
                </a:cubicBezTo>
                <a:cubicBezTo>
                  <a:pt x="183" y="198"/>
                  <a:pt x="186" y="198"/>
                  <a:pt x="189" y="196"/>
                </a:cubicBezTo>
                <a:cubicBezTo>
                  <a:pt x="196" y="189"/>
                  <a:pt x="196" y="189"/>
                  <a:pt x="196" y="189"/>
                </a:cubicBezTo>
                <a:cubicBezTo>
                  <a:pt x="198" y="187"/>
                  <a:pt x="198" y="183"/>
                  <a:pt x="196" y="181"/>
                </a:cubicBezTo>
                <a:cubicBezTo>
                  <a:pt x="191" y="176"/>
                  <a:pt x="191" y="176"/>
                  <a:pt x="191" y="176"/>
                </a:cubicBezTo>
                <a:cubicBezTo>
                  <a:pt x="196" y="170"/>
                  <a:pt x="199" y="163"/>
                  <a:pt x="201" y="155"/>
                </a:cubicBezTo>
                <a:cubicBezTo>
                  <a:pt x="201" y="155"/>
                  <a:pt x="201" y="155"/>
                  <a:pt x="201" y="155"/>
                </a:cubicBezTo>
                <a:close/>
                <a:moveTo>
                  <a:pt x="184" y="158"/>
                </a:moveTo>
                <a:cubicBezTo>
                  <a:pt x="180" y="169"/>
                  <a:pt x="171" y="179"/>
                  <a:pt x="159" y="184"/>
                </a:cubicBezTo>
                <a:cubicBezTo>
                  <a:pt x="146" y="189"/>
                  <a:pt x="133" y="189"/>
                  <a:pt x="122" y="184"/>
                </a:cubicBezTo>
                <a:cubicBezTo>
                  <a:pt x="110" y="180"/>
                  <a:pt x="101" y="171"/>
                  <a:pt x="96" y="158"/>
                </a:cubicBezTo>
                <a:cubicBezTo>
                  <a:pt x="91" y="146"/>
                  <a:pt x="91" y="133"/>
                  <a:pt x="95" y="122"/>
                </a:cubicBezTo>
                <a:cubicBezTo>
                  <a:pt x="100" y="110"/>
                  <a:pt x="109" y="101"/>
                  <a:pt x="121" y="96"/>
                </a:cubicBezTo>
                <a:cubicBezTo>
                  <a:pt x="133" y="91"/>
                  <a:pt x="146" y="91"/>
                  <a:pt x="158" y="95"/>
                </a:cubicBezTo>
                <a:cubicBezTo>
                  <a:pt x="169" y="100"/>
                  <a:pt x="179" y="109"/>
                  <a:pt x="184" y="121"/>
                </a:cubicBezTo>
                <a:cubicBezTo>
                  <a:pt x="189" y="133"/>
                  <a:pt x="189" y="146"/>
                  <a:pt x="184"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Tree>
    <p:extLst>
      <p:ext uri="{BB962C8B-B14F-4D97-AF65-F5344CB8AC3E}">
        <p14:creationId xmlns:p14="http://schemas.microsoft.com/office/powerpoint/2010/main" val="213453190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9" name="Title 1"/>
          <p:cNvSpPr>
            <a:spLocks noGrp="1"/>
          </p:cNvSpPr>
          <p:nvPr>
            <p:ph type="title"/>
          </p:nvPr>
        </p:nvSpPr>
        <p:spPr>
          <a:xfrm>
            <a:off x="394098" y="239713"/>
            <a:ext cx="7493794" cy="1085850"/>
          </a:xfrm>
        </p:spPr>
        <p:txBody>
          <a:bodyPr/>
          <a:lstStyle/>
          <a:p>
            <a:r>
              <a:rPr lang="en-US" smtClean="0">
                <a:latin typeface="Ericsson Capital TT" pitchFamily="2" charset="0"/>
              </a:rPr>
              <a:t>Agility is key</a:t>
            </a:r>
          </a:p>
        </p:txBody>
      </p:sp>
      <p:sp>
        <p:nvSpPr>
          <p:cNvPr id="58" name="Rounded Rectangle 32"/>
          <p:cNvSpPr>
            <a:spLocks noChangeArrowheads="1"/>
          </p:cNvSpPr>
          <p:nvPr/>
        </p:nvSpPr>
        <p:spPr bwMode="auto">
          <a:xfrm>
            <a:off x="2293714" y="4667798"/>
            <a:ext cx="1418995" cy="541772"/>
          </a:xfrm>
          <a:prstGeom prst="roundRect">
            <a:avLst>
              <a:gd name="adj" fmla="val 5667"/>
            </a:avLst>
          </a:prstGeom>
          <a:solidFill>
            <a:srgbClr val="00A9D4"/>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sz="1800">
              <a:solidFill>
                <a:srgbClr val="58585A"/>
              </a:solidFill>
              <a:ea typeface="ＭＳ Ｐゴシック" pitchFamily="34" charset="-128"/>
            </a:endParaRPr>
          </a:p>
        </p:txBody>
      </p:sp>
      <p:sp>
        <p:nvSpPr>
          <p:cNvPr id="59" name="Text Box 24"/>
          <p:cNvSpPr txBox="1">
            <a:spLocks noChangeArrowheads="1"/>
          </p:cNvSpPr>
          <p:nvPr/>
        </p:nvSpPr>
        <p:spPr bwMode="auto">
          <a:xfrm>
            <a:off x="2297664" y="4720043"/>
            <a:ext cx="1415046" cy="495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rIns="72000"/>
          <a:lstStyle>
            <a:lvl1pPr eaLnBrk="0" hangingPunct="0">
              <a:defRPr sz="2100">
                <a:solidFill>
                  <a:schemeClr val="tx1"/>
                </a:solidFill>
                <a:latin typeface="Arial" pitchFamily="34" charset="0"/>
                <a:cs typeface="Arial" pitchFamily="34" charset="0"/>
              </a:defRPr>
            </a:lvl1pPr>
            <a:lvl2pPr marL="742950" indent="-285750" eaLnBrk="0" hangingPunct="0">
              <a:defRPr sz="2100">
                <a:solidFill>
                  <a:schemeClr val="tx1"/>
                </a:solidFill>
                <a:latin typeface="Arial" pitchFamily="34" charset="0"/>
                <a:cs typeface="Arial" pitchFamily="34" charset="0"/>
              </a:defRPr>
            </a:lvl2pPr>
            <a:lvl3pPr marL="1143000" indent="-228600" eaLnBrk="0" hangingPunct="0">
              <a:defRPr sz="2100">
                <a:solidFill>
                  <a:schemeClr val="tx1"/>
                </a:solidFill>
                <a:latin typeface="Arial" pitchFamily="34" charset="0"/>
                <a:cs typeface="Arial" pitchFamily="34" charset="0"/>
              </a:defRPr>
            </a:lvl3pPr>
            <a:lvl4pPr marL="1600200" indent="-228600" eaLnBrk="0" hangingPunct="0">
              <a:defRPr sz="2100">
                <a:solidFill>
                  <a:schemeClr val="tx1"/>
                </a:solidFill>
                <a:latin typeface="Arial" pitchFamily="34" charset="0"/>
                <a:cs typeface="Arial" pitchFamily="34" charset="0"/>
              </a:defRPr>
            </a:lvl4pPr>
            <a:lvl5pPr marL="2057400" indent="-228600" eaLnBrk="0" hangingPunct="0">
              <a:defRPr sz="21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1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1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1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100">
                <a:solidFill>
                  <a:schemeClr val="tx1"/>
                </a:solidFill>
                <a:latin typeface="Arial" pitchFamily="34" charset="0"/>
                <a:cs typeface="Arial" pitchFamily="34" charset="0"/>
              </a:defRPr>
            </a:lvl9pPr>
          </a:lstStyle>
          <a:p>
            <a:pPr algn="ctr" eaLnBrk="1" hangingPunct="1">
              <a:spcBef>
                <a:spcPct val="50000"/>
              </a:spcBef>
            </a:pPr>
            <a:r>
              <a:rPr lang="en-IE" sz="1200" dirty="0">
                <a:solidFill>
                  <a:srgbClr val="FFFFFF"/>
                </a:solidFill>
                <a:ea typeface="ＭＳ Ｐゴシック" pitchFamily="34" charset="-128"/>
              </a:rPr>
              <a:t>Idea-to-</a:t>
            </a:r>
            <a:br>
              <a:rPr lang="en-IE" sz="1200" dirty="0">
                <a:solidFill>
                  <a:srgbClr val="FFFFFF"/>
                </a:solidFill>
                <a:ea typeface="ＭＳ Ｐゴシック" pitchFamily="34" charset="-128"/>
              </a:rPr>
            </a:br>
            <a:r>
              <a:rPr lang="en-IE" sz="1200" dirty="0">
                <a:solidFill>
                  <a:srgbClr val="FFFFFF"/>
                </a:solidFill>
                <a:ea typeface="ＭＳ Ｐゴシック" pitchFamily="34" charset="-128"/>
              </a:rPr>
              <a:t>Implementation</a:t>
            </a:r>
          </a:p>
        </p:txBody>
      </p:sp>
      <p:sp>
        <p:nvSpPr>
          <p:cNvPr id="56" name="Rounded Rectangle 32"/>
          <p:cNvSpPr>
            <a:spLocks noChangeArrowheads="1"/>
          </p:cNvSpPr>
          <p:nvPr/>
        </p:nvSpPr>
        <p:spPr bwMode="auto">
          <a:xfrm>
            <a:off x="5281170" y="4667799"/>
            <a:ext cx="1418994" cy="541772"/>
          </a:xfrm>
          <a:prstGeom prst="roundRect">
            <a:avLst>
              <a:gd name="adj" fmla="val 5667"/>
            </a:avLst>
          </a:prstGeom>
          <a:solidFill>
            <a:srgbClr val="00A9D4"/>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sz="1800">
              <a:solidFill>
                <a:srgbClr val="58585A"/>
              </a:solidFill>
              <a:ea typeface="ＭＳ Ｐゴシック" pitchFamily="34" charset="-128"/>
            </a:endParaRPr>
          </a:p>
        </p:txBody>
      </p:sp>
      <p:sp>
        <p:nvSpPr>
          <p:cNvPr id="57" name="Text Box 24"/>
          <p:cNvSpPr txBox="1">
            <a:spLocks noChangeArrowheads="1"/>
          </p:cNvSpPr>
          <p:nvPr/>
        </p:nvSpPr>
        <p:spPr bwMode="auto">
          <a:xfrm>
            <a:off x="5281171" y="4720043"/>
            <a:ext cx="1418994" cy="495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rIns="72000"/>
          <a:lstStyle>
            <a:lvl1pPr eaLnBrk="0" hangingPunct="0">
              <a:defRPr sz="2100">
                <a:solidFill>
                  <a:schemeClr val="tx1"/>
                </a:solidFill>
                <a:latin typeface="Arial" pitchFamily="34" charset="0"/>
                <a:cs typeface="Arial" pitchFamily="34" charset="0"/>
              </a:defRPr>
            </a:lvl1pPr>
            <a:lvl2pPr marL="742950" indent="-285750" eaLnBrk="0" hangingPunct="0">
              <a:defRPr sz="2100">
                <a:solidFill>
                  <a:schemeClr val="tx1"/>
                </a:solidFill>
                <a:latin typeface="Arial" pitchFamily="34" charset="0"/>
                <a:cs typeface="Arial" pitchFamily="34" charset="0"/>
              </a:defRPr>
            </a:lvl2pPr>
            <a:lvl3pPr marL="1143000" indent="-228600" eaLnBrk="0" hangingPunct="0">
              <a:defRPr sz="2100">
                <a:solidFill>
                  <a:schemeClr val="tx1"/>
                </a:solidFill>
                <a:latin typeface="Arial" pitchFamily="34" charset="0"/>
                <a:cs typeface="Arial" pitchFamily="34" charset="0"/>
              </a:defRPr>
            </a:lvl3pPr>
            <a:lvl4pPr marL="1600200" indent="-228600" eaLnBrk="0" hangingPunct="0">
              <a:defRPr sz="2100">
                <a:solidFill>
                  <a:schemeClr val="tx1"/>
                </a:solidFill>
                <a:latin typeface="Arial" pitchFamily="34" charset="0"/>
                <a:cs typeface="Arial" pitchFamily="34" charset="0"/>
              </a:defRPr>
            </a:lvl4pPr>
            <a:lvl5pPr marL="2057400" indent="-228600" eaLnBrk="0" hangingPunct="0">
              <a:defRPr sz="21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1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1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1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100">
                <a:solidFill>
                  <a:schemeClr val="tx1"/>
                </a:solidFill>
                <a:latin typeface="Arial" pitchFamily="34" charset="0"/>
                <a:cs typeface="Arial" pitchFamily="34" charset="0"/>
              </a:defRPr>
            </a:lvl9pPr>
          </a:lstStyle>
          <a:p>
            <a:pPr algn="ctr" eaLnBrk="1" hangingPunct="1">
              <a:spcBef>
                <a:spcPct val="50000"/>
              </a:spcBef>
            </a:pPr>
            <a:r>
              <a:rPr lang="en-IE" sz="1200" dirty="0">
                <a:solidFill>
                  <a:srgbClr val="FFFFFF"/>
                </a:solidFill>
                <a:ea typeface="ＭＳ Ｐゴシック" pitchFamily="34" charset="-128"/>
              </a:rPr>
              <a:t>Service-to-</a:t>
            </a:r>
            <a:br>
              <a:rPr lang="en-IE" sz="1200" dirty="0">
                <a:solidFill>
                  <a:srgbClr val="FFFFFF"/>
                </a:solidFill>
                <a:ea typeface="ＭＳ Ｐゴシック" pitchFamily="34" charset="-128"/>
              </a:rPr>
            </a:br>
            <a:r>
              <a:rPr lang="en-IE" sz="1200" dirty="0">
                <a:solidFill>
                  <a:srgbClr val="FFFFFF"/>
                </a:solidFill>
                <a:ea typeface="ＭＳ Ｐゴシック" pitchFamily="34" charset="-128"/>
              </a:rPr>
              <a:t>Cash</a:t>
            </a:r>
          </a:p>
        </p:txBody>
      </p:sp>
      <p:sp>
        <p:nvSpPr>
          <p:cNvPr id="35" name="Rounded Rectangle 24"/>
          <p:cNvSpPr>
            <a:spLocks noChangeArrowheads="1"/>
          </p:cNvSpPr>
          <p:nvPr/>
        </p:nvSpPr>
        <p:spPr bwMode="auto">
          <a:xfrm>
            <a:off x="2092739" y="1880926"/>
            <a:ext cx="698965" cy="683489"/>
          </a:xfrm>
          <a:prstGeom prst="roundRect">
            <a:avLst>
              <a:gd name="adj" fmla="val 9222"/>
            </a:avLst>
          </a:prstGeom>
          <a:noFill/>
          <a:ln w="9525">
            <a:solidFill>
              <a:schemeClr val="bg1"/>
            </a:solidFill>
            <a:round/>
            <a:headEnd/>
            <a:tailEnd/>
          </a:ln>
          <a:extLst>
            <a:ext uri="{909E8E84-426E-40DD-AFC4-6F175D3DCCD1}">
              <a14:hiddenFill xmlns:a14="http://schemas.microsoft.com/office/drawing/2010/main">
                <a:solidFill>
                  <a:srgbClr val="FFFFFF"/>
                </a:solidFill>
              </a14:hiddenFill>
            </a:ext>
          </a:extLst>
        </p:spPr>
        <p:txBody>
          <a:bodyPr lIns="44432" tIns="22220" rIns="44432" bIns="22220" anchor="ctr"/>
          <a:lstStyle/>
          <a:p>
            <a:pPr algn="ctr"/>
            <a:r>
              <a:rPr lang="en-US" sz="7200">
                <a:solidFill>
                  <a:srgbClr val="BCBCBD"/>
                </a:solidFill>
                <a:latin typeface="Ericsson Capital TT" pitchFamily="2" charset="0"/>
              </a:rPr>
              <a:t>+</a:t>
            </a:r>
          </a:p>
        </p:txBody>
      </p:sp>
      <p:sp>
        <p:nvSpPr>
          <p:cNvPr id="36" name="Rounded Rectangle 24"/>
          <p:cNvSpPr>
            <a:spLocks noChangeArrowheads="1"/>
          </p:cNvSpPr>
          <p:nvPr/>
        </p:nvSpPr>
        <p:spPr bwMode="auto">
          <a:xfrm>
            <a:off x="4286353" y="1880926"/>
            <a:ext cx="698965" cy="683489"/>
          </a:xfrm>
          <a:prstGeom prst="roundRect">
            <a:avLst>
              <a:gd name="adj" fmla="val 9222"/>
            </a:avLst>
          </a:prstGeom>
          <a:noFill/>
          <a:ln w="9525">
            <a:solidFill>
              <a:schemeClr val="bg1"/>
            </a:solidFill>
            <a:round/>
            <a:headEnd/>
            <a:tailEnd/>
          </a:ln>
          <a:extLst>
            <a:ext uri="{909E8E84-426E-40DD-AFC4-6F175D3DCCD1}">
              <a14:hiddenFill xmlns:a14="http://schemas.microsoft.com/office/drawing/2010/main">
                <a:solidFill>
                  <a:srgbClr val="FFFFFF"/>
                </a:solidFill>
              </a14:hiddenFill>
            </a:ext>
          </a:extLst>
        </p:spPr>
        <p:txBody>
          <a:bodyPr lIns="44432" tIns="22220" rIns="44432" bIns="22220" anchor="ctr"/>
          <a:lstStyle/>
          <a:p>
            <a:pPr algn="ctr"/>
            <a:r>
              <a:rPr lang="en-US" sz="7200">
                <a:solidFill>
                  <a:srgbClr val="BCBCBD"/>
                </a:solidFill>
                <a:latin typeface="Ericsson Capital TT" pitchFamily="2" charset="0"/>
              </a:rPr>
              <a:t>+</a:t>
            </a:r>
          </a:p>
        </p:txBody>
      </p:sp>
      <p:sp>
        <p:nvSpPr>
          <p:cNvPr id="37" name="Rounded Rectangle 24"/>
          <p:cNvSpPr>
            <a:spLocks noChangeArrowheads="1"/>
          </p:cNvSpPr>
          <p:nvPr/>
        </p:nvSpPr>
        <p:spPr bwMode="auto">
          <a:xfrm>
            <a:off x="6579266" y="1880926"/>
            <a:ext cx="698965" cy="683489"/>
          </a:xfrm>
          <a:prstGeom prst="roundRect">
            <a:avLst>
              <a:gd name="adj" fmla="val 9222"/>
            </a:avLst>
          </a:prstGeom>
          <a:noFill/>
          <a:ln w="9525">
            <a:solidFill>
              <a:schemeClr val="bg1"/>
            </a:solidFill>
            <a:round/>
            <a:headEnd/>
            <a:tailEnd/>
          </a:ln>
          <a:extLst>
            <a:ext uri="{909E8E84-426E-40DD-AFC4-6F175D3DCCD1}">
              <a14:hiddenFill xmlns:a14="http://schemas.microsoft.com/office/drawing/2010/main">
                <a:solidFill>
                  <a:srgbClr val="FFFFFF"/>
                </a:solidFill>
              </a14:hiddenFill>
            </a:ext>
          </a:extLst>
        </p:spPr>
        <p:txBody>
          <a:bodyPr lIns="44432" tIns="22220" rIns="44432" bIns="22220" anchor="ctr"/>
          <a:lstStyle/>
          <a:p>
            <a:pPr algn="ctr"/>
            <a:r>
              <a:rPr lang="en-US" sz="7200">
                <a:solidFill>
                  <a:srgbClr val="BCBCBD"/>
                </a:solidFill>
                <a:latin typeface="Ericsson Capital TT" pitchFamily="2" charset="0"/>
              </a:rPr>
              <a:t>=</a:t>
            </a:r>
          </a:p>
        </p:txBody>
      </p:sp>
      <p:sp>
        <p:nvSpPr>
          <p:cNvPr id="38" name="Freeform 3"/>
          <p:cNvSpPr>
            <a:spLocks noChangeAspect="1" noEditPoints="1"/>
          </p:cNvSpPr>
          <p:nvPr/>
        </p:nvSpPr>
        <p:spPr bwMode="auto">
          <a:xfrm>
            <a:off x="5188765" y="1597213"/>
            <a:ext cx="1264048" cy="1342079"/>
          </a:xfrm>
          <a:custGeom>
            <a:avLst/>
            <a:gdLst>
              <a:gd name="T0" fmla="*/ 2147483647 w 382"/>
              <a:gd name="T1" fmla="*/ 2147483647 h 405"/>
              <a:gd name="T2" fmla="*/ 2147483647 w 382"/>
              <a:gd name="T3" fmla="*/ 2147483647 h 405"/>
              <a:gd name="T4" fmla="*/ 2147483647 w 382"/>
              <a:gd name="T5" fmla="*/ 2147483647 h 405"/>
              <a:gd name="T6" fmla="*/ 2147483647 w 382"/>
              <a:gd name="T7" fmla="*/ 2147483647 h 405"/>
              <a:gd name="T8" fmla="*/ 2147483647 w 382"/>
              <a:gd name="T9" fmla="*/ 2147483647 h 405"/>
              <a:gd name="T10" fmla="*/ 2147483647 w 382"/>
              <a:gd name="T11" fmla="*/ 2147483647 h 405"/>
              <a:gd name="T12" fmla="*/ 2147483647 w 382"/>
              <a:gd name="T13" fmla="*/ 2147483647 h 405"/>
              <a:gd name="T14" fmla="*/ 2147483647 w 382"/>
              <a:gd name="T15" fmla="*/ 2147483647 h 405"/>
              <a:gd name="T16" fmla="*/ 0 w 382"/>
              <a:gd name="T17" fmla="*/ 2147483647 h 405"/>
              <a:gd name="T18" fmla="*/ 2147483647 w 382"/>
              <a:gd name="T19" fmla="*/ 2147483647 h 405"/>
              <a:gd name="T20" fmla="*/ 2147483647 w 382"/>
              <a:gd name="T21" fmla="*/ 2147483647 h 405"/>
              <a:gd name="T22" fmla="*/ 2147483647 w 382"/>
              <a:gd name="T23" fmla="*/ 2147483647 h 405"/>
              <a:gd name="T24" fmla="*/ 2147483647 w 382"/>
              <a:gd name="T25" fmla="*/ 2147483647 h 405"/>
              <a:gd name="T26" fmla="*/ 2147483647 w 382"/>
              <a:gd name="T27" fmla="*/ 2147483647 h 405"/>
              <a:gd name="T28" fmla="*/ 2147483647 w 382"/>
              <a:gd name="T29" fmla="*/ 2147483647 h 405"/>
              <a:gd name="T30" fmla="*/ 2147483647 w 382"/>
              <a:gd name="T31" fmla="*/ 2147483647 h 405"/>
              <a:gd name="T32" fmla="*/ 2147483647 w 382"/>
              <a:gd name="T33" fmla="*/ 2147483647 h 405"/>
              <a:gd name="T34" fmla="*/ 2147483647 w 382"/>
              <a:gd name="T35" fmla="*/ 2147483647 h 405"/>
              <a:gd name="T36" fmla="*/ 2147483647 w 382"/>
              <a:gd name="T37" fmla="*/ 2147483647 h 405"/>
              <a:gd name="T38" fmla="*/ 2147483647 w 382"/>
              <a:gd name="T39" fmla="*/ 2147483647 h 405"/>
              <a:gd name="T40" fmla="*/ 2147483647 w 382"/>
              <a:gd name="T41" fmla="*/ 2147483647 h 405"/>
              <a:gd name="T42" fmla="*/ 2147483647 w 382"/>
              <a:gd name="T43" fmla="*/ 2147483647 h 405"/>
              <a:gd name="T44" fmla="*/ 2147483647 w 382"/>
              <a:gd name="T45" fmla="*/ 2147483647 h 405"/>
              <a:gd name="T46" fmla="*/ 2147483647 w 382"/>
              <a:gd name="T47" fmla="*/ 2147483647 h 405"/>
              <a:gd name="T48" fmla="*/ 2147483647 w 382"/>
              <a:gd name="T49" fmla="*/ 2147483647 h 405"/>
              <a:gd name="T50" fmla="*/ 2147483647 w 382"/>
              <a:gd name="T51" fmla="*/ 2147483647 h 405"/>
              <a:gd name="T52" fmla="*/ 2147483647 w 382"/>
              <a:gd name="T53" fmla="*/ 2147483647 h 405"/>
              <a:gd name="T54" fmla="*/ 2147483647 w 382"/>
              <a:gd name="T55" fmla="*/ 2147483647 h 405"/>
              <a:gd name="T56" fmla="*/ 2147483647 w 382"/>
              <a:gd name="T57" fmla="*/ 2147483647 h 405"/>
              <a:gd name="T58" fmla="*/ 2147483647 w 382"/>
              <a:gd name="T59" fmla="*/ 2147483647 h 405"/>
              <a:gd name="T60" fmla="*/ 2147483647 w 382"/>
              <a:gd name="T61" fmla="*/ 2147483647 h 405"/>
              <a:gd name="T62" fmla="*/ 2147483647 w 382"/>
              <a:gd name="T63" fmla="*/ 2147483647 h 405"/>
              <a:gd name="T64" fmla="*/ 2147483647 w 382"/>
              <a:gd name="T65" fmla="*/ 2147483647 h 405"/>
              <a:gd name="T66" fmla="*/ 2147483647 w 382"/>
              <a:gd name="T67" fmla="*/ 2147483647 h 405"/>
              <a:gd name="T68" fmla="*/ 2147483647 w 382"/>
              <a:gd name="T69" fmla="*/ 2147483647 h 405"/>
              <a:gd name="T70" fmla="*/ 2147483647 w 382"/>
              <a:gd name="T71" fmla="*/ 2147483647 h 405"/>
              <a:gd name="T72" fmla="*/ 2147483647 w 382"/>
              <a:gd name="T73" fmla="*/ 2147483647 h 405"/>
              <a:gd name="T74" fmla="*/ 2147483647 w 382"/>
              <a:gd name="T75" fmla="*/ 2147483647 h 405"/>
              <a:gd name="T76" fmla="*/ 2147483647 w 382"/>
              <a:gd name="T77" fmla="*/ 2147483647 h 405"/>
              <a:gd name="T78" fmla="*/ 2147483647 w 382"/>
              <a:gd name="T79" fmla="*/ 2147483647 h 405"/>
              <a:gd name="T80" fmla="*/ 2147483647 w 382"/>
              <a:gd name="T81" fmla="*/ 2147483647 h 405"/>
              <a:gd name="T82" fmla="*/ 2147483647 w 382"/>
              <a:gd name="T83" fmla="*/ 2147483647 h 405"/>
              <a:gd name="T84" fmla="*/ 2147483647 w 382"/>
              <a:gd name="T85" fmla="*/ 2147483647 h 405"/>
              <a:gd name="T86" fmla="*/ 2147483647 w 382"/>
              <a:gd name="T87" fmla="*/ 2147483647 h 405"/>
              <a:gd name="T88" fmla="*/ 2147483647 w 382"/>
              <a:gd name="T89" fmla="*/ 2147483647 h 405"/>
              <a:gd name="T90" fmla="*/ 2147483647 w 382"/>
              <a:gd name="T91" fmla="*/ 2147483647 h 405"/>
              <a:gd name="T92" fmla="*/ 2147483647 w 382"/>
              <a:gd name="T93" fmla="*/ 2147483647 h 405"/>
              <a:gd name="T94" fmla="*/ 2147483647 w 382"/>
              <a:gd name="T95" fmla="*/ 2147483647 h 405"/>
              <a:gd name="T96" fmla="*/ 2147483647 w 382"/>
              <a:gd name="T97" fmla="*/ 2147483647 h 405"/>
              <a:gd name="T98" fmla="*/ 2147483647 w 382"/>
              <a:gd name="T99" fmla="*/ 2147483647 h 405"/>
              <a:gd name="T100" fmla="*/ 2147483647 w 382"/>
              <a:gd name="T101" fmla="*/ 2147483647 h 405"/>
              <a:gd name="T102" fmla="*/ 2147483647 w 382"/>
              <a:gd name="T103" fmla="*/ 2147483647 h 405"/>
              <a:gd name="T104" fmla="*/ 2147483647 w 382"/>
              <a:gd name="T105" fmla="*/ 2147483647 h 4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82"/>
              <a:gd name="T160" fmla="*/ 0 h 405"/>
              <a:gd name="T161" fmla="*/ 382 w 382"/>
              <a:gd name="T162" fmla="*/ 405 h 40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82" h="405">
                <a:moveTo>
                  <a:pt x="347" y="257"/>
                </a:moveTo>
                <a:cubicBezTo>
                  <a:pt x="348" y="202"/>
                  <a:pt x="348" y="202"/>
                  <a:pt x="348" y="202"/>
                </a:cubicBezTo>
                <a:cubicBezTo>
                  <a:pt x="349" y="198"/>
                  <a:pt x="345" y="194"/>
                  <a:pt x="341" y="194"/>
                </a:cubicBezTo>
                <a:cubicBezTo>
                  <a:pt x="336" y="194"/>
                  <a:pt x="333" y="197"/>
                  <a:pt x="332" y="202"/>
                </a:cubicBezTo>
                <a:cubicBezTo>
                  <a:pt x="331" y="257"/>
                  <a:pt x="331" y="257"/>
                  <a:pt x="331" y="257"/>
                </a:cubicBezTo>
                <a:cubicBezTo>
                  <a:pt x="325" y="258"/>
                  <a:pt x="319" y="260"/>
                  <a:pt x="314" y="264"/>
                </a:cubicBezTo>
                <a:cubicBezTo>
                  <a:pt x="276" y="231"/>
                  <a:pt x="276" y="231"/>
                  <a:pt x="276" y="231"/>
                </a:cubicBezTo>
                <a:cubicBezTo>
                  <a:pt x="279" y="225"/>
                  <a:pt x="281" y="219"/>
                  <a:pt x="281" y="212"/>
                </a:cubicBezTo>
                <a:cubicBezTo>
                  <a:pt x="281" y="204"/>
                  <a:pt x="279" y="197"/>
                  <a:pt x="275" y="191"/>
                </a:cubicBezTo>
                <a:cubicBezTo>
                  <a:pt x="320" y="150"/>
                  <a:pt x="320" y="150"/>
                  <a:pt x="320" y="150"/>
                </a:cubicBezTo>
                <a:cubicBezTo>
                  <a:pt x="324" y="153"/>
                  <a:pt x="329" y="155"/>
                  <a:pt x="334" y="156"/>
                </a:cubicBezTo>
                <a:cubicBezTo>
                  <a:pt x="333" y="170"/>
                  <a:pt x="333" y="170"/>
                  <a:pt x="333" y="170"/>
                </a:cubicBezTo>
                <a:cubicBezTo>
                  <a:pt x="333" y="175"/>
                  <a:pt x="337" y="178"/>
                  <a:pt x="341" y="178"/>
                </a:cubicBezTo>
                <a:cubicBezTo>
                  <a:pt x="341" y="178"/>
                  <a:pt x="341" y="178"/>
                  <a:pt x="341" y="178"/>
                </a:cubicBezTo>
                <a:cubicBezTo>
                  <a:pt x="346" y="178"/>
                  <a:pt x="349" y="175"/>
                  <a:pt x="349" y="171"/>
                </a:cubicBezTo>
                <a:cubicBezTo>
                  <a:pt x="350" y="157"/>
                  <a:pt x="350" y="157"/>
                  <a:pt x="350" y="157"/>
                </a:cubicBezTo>
                <a:cubicBezTo>
                  <a:pt x="368" y="153"/>
                  <a:pt x="382" y="137"/>
                  <a:pt x="382" y="118"/>
                </a:cubicBezTo>
                <a:cubicBezTo>
                  <a:pt x="382" y="96"/>
                  <a:pt x="365" y="78"/>
                  <a:pt x="343" y="78"/>
                </a:cubicBezTo>
                <a:cubicBezTo>
                  <a:pt x="332" y="78"/>
                  <a:pt x="322" y="83"/>
                  <a:pt x="314" y="91"/>
                </a:cubicBezTo>
                <a:cubicBezTo>
                  <a:pt x="254" y="53"/>
                  <a:pt x="254" y="53"/>
                  <a:pt x="254" y="53"/>
                </a:cubicBezTo>
                <a:cubicBezTo>
                  <a:pt x="255" y="49"/>
                  <a:pt x="256" y="44"/>
                  <a:pt x="256" y="39"/>
                </a:cubicBezTo>
                <a:cubicBezTo>
                  <a:pt x="256" y="18"/>
                  <a:pt x="238" y="0"/>
                  <a:pt x="217" y="0"/>
                </a:cubicBezTo>
                <a:cubicBezTo>
                  <a:pt x="195" y="0"/>
                  <a:pt x="177" y="18"/>
                  <a:pt x="177" y="39"/>
                </a:cubicBezTo>
                <a:cubicBezTo>
                  <a:pt x="177" y="40"/>
                  <a:pt x="177" y="41"/>
                  <a:pt x="177" y="42"/>
                </a:cubicBezTo>
                <a:cubicBezTo>
                  <a:pt x="74" y="72"/>
                  <a:pt x="74" y="72"/>
                  <a:pt x="74" y="72"/>
                </a:cubicBezTo>
                <a:cubicBezTo>
                  <a:pt x="68" y="60"/>
                  <a:pt x="55" y="51"/>
                  <a:pt x="40" y="51"/>
                </a:cubicBezTo>
                <a:cubicBezTo>
                  <a:pt x="18" y="51"/>
                  <a:pt x="0" y="69"/>
                  <a:pt x="0" y="91"/>
                </a:cubicBezTo>
                <a:cubicBezTo>
                  <a:pt x="0" y="111"/>
                  <a:pt x="16" y="128"/>
                  <a:pt x="35" y="130"/>
                </a:cubicBezTo>
                <a:cubicBezTo>
                  <a:pt x="46" y="237"/>
                  <a:pt x="46" y="237"/>
                  <a:pt x="46" y="237"/>
                </a:cubicBezTo>
                <a:cubicBezTo>
                  <a:pt x="30" y="242"/>
                  <a:pt x="19" y="257"/>
                  <a:pt x="19" y="275"/>
                </a:cubicBezTo>
                <a:cubicBezTo>
                  <a:pt x="19" y="297"/>
                  <a:pt x="36" y="314"/>
                  <a:pt x="58" y="314"/>
                </a:cubicBezTo>
                <a:cubicBezTo>
                  <a:pt x="65" y="314"/>
                  <a:pt x="72" y="312"/>
                  <a:pt x="78" y="309"/>
                </a:cubicBezTo>
                <a:cubicBezTo>
                  <a:pt x="109" y="343"/>
                  <a:pt x="109" y="343"/>
                  <a:pt x="109" y="343"/>
                </a:cubicBezTo>
                <a:cubicBezTo>
                  <a:pt x="105" y="349"/>
                  <a:pt x="102" y="357"/>
                  <a:pt x="102" y="366"/>
                </a:cubicBezTo>
                <a:cubicBezTo>
                  <a:pt x="102" y="387"/>
                  <a:pt x="119" y="405"/>
                  <a:pt x="141" y="405"/>
                </a:cubicBezTo>
                <a:cubicBezTo>
                  <a:pt x="163" y="405"/>
                  <a:pt x="181" y="387"/>
                  <a:pt x="181" y="366"/>
                </a:cubicBezTo>
                <a:cubicBezTo>
                  <a:pt x="181" y="364"/>
                  <a:pt x="180" y="362"/>
                  <a:pt x="180" y="360"/>
                </a:cubicBezTo>
                <a:cubicBezTo>
                  <a:pt x="304" y="316"/>
                  <a:pt x="304" y="316"/>
                  <a:pt x="304" y="316"/>
                </a:cubicBezTo>
                <a:cubicBezTo>
                  <a:pt x="311" y="327"/>
                  <a:pt x="323" y="335"/>
                  <a:pt x="337" y="335"/>
                </a:cubicBezTo>
                <a:cubicBezTo>
                  <a:pt x="359" y="335"/>
                  <a:pt x="377" y="317"/>
                  <a:pt x="377" y="295"/>
                </a:cubicBezTo>
                <a:cubicBezTo>
                  <a:pt x="377" y="277"/>
                  <a:pt x="364" y="261"/>
                  <a:pt x="347" y="257"/>
                </a:cubicBezTo>
                <a:close/>
                <a:moveTo>
                  <a:pt x="343" y="94"/>
                </a:moveTo>
                <a:cubicBezTo>
                  <a:pt x="356" y="94"/>
                  <a:pt x="366" y="105"/>
                  <a:pt x="366" y="118"/>
                </a:cubicBezTo>
                <a:cubicBezTo>
                  <a:pt x="366" y="131"/>
                  <a:pt x="356" y="141"/>
                  <a:pt x="343" y="141"/>
                </a:cubicBezTo>
                <a:cubicBezTo>
                  <a:pt x="330" y="141"/>
                  <a:pt x="320" y="131"/>
                  <a:pt x="320" y="118"/>
                </a:cubicBezTo>
                <a:cubicBezTo>
                  <a:pt x="320" y="105"/>
                  <a:pt x="330" y="94"/>
                  <a:pt x="343" y="94"/>
                </a:cubicBezTo>
                <a:close/>
                <a:moveTo>
                  <a:pt x="309" y="138"/>
                </a:moveTo>
                <a:cubicBezTo>
                  <a:pt x="265" y="180"/>
                  <a:pt x="265" y="180"/>
                  <a:pt x="265" y="180"/>
                </a:cubicBezTo>
                <a:cubicBezTo>
                  <a:pt x="258" y="175"/>
                  <a:pt x="250" y="173"/>
                  <a:pt x="242" y="173"/>
                </a:cubicBezTo>
                <a:cubicBezTo>
                  <a:pt x="227" y="173"/>
                  <a:pt x="213" y="181"/>
                  <a:pt x="207" y="194"/>
                </a:cubicBezTo>
                <a:cubicBezTo>
                  <a:pt x="167" y="183"/>
                  <a:pt x="167" y="183"/>
                  <a:pt x="167" y="183"/>
                </a:cubicBezTo>
                <a:cubicBezTo>
                  <a:pt x="167" y="182"/>
                  <a:pt x="167" y="181"/>
                  <a:pt x="167" y="180"/>
                </a:cubicBezTo>
                <a:cubicBezTo>
                  <a:pt x="167" y="179"/>
                  <a:pt x="167" y="178"/>
                  <a:pt x="167" y="177"/>
                </a:cubicBezTo>
                <a:cubicBezTo>
                  <a:pt x="308" y="136"/>
                  <a:pt x="308" y="136"/>
                  <a:pt x="308" y="136"/>
                </a:cubicBezTo>
                <a:cubicBezTo>
                  <a:pt x="308" y="137"/>
                  <a:pt x="309" y="138"/>
                  <a:pt x="309" y="138"/>
                </a:cubicBezTo>
                <a:close/>
                <a:moveTo>
                  <a:pt x="265" y="212"/>
                </a:moveTo>
                <a:cubicBezTo>
                  <a:pt x="265" y="225"/>
                  <a:pt x="255" y="235"/>
                  <a:pt x="242" y="235"/>
                </a:cubicBezTo>
                <a:cubicBezTo>
                  <a:pt x="229" y="235"/>
                  <a:pt x="218" y="225"/>
                  <a:pt x="218" y="212"/>
                </a:cubicBezTo>
                <a:cubicBezTo>
                  <a:pt x="218" y="199"/>
                  <a:pt x="229" y="189"/>
                  <a:pt x="242" y="189"/>
                </a:cubicBezTo>
                <a:cubicBezTo>
                  <a:pt x="255" y="189"/>
                  <a:pt x="265" y="199"/>
                  <a:pt x="265" y="212"/>
                </a:cubicBezTo>
                <a:close/>
                <a:moveTo>
                  <a:pt x="143" y="273"/>
                </a:moveTo>
                <a:cubicBezTo>
                  <a:pt x="139" y="218"/>
                  <a:pt x="139" y="218"/>
                  <a:pt x="139" y="218"/>
                </a:cubicBezTo>
                <a:cubicBezTo>
                  <a:pt x="149" y="215"/>
                  <a:pt x="158" y="208"/>
                  <a:pt x="163" y="198"/>
                </a:cubicBezTo>
                <a:cubicBezTo>
                  <a:pt x="203" y="209"/>
                  <a:pt x="203" y="209"/>
                  <a:pt x="203" y="209"/>
                </a:cubicBezTo>
                <a:cubicBezTo>
                  <a:pt x="203" y="210"/>
                  <a:pt x="202" y="211"/>
                  <a:pt x="202" y="212"/>
                </a:cubicBezTo>
                <a:cubicBezTo>
                  <a:pt x="202" y="223"/>
                  <a:pt x="207" y="233"/>
                  <a:pt x="214" y="240"/>
                </a:cubicBezTo>
                <a:cubicBezTo>
                  <a:pt x="190" y="277"/>
                  <a:pt x="190" y="277"/>
                  <a:pt x="190" y="277"/>
                </a:cubicBezTo>
                <a:lnTo>
                  <a:pt x="143" y="273"/>
                </a:lnTo>
                <a:close/>
                <a:moveTo>
                  <a:pt x="180" y="292"/>
                </a:moveTo>
                <a:cubicBezTo>
                  <a:pt x="156" y="329"/>
                  <a:pt x="156" y="329"/>
                  <a:pt x="156" y="329"/>
                </a:cubicBezTo>
                <a:cubicBezTo>
                  <a:pt x="153" y="328"/>
                  <a:pt x="150" y="327"/>
                  <a:pt x="146" y="327"/>
                </a:cubicBezTo>
                <a:cubicBezTo>
                  <a:pt x="144" y="289"/>
                  <a:pt x="144" y="289"/>
                  <a:pt x="144" y="289"/>
                </a:cubicBezTo>
                <a:lnTo>
                  <a:pt x="180" y="292"/>
                </a:lnTo>
                <a:close/>
                <a:moveTo>
                  <a:pt x="128" y="204"/>
                </a:moveTo>
                <a:cubicBezTo>
                  <a:pt x="115" y="204"/>
                  <a:pt x="105" y="193"/>
                  <a:pt x="105" y="180"/>
                </a:cubicBezTo>
                <a:cubicBezTo>
                  <a:pt x="105" y="168"/>
                  <a:pt x="115" y="157"/>
                  <a:pt x="128" y="157"/>
                </a:cubicBezTo>
                <a:cubicBezTo>
                  <a:pt x="141" y="157"/>
                  <a:pt x="151" y="168"/>
                  <a:pt x="151" y="180"/>
                </a:cubicBezTo>
                <a:cubicBezTo>
                  <a:pt x="151" y="193"/>
                  <a:pt x="141" y="204"/>
                  <a:pt x="128" y="204"/>
                </a:cubicBezTo>
                <a:close/>
                <a:moveTo>
                  <a:pt x="217" y="16"/>
                </a:moveTo>
                <a:cubicBezTo>
                  <a:pt x="230" y="16"/>
                  <a:pt x="240" y="27"/>
                  <a:pt x="240" y="39"/>
                </a:cubicBezTo>
                <a:cubicBezTo>
                  <a:pt x="240" y="52"/>
                  <a:pt x="230" y="63"/>
                  <a:pt x="217" y="63"/>
                </a:cubicBezTo>
                <a:cubicBezTo>
                  <a:pt x="204" y="63"/>
                  <a:pt x="193" y="52"/>
                  <a:pt x="193" y="39"/>
                </a:cubicBezTo>
                <a:cubicBezTo>
                  <a:pt x="193" y="27"/>
                  <a:pt x="204" y="16"/>
                  <a:pt x="217" y="16"/>
                </a:cubicBezTo>
                <a:close/>
                <a:moveTo>
                  <a:pt x="202" y="76"/>
                </a:moveTo>
                <a:cubicBezTo>
                  <a:pt x="207" y="78"/>
                  <a:pt x="211" y="79"/>
                  <a:pt x="217" y="79"/>
                </a:cubicBezTo>
                <a:cubicBezTo>
                  <a:pt x="228" y="79"/>
                  <a:pt x="238" y="74"/>
                  <a:pt x="245" y="67"/>
                </a:cubicBezTo>
                <a:cubicBezTo>
                  <a:pt x="306" y="104"/>
                  <a:pt x="306" y="104"/>
                  <a:pt x="306" y="104"/>
                </a:cubicBezTo>
                <a:cubicBezTo>
                  <a:pt x="306" y="105"/>
                  <a:pt x="305" y="106"/>
                  <a:pt x="305" y="106"/>
                </a:cubicBezTo>
                <a:cubicBezTo>
                  <a:pt x="190" y="96"/>
                  <a:pt x="190" y="96"/>
                  <a:pt x="190" y="96"/>
                </a:cubicBezTo>
                <a:lnTo>
                  <a:pt x="202" y="76"/>
                </a:lnTo>
                <a:close/>
                <a:moveTo>
                  <a:pt x="300" y="122"/>
                </a:moveTo>
                <a:cubicBezTo>
                  <a:pt x="163" y="162"/>
                  <a:pt x="163" y="162"/>
                  <a:pt x="163" y="162"/>
                </a:cubicBezTo>
                <a:cubicBezTo>
                  <a:pt x="161" y="158"/>
                  <a:pt x="158" y="155"/>
                  <a:pt x="155" y="152"/>
                </a:cubicBezTo>
                <a:cubicBezTo>
                  <a:pt x="180" y="111"/>
                  <a:pt x="180" y="111"/>
                  <a:pt x="180" y="111"/>
                </a:cubicBezTo>
                <a:lnTo>
                  <a:pt x="300" y="122"/>
                </a:lnTo>
                <a:close/>
                <a:moveTo>
                  <a:pt x="182" y="58"/>
                </a:moveTo>
                <a:cubicBezTo>
                  <a:pt x="184" y="61"/>
                  <a:pt x="186" y="64"/>
                  <a:pt x="189" y="67"/>
                </a:cubicBezTo>
                <a:cubicBezTo>
                  <a:pt x="172" y="95"/>
                  <a:pt x="172" y="95"/>
                  <a:pt x="172" y="95"/>
                </a:cubicBezTo>
                <a:cubicBezTo>
                  <a:pt x="83" y="87"/>
                  <a:pt x="83" y="87"/>
                  <a:pt x="83" y="87"/>
                </a:cubicBezTo>
                <a:lnTo>
                  <a:pt x="182" y="58"/>
                </a:lnTo>
                <a:close/>
                <a:moveTo>
                  <a:pt x="77" y="102"/>
                </a:moveTo>
                <a:cubicBezTo>
                  <a:pt x="162" y="110"/>
                  <a:pt x="162" y="110"/>
                  <a:pt x="162" y="110"/>
                </a:cubicBezTo>
                <a:cubicBezTo>
                  <a:pt x="141" y="144"/>
                  <a:pt x="141" y="144"/>
                  <a:pt x="141" y="144"/>
                </a:cubicBezTo>
                <a:cubicBezTo>
                  <a:pt x="137" y="142"/>
                  <a:pt x="133" y="141"/>
                  <a:pt x="128" y="141"/>
                </a:cubicBezTo>
                <a:cubicBezTo>
                  <a:pt x="120" y="141"/>
                  <a:pt x="113" y="143"/>
                  <a:pt x="107" y="147"/>
                </a:cubicBezTo>
                <a:cubicBezTo>
                  <a:pt x="72" y="113"/>
                  <a:pt x="72" y="113"/>
                  <a:pt x="72" y="113"/>
                </a:cubicBezTo>
                <a:cubicBezTo>
                  <a:pt x="74" y="109"/>
                  <a:pt x="76" y="106"/>
                  <a:pt x="77" y="102"/>
                </a:cubicBezTo>
                <a:close/>
                <a:moveTo>
                  <a:pt x="95" y="159"/>
                </a:moveTo>
                <a:cubicBezTo>
                  <a:pt x="91" y="165"/>
                  <a:pt x="89" y="172"/>
                  <a:pt x="89" y="180"/>
                </a:cubicBezTo>
                <a:cubicBezTo>
                  <a:pt x="89" y="191"/>
                  <a:pt x="92" y="200"/>
                  <a:pt x="99" y="207"/>
                </a:cubicBezTo>
                <a:cubicBezTo>
                  <a:pt x="75" y="239"/>
                  <a:pt x="75" y="239"/>
                  <a:pt x="75" y="239"/>
                </a:cubicBezTo>
                <a:cubicBezTo>
                  <a:pt x="71" y="237"/>
                  <a:pt x="67" y="236"/>
                  <a:pt x="62" y="236"/>
                </a:cubicBezTo>
                <a:cubicBezTo>
                  <a:pt x="51" y="128"/>
                  <a:pt x="51" y="128"/>
                  <a:pt x="51" y="128"/>
                </a:cubicBezTo>
                <a:cubicBezTo>
                  <a:pt x="55" y="127"/>
                  <a:pt x="58" y="126"/>
                  <a:pt x="61" y="124"/>
                </a:cubicBezTo>
                <a:lnTo>
                  <a:pt x="95" y="159"/>
                </a:lnTo>
                <a:close/>
                <a:moveTo>
                  <a:pt x="40" y="114"/>
                </a:moveTo>
                <a:cubicBezTo>
                  <a:pt x="27" y="114"/>
                  <a:pt x="16" y="104"/>
                  <a:pt x="16" y="91"/>
                </a:cubicBezTo>
                <a:cubicBezTo>
                  <a:pt x="16" y="78"/>
                  <a:pt x="27" y="67"/>
                  <a:pt x="40" y="67"/>
                </a:cubicBezTo>
                <a:cubicBezTo>
                  <a:pt x="52" y="67"/>
                  <a:pt x="63" y="78"/>
                  <a:pt x="63" y="91"/>
                </a:cubicBezTo>
                <a:cubicBezTo>
                  <a:pt x="63" y="104"/>
                  <a:pt x="52" y="114"/>
                  <a:pt x="40" y="114"/>
                </a:cubicBezTo>
                <a:close/>
                <a:moveTo>
                  <a:pt x="58" y="298"/>
                </a:moveTo>
                <a:cubicBezTo>
                  <a:pt x="45" y="298"/>
                  <a:pt x="35" y="288"/>
                  <a:pt x="35" y="275"/>
                </a:cubicBezTo>
                <a:cubicBezTo>
                  <a:pt x="35" y="262"/>
                  <a:pt x="45" y="252"/>
                  <a:pt x="58" y="252"/>
                </a:cubicBezTo>
                <a:cubicBezTo>
                  <a:pt x="71" y="252"/>
                  <a:pt x="81" y="262"/>
                  <a:pt x="81" y="275"/>
                </a:cubicBezTo>
                <a:cubicBezTo>
                  <a:pt x="81" y="288"/>
                  <a:pt x="71" y="298"/>
                  <a:pt x="58" y="298"/>
                </a:cubicBezTo>
                <a:close/>
                <a:moveTo>
                  <a:pt x="112" y="216"/>
                </a:moveTo>
                <a:cubicBezTo>
                  <a:pt x="115" y="218"/>
                  <a:pt x="119" y="219"/>
                  <a:pt x="123" y="219"/>
                </a:cubicBezTo>
                <a:cubicBezTo>
                  <a:pt x="126" y="272"/>
                  <a:pt x="126" y="272"/>
                  <a:pt x="126" y="272"/>
                </a:cubicBezTo>
                <a:cubicBezTo>
                  <a:pt x="97" y="270"/>
                  <a:pt x="97" y="270"/>
                  <a:pt x="97" y="270"/>
                </a:cubicBezTo>
                <a:cubicBezTo>
                  <a:pt x="96" y="262"/>
                  <a:pt x="93" y="255"/>
                  <a:pt x="87" y="249"/>
                </a:cubicBezTo>
                <a:lnTo>
                  <a:pt x="112" y="216"/>
                </a:lnTo>
                <a:close/>
                <a:moveTo>
                  <a:pt x="90" y="298"/>
                </a:moveTo>
                <a:cubicBezTo>
                  <a:pt x="93" y="294"/>
                  <a:pt x="95" y="290"/>
                  <a:pt x="96" y="286"/>
                </a:cubicBezTo>
                <a:cubicBezTo>
                  <a:pt x="128" y="288"/>
                  <a:pt x="128" y="288"/>
                  <a:pt x="128" y="288"/>
                </a:cubicBezTo>
                <a:cubicBezTo>
                  <a:pt x="130" y="328"/>
                  <a:pt x="130" y="328"/>
                  <a:pt x="130" y="328"/>
                </a:cubicBezTo>
                <a:cubicBezTo>
                  <a:pt x="127" y="329"/>
                  <a:pt x="124" y="330"/>
                  <a:pt x="121" y="332"/>
                </a:cubicBezTo>
                <a:lnTo>
                  <a:pt x="90" y="298"/>
                </a:lnTo>
                <a:close/>
                <a:moveTo>
                  <a:pt x="141" y="389"/>
                </a:moveTo>
                <a:cubicBezTo>
                  <a:pt x="128" y="389"/>
                  <a:pt x="118" y="379"/>
                  <a:pt x="118" y="366"/>
                </a:cubicBezTo>
                <a:cubicBezTo>
                  <a:pt x="118" y="353"/>
                  <a:pt x="128" y="342"/>
                  <a:pt x="141" y="342"/>
                </a:cubicBezTo>
                <a:cubicBezTo>
                  <a:pt x="154" y="342"/>
                  <a:pt x="165" y="353"/>
                  <a:pt x="165" y="366"/>
                </a:cubicBezTo>
                <a:cubicBezTo>
                  <a:pt x="165" y="379"/>
                  <a:pt x="154" y="389"/>
                  <a:pt x="141" y="389"/>
                </a:cubicBezTo>
                <a:close/>
                <a:moveTo>
                  <a:pt x="175" y="345"/>
                </a:moveTo>
                <a:cubicBezTo>
                  <a:pt x="173" y="343"/>
                  <a:pt x="171" y="340"/>
                  <a:pt x="169" y="338"/>
                </a:cubicBezTo>
                <a:cubicBezTo>
                  <a:pt x="198" y="293"/>
                  <a:pt x="198" y="293"/>
                  <a:pt x="198" y="293"/>
                </a:cubicBezTo>
                <a:cubicBezTo>
                  <a:pt x="299" y="301"/>
                  <a:pt x="299" y="301"/>
                  <a:pt x="299" y="301"/>
                </a:cubicBezTo>
                <a:cubicBezTo>
                  <a:pt x="299" y="301"/>
                  <a:pt x="299" y="301"/>
                  <a:pt x="299" y="301"/>
                </a:cubicBezTo>
                <a:lnTo>
                  <a:pt x="175" y="345"/>
                </a:lnTo>
                <a:close/>
                <a:moveTo>
                  <a:pt x="300" y="285"/>
                </a:moveTo>
                <a:cubicBezTo>
                  <a:pt x="208" y="278"/>
                  <a:pt x="208" y="278"/>
                  <a:pt x="208" y="278"/>
                </a:cubicBezTo>
                <a:cubicBezTo>
                  <a:pt x="227" y="248"/>
                  <a:pt x="227" y="248"/>
                  <a:pt x="227" y="248"/>
                </a:cubicBezTo>
                <a:cubicBezTo>
                  <a:pt x="232" y="250"/>
                  <a:pt x="237" y="251"/>
                  <a:pt x="242" y="251"/>
                </a:cubicBezTo>
                <a:cubicBezTo>
                  <a:pt x="251" y="251"/>
                  <a:pt x="259" y="248"/>
                  <a:pt x="266" y="243"/>
                </a:cubicBezTo>
                <a:cubicBezTo>
                  <a:pt x="303" y="276"/>
                  <a:pt x="303" y="276"/>
                  <a:pt x="303" y="276"/>
                </a:cubicBezTo>
                <a:cubicBezTo>
                  <a:pt x="302" y="279"/>
                  <a:pt x="301" y="282"/>
                  <a:pt x="300" y="285"/>
                </a:cubicBezTo>
                <a:close/>
                <a:moveTo>
                  <a:pt x="337" y="319"/>
                </a:moveTo>
                <a:cubicBezTo>
                  <a:pt x="325" y="319"/>
                  <a:pt x="314" y="308"/>
                  <a:pt x="314" y="295"/>
                </a:cubicBezTo>
                <a:cubicBezTo>
                  <a:pt x="314" y="282"/>
                  <a:pt x="325" y="272"/>
                  <a:pt x="337" y="272"/>
                </a:cubicBezTo>
                <a:cubicBezTo>
                  <a:pt x="350" y="272"/>
                  <a:pt x="361" y="282"/>
                  <a:pt x="361" y="295"/>
                </a:cubicBezTo>
                <a:cubicBezTo>
                  <a:pt x="361" y="308"/>
                  <a:pt x="350" y="319"/>
                  <a:pt x="337" y="319"/>
                </a:cubicBezTo>
                <a:close/>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39" name="TextBox 1"/>
          <p:cNvSpPr txBox="1">
            <a:spLocks noChangeArrowheads="1"/>
          </p:cNvSpPr>
          <p:nvPr/>
        </p:nvSpPr>
        <p:spPr bwMode="auto">
          <a:xfrm>
            <a:off x="5076879" y="2966018"/>
            <a:ext cx="1480465" cy="658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100">
                <a:solidFill>
                  <a:schemeClr val="tx1"/>
                </a:solidFill>
                <a:latin typeface="Arial" pitchFamily="34" charset="0"/>
                <a:cs typeface="Arial" pitchFamily="34" charset="0"/>
              </a:defRPr>
            </a:lvl1pPr>
            <a:lvl2pPr marL="742950" indent="-285750" eaLnBrk="0" hangingPunct="0">
              <a:defRPr sz="2100">
                <a:solidFill>
                  <a:schemeClr val="tx1"/>
                </a:solidFill>
                <a:latin typeface="Arial" pitchFamily="34" charset="0"/>
                <a:cs typeface="Arial" pitchFamily="34" charset="0"/>
              </a:defRPr>
            </a:lvl2pPr>
            <a:lvl3pPr marL="1143000" indent="-228600" eaLnBrk="0" hangingPunct="0">
              <a:defRPr sz="2100">
                <a:solidFill>
                  <a:schemeClr val="tx1"/>
                </a:solidFill>
                <a:latin typeface="Arial" pitchFamily="34" charset="0"/>
                <a:cs typeface="Arial" pitchFamily="34" charset="0"/>
              </a:defRPr>
            </a:lvl3pPr>
            <a:lvl4pPr marL="1600200" indent="-228600" eaLnBrk="0" hangingPunct="0">
              <a:defRPr sz="2100">
                <a:solidFill>
                  <a:schemeClr val="tx1"/>
                </a:solidFill>
                <a:latin typeface="Arial" pitchFamily="34" charset="0"/>
                <a:cs typeface="Arial" pitchFamily="34" charset="0"/>
              </a:defRPr>
            </a:lvl4pPr>
            <a:lvl5pPr marL="2057400" indent="-228600" eaLnBrk="0" hangingPunct="0">
              <a:defRPr sz="21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1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1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1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100">
                <a:solidFill>
                  <a:schemeClr val="tx1"/>
                </a:solidFill>
                <a:latin typeface="Arial" pitchFamily="34" charset="0"/>
                <a:cs typeface="Arial" pitchFamily="34" charset="0"/>
              </a:defRPr>
            </a:lvl9pPr>
          </a:lstStyle>
          <a:p>
            <a:pPr algn="ctr" eaLnBrk="1" hangingPunct="1"/>
            <a:r>
              <a:rPr lang="en-US" sz="1800">
                <a:solidFill>
                  <a:srgbClr val="F08A00"/>
                </a:solidFill>
              </a:rPr>
              <a:t>NETWORK</a:t>
            </a:r>
            <a:br>
              <a:rPr lang="en-US" sz="1800">
                <a:solidFill>
                  <a:srgbClr val="F08A00"/>
                </a:solidFill>
              </a:rPr>
            </a:br>
            <a:r>
              <a:rPr lang="en-US" sz="1600">
                <a:solidFill>
                  <a:srgbClr val="F08A00"/>
                </a:solidFill>
              </a:rPr>
              <a:t>AGILITY</a:t>
            </a:r>
          </a:p>
        </p:txBody>
      </p:sp>
      <p:sp>
        <p:nvSpPr>
          <p:cNvPr id="40" name="TextBox 17"/>
          <p:cNvSpPr txBox="1">
            <a:spLocks noChangeArrowheads="1"/>
          </p:cNvSpPr>
          <p:nvPr/>
        </p:nvSpPr>
        <p:spPr bwMode="auto">
          <a:xfrm>
            <a:off x="2912927" y="2966238"/>
            <a:ext cx="1339896" cy="658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100">
                <a:solidFill>
                  <a:schemeClr val="tx1"/>
                </a:solidFill>
                <a:latin typeface="Arial" pitchFamily="34" charset="0"/>
                <a:cs typeface="Arial" pitchFamily="34" charset="0"/>
              </a:defRPr>
            </a:lvl1pPr>
            <a:lvl2pPr marL="742950" indent="-285750" eaLnBrk="0" hangingPunct="0">
              <a:defRPr sz="2100">
                <a:solidFill>
                  <a:schemeClr val="tx1"/>
                </a:solidFill>
                <a:latin typeface="Arial" pitchFamily="34" charset="0"/>
                <a:cs typeface="Arial" pitchFamily="34" charset="0"/>
              </a:defRPr>
            </a:lvl2pPr>
            <a:lvl3pPr marL="1143000" indent="-228600" eaLnBrk="0" hangingPunct="0">
              <a:defRPr sz="2100">
                <a:solidFill>
                  <a:schemeClr val="tx1"/>
                </a:solidFill>
                <a:latin typeface="Arial" pitchFamily="34" charset="0"/>
                <a:cs typeface="Arial" pitchFamily="34" charset="0"/>
              </a:defRPr>
            </a:lvl3pPr>
            <a:lvl4pPr marL="1600200" indent="-228600" eaLnBrk="0" hangingPunct="0">
              <a:defRPr sz="2100">
                <a:solidFill>
                  <a:schemeClr val="tx1"/>
                </a:solidFill>
                <a:latin typeface="Arial" pitchFamily="34" charset="0"/>
                <a:cs typeface="Arial" pitchFamily="34" charset="0"/>
              </a:defRPr>
            </a:lvl4pPr>
            <a:lvl5pPr marL="2057400" indent="-228600" eaLnBrk="0" hangingPunct="0">
              <a:defRPr sz="21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1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1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1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100">
                <a:solidFill>
                  <a:schemeClr val="tx1"/>
                </a:solidFill>
                <a:latin typeface="Arial" pitchFamily="34" charset="0"/>
                <a:cs typeface="Arial" pitchFamily="34" charset="0"/>
              </a:defRPr>
            </a:lvl9pPr>
          </a:lstStyle>
          <a:p>
            <a:pPr algn="ctr" eaLnBrk="1" hangingPunct="1"/>
            <a:r>
              <a:rPr lang="en-US" sz="1800">
                <a:solidFill>
                  <a:srgbClr val="00A9D4"/>
                </a:solidFill>
              </a:rPr>
              <a:t>SERVICE </a:t>
            </a:r>
            <a:r>
              <a:rPr lang="en-US" sz="1600">
                <a:solidFill>
                  <a:srgbClr val="00A9D4"/>
                </a:solidFill>
              </a:rPr>
              <a:t>AGILITY</a:t>
            </a:r>
          </a:p>
        </p:txBody>
      </p:sp>
      <p:sp>
        <p:nvSpPr>
          <p:cNvPr id="41" name="Freeform 3"/>
          <p:cNvSpPr>
            <a:spLocks noChangeAspect="1" noEditPoints="1"/>
          </p:cNvSpPr>
          <p:nvPr/>
        </p:nvSpPr>
        <p:spPr bwMode="auto">
          <a:xfrm>
            <a:off x="2964005" y="1620426"/>
            <a:ext cx="1231668" cy="1230824"/>
          </a:xfrm>
          <a:custGeom>
            <a:avLst/>
            <a:gdLst>
              <a:gd name="T0" fmla="*/ 2147483647 w 380"/>
              <a:gd name="T1" fmla="*/ 2147483647 h 380"/>
              <a:gd name="T2" fmla="*/ 2147483647 w 380"/>
              <a:gd name="T3" fmla="*/ 2147483647 h 380"/>
              <a:gd name="T4" fmla="*/ 2147483647 w 380"/>
              <a:gd name="T5" fmla="*/ 2147483647 h 380"/>
              <a:gd name="T6" fmla="*/ 2147483647 w 380"/>
              <a:gd name="T7" fmla="*/ 2147483647 h 380"/>
              <a:gd name="T8" fmla="*/ 2147483647 w 380"/>
              <a:gd name="T9" fmla="*/ 2147483647 h 380"/>
              <a:gd name="T10" fmla="*/ 2147483647 w 380"/>
              <a:gd name="T11" fmla="*/ 2147483647 h 380"/>
              <a:gd name="T12" fmla="*/ 2147483647 w 380"/>
              <a:gd name="T13" fmla="*/ 2147483647 h 380"/>
              <a:gd name="T14" fmla="*/ 2147483647 w 380"/>
              <a:gd name="T15" fmla="*/ 2147483647 h 380"/>
              <a:gd name="T16" fmla="*/ 2147483647 w 380"/>
              <a:gd name="T17" fmla="*/ 2147483647 h 380"/>
              <a:gd name="T18" fmla="*/ 2147483647 w 380"/>
              <a:gd name="T19" fmla="*/ 2147483647 h 380"/>
              <a:gd name="T20" fmla="*/ 2147483647 w 380"/>
              <a:gd name="T21" fmla="*/ 2147483647 h 380"/>
              <a:gd name="T22" fmla="*/ 2147483647 w 380"/>
              <a:gd name="T23" fmla="*/ 2147483647 h 380"/>
              <a:gd name="T24" fmla="*/ 2147483647 w 380"/>
              <a:gd name="T25" fmla="*/ 2147483647 h 380"/>
              <a:gd name="T26" fmla="*/ 2147483647 w 380"/>
              <a:gd name="T27" fmla="*/ 2147483647 h 380"/>
              <a:gd name="T28" fmla="*/ 2147483647 w 380"/>
              <a:gd name="T29" fmla="*/ 2147483647 h 380"/>
              <a:gd name="T30" fmla="*/ 2147483647 w 380"/>
              <a:gd name="T31" fmla="*/ 2147483647 h 380"/>
              <a:gd name="T32" fmla="*/ 2147483647 w 380"/>
              <a:gd name="T33" fmla="*/ 2147483647 h 380"/>
              <a:gd name="T34" fmla="*/ 2147483647 w 380"/>
              <a:gd name="T35" fmla="*/ 2147483647 h 380"/>
              <a:gd name="T36" fmla="*/ 2147483647 w 380"/>
              <a:gd name="T37" fmla="*/ 2147483647 h 380"/>
              <a:gd name="T38" fmla="*/ 2147483647 w 380"/>
              <a:gd name="T39" fmla="*/ 2147483647 h 380"/>
              <a:gd name="T40" fmla="*/ 2147483647 w 380"/>
              <a:gd name="T41" fmla="*/ 0 h 380"/>
              <a:gd name="T42" fmla="*/ 2147483647 w 380"/>
              <a:gd name="T43" fmla="*/ 2147483647 h 380"/>
              <a:gd name="T44" fmla="*/ 2147483647 w 380"/>
              <a:gd name="T45" fmla="*/ 2147483647 h 380"/>
              <a:gd name="T46" fmla="*/ 2147483647 w 380"/>
              <a:gd name="T47" fmla="*/ 2147483647 h 380"/>
              <a:gd name="T48" fmla="*/ 2147483647 w 380"/>
              <a:gd name="T49" fmla="*/ 2147483647 h 380"/>
              <a:gd name="T50" fmla="*/ 2147483647 w 380"/>
              <a:gd name="T51" fmla="*/ 2147483647 h 380"/>
              <a:gd name="T52" fmla="*/ 2147483647 w 380"/>
              <a:gd name="T53" fmla="*/ 2147483647 h 380"/>
              <a:gd name="T54" fmla="*/ 2147483647 w 380"/>
              <a:gd name="T55" fmla="*/ 2147483647 h 380"/>
              <a:gd name="T56" fmla="*/ 2147483647 w 380"/>
              <a:gd name="T57" fmla="*/ 2147483647 h 380"/>
              <a:gd name="T58" fmla="*/ 2147483647 w 380"/>
              <a:gd name="T59" fmla="*/ 2147483647 h 380"/>
              <a:gd name="T60" fmla="*/ 2147483647 w 380"/>
              <a:gd name="T61" fmla="*/ 2147483647 h 380"/>
              <a:gd name="T62" fmla="*/ 2147483647 w 380"/>
              <a:gd name="T63" fmla="*/ 2147483647 h 380"/>
              <a:gd name="T64" fmla="*/ 2147483647 w 380"/>
              <a:gd name="T65" fmla="*/ 2147483647 h 380"/>
              <a:gd name="T66" fmla="*/ 2147483647 w 380"/>
              <a:gd name="T67" fmla="*/ 2147483647 h 380"/>
              <a:gd name="T68" fmla="*/ 2147483647 w 380"/>
              <a:gd name="T69" fmla="*/ 2147483647 h 380"/>
              <a:gd name="T70" fmla="*/ 2147483647 w 380"/>
              <a:gd name="T71" fmla="*/ 2147483647 h 380"/>
              <a:gd name="T72" fmla="*/ 2147483647 w 380"/>
              <a:gd name="T73" fmla="*/ 2147483647 h 380"/>
              <a:gd name="T74" fmla="*/ 2147483647 w 380"/>
              <a:gd name="T75" fmla="*/ 2147483647 h 380"/>
              <a:gd name="T76" fmla="*/ 2147483647 w 380"/>
              <a:gd name="T77" fmla="*/ 2147483647 h 380"/>
              <a:gd name="T78" fmla="*/ 2147483647 w 380"/>
              <a:gd name="T79" fmla="*/ 2147483647 h 380"/>
              <a:gd name="T80" fmla="*/ 2147483647 w 380"/>
              <a:gd name="T81" fmla="*/ 2147483647 h 380"/>
              <a:gd name="T82" fmla="*/ 2147483647 w 380"/>
              <a:gd name="T83" fmla="*/ 2147483647 h 380"/>
              <a:gd name="T84" fmla="*/ 2147483647 w 380"/>
              <a:gd name="T85" fmla="*/ 2147483647 h 380"/>
              <a:gd name="T86" fmla="*/ 2147483647 w 380"/>
              <a:gd name="T87" fmla="*/ 2147483647 h 380"/>
              <a:gd name="T88" fmla="*/ 2147483647 w 380"/>
              <a:gd name="T89" fmla="*/ 2147483647 h 380"/>
              <a:gd name="T90" fmla="*/ 2147483647 w 380"/>
              <a:gd name="T91" fmla="*/ 2147483647 h 380"/>
              <a:gd name="T92" fmla="*/ 2147483647 w 380"/>
              <a:gd name="T93" fmla="*/ 2147483647 h 380"/>
              <a:gd name="T94" fmla="*/ 2147483647 w 380"/>
              <a:gd name="T95" fmla="*/ 2147483647 h 380"/>
              <a:gd name="T96" fmla="*/ 2147483647 w 380"/>
              <a:gd name="T97" fmla="*/ 2147483647 h 380"/>
              <a:gd name="T98" fmla="*/ 2147483647 w 380"/>
              <a:gd name="T99" fmla="*/ 2147483647 h 380"/>
              <a:gd name="T100" fmla="*/ 2147483647 w 380"/>
              <a:gd name="T101" fmla="*/ 2147483647 h 380"/>
              <a:gd name="T102" fmla="*/ 2147483647 w 380"/>
              <a:gd name="T103" fmla="*/ 2147483647 h 380"/>
              <a:gd name="T104" fmla="*/ 2147483647 w 380"/>
              <a:gd name="T105" fmla="*/ 2147483647 h 380"/>
              <a:gd name="T106" fmla="*/ 2147483647 w 380"/>
              <a:gd name="T107" fmla="*/ 2147483647 h 380"/>
              <a:gd name="T108" fmla="*/ 2147483647 w 380"/>
              <a:gd name="T109" fmla="*/ 2147483647 h 380"/>
              <a:gd name="T110" fmla="*/ 2147483647 w 380"/>
              <a:gd name="T111" fmla="*/ 2147483647 h 380"/>
              <a:gd name="T112" fmla="*/ 2147483647 w 380"/>
              <a:gd name="T113" fmla="*/ 2147483647 h 380"/>
              <a:gd name="T114" fmla="*/ 2147483647 w 380"/>
              <a:gd name="T115" fmla="*/ 2147483647 h 380"/>
              <a:gd name="T116" fmla="*/ 2147483647 w 380"/>
              <a:gd name="T117" fmla="*/ 2147483647 h 380"/>
              <a:gd name="T118" fmla="*/ 2147483647 w 380"/>
              <a:gd name="T119" fmla="*/ 2147483647 h 380"/>
              <a:gd name="T120" fmla="*/ 2147483647 w 380"/>
              <a:gd name="T121" fmla="*/ 2147483647 h 380"/>
              <a:gd name="T122" fmla="*/ 2147483647 w 380"/>
              <a:gd name="T123" fmla="*/ 2147483647 h 3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80" h="380">
                <a:moveTo>
                  <a:pt x="310" y="136"/>
                </a:moveTo>
                <a:cubicBezTo>
                  <a:pt x="309" y="134"/>
                  <a:pt x="309" y="134"/>
                  <a:pt x="309" y="134"/>
                </a:cubicBezTo>
                <a:cubicBezTo>
                  <a:pt x="308" y="132"/>
                  <a:pt x="306" y="132"/>
                  <a:pt x="304" y="133"/>
                </a:cubicBezTo>
                <a:cubicBezTo>
                  <a:pt x="302" y="134"/>
                  <a:pt x="302" y="134"/>
                  <a:pt x="302" y="134"/>
                </a:cubicBezTo>
                <a:cubicBezTo>
                  <a:pt x="300" y="132"/>
                  <a:pt x="297" y="130"/>
                  <a:pt x="294" y="129"/>
                </a:cubicBezTo>
                <a:cubicBezTo>
                  <a:pt x="294" y="126"/>
                  <a:pt x="294" y="126"/>
                  <a:pt x="294" y="126"/>
                </a:cubicBezTo>
                <a:cubicBezTo>
                  <a:pt x="294" y="124"/>
                  <a:pt x="292" y="123"/>
                  <a:pt x="290" y="123"/>
                </a:cubicBezTo>
                <a:cubicBezTo>
                  <a:pt x="288" y="123"/>
                  <a:pt x="288" y="123"/>
                  <a:pt x="288" y="123"/>
                </a:cubicBezTo>
                <a:cubicBezTo>
                  <a:pt x="286" y="123"/>
                  <a:pt x="284" y="124"/>
                  <a:pt x="284" y="126"/>
                </a:cubicBezTo>
                <a:cubicBezTo>
                  <a:pt x="284" y="129"/>
                  <a:pt x="284" y="129"/>
                  <a:pt x="284" y="129"/>
                </a:cubicBezTo>
                <a:cubicBezTo>
                  <a:pt x="282" y="129"/>
                  <a:pt x="281" y="130"/>
                  <a:pt x="279" y="130"/>
                </a:cubicBezTo>
                <a:cubicBezTo>
                  <a:pt x="278" y="131"/>
                  <a:pt x="277" y="132"/>
                  <a:pt x="275" y="133"/>
                </a:cubicBezTo>
                <a:cubicBezTo>
                  <a:pt x="273" y="132"/>
                  <a:pt x="273" y="132"/>
                  <a:pt x="273" y="132"/>
                </a:cubicBezTo>
                <a:cubicBezTo>
                  <a:pt x="272" y="131"/>
                  <a:pt x="269" y="132"/>
                  <a:pt x="268" y="133"/>
                </a:cubicBezTo>
                <a:cubicBezTo>
                  <a:pt x="267" y="135"/>
                  <a:pt x="267" y="135"/>
                  <a:pt x="267" y="135"/>
                </a:cubicBezTo>
                <a:cubicBezTo>
                  <a:pt x="266" y="137"/>
                  <a:pt x="266" y="140"/>
                  <a:pt x="268" y="141"/>
                </a:cubicBezTo>
                <a:cubicBezTo>
                  <a:pt x="270" y="142"/>
                  <a:pt x="270" y="142"/>
                  <a:pt x="270" y="142"/>
                </a:cubicBezTo>
                <a:cubicBezTo>
                  <a:pt x="270" y="145"/>
                  <a:pt x="269" y="148"/>
                  <a:pt x="270" y="151"/>
                </a:cubicBezTo>
                <a:cubicBezTo>
                  <a:pt x="268" y="153"/>
                  <a:pt x="268" y="153"/>
                  <a:pt x="268" y="153"/>
                </a:cubicBezTo>
                <a:cubicBezTo>
                  <a:pt x="266" y="154"/>
                  <a:pt x="266" y="156"/>
                  <a:pt x="267" y="158"/>
                </a:cubicBezTo>
                <a:cubicBezTo>
                  <a:pt x="267" y="159"/>
                  <a:pt x="267" y="159"/>
                  <a:pt x="267" y="159"/>
                </a:cubicBezTo>
                <a:cubicBezTo>
                  <a:pt x="268" y="161"/>
                  <a:pt x="271" y="162"/>
                  <a:pt x="272" y="161"/>
                </a:cubicBezTo>
                <a:cubicBezTo>
                  <a:pt x="275" y="159"/>
                  <a:pt x="275" y="159"/>
                  <a:pt x="275" y="159"/>
                </a:cubicBezTo>
                <a:cubicBezTo>
                  <a:pt x="277" y="162"/>
                  <a:pt x="280" y="163"/>
                  <a:pt x="283" y="164"/>
                </a:cubicBezTo>
                <a:cubicBezTo>
                  <a:pt x="283" y="167"/>
                  <a:pt x="283" y="167"/>
                  <a:pt x="283" y="167"/>
                </a:cubicBezTo>
                <a:cubicBezTo>
                  <a:pt x="283" y="169"/>
                  <a:pt x="284" y="170"/>
                  <a:pt x="286" y="171"/>
                </a:cubicBezTo>
                <a:cubicBezTo>
                  <a:pt x="289" y="171"/>
                  <a:pt x="289" y="171"/>
                  <a:pt x="289" y="171"/>
                </a:cubicBezTo>
                <a:cubicBezTo>
                  <a:pt x="291" y="171"/>
                  <a:pt x="293" y="169"/>
                  <a:pt x="293" y="167"/>
                </a:cubicBezTo>
                <a:cubicBezTo>
                  <a:pt x="293" y="165"/>
                  <a:pt x="293" y="165"/>
                  <a:pt x="293" y="165"/>
                </a:cubicBezTo>
                <a:cubicBezTo>
                  <a:pt x="294" y="164"/>
                  <a:pt x="296" y="164"/>
                  <a:pt x="297" y="163"/>
                </a:cubicBezTo>
                <a:cubicBezTo>
                  <a:pt x="299" y="162"/>
                  <a:pt x="300" y="161"/>
                  <a:pt x="301" y="160"/>
                </a:cubicBezTo>
                <a:cubicBezTo>
                  <a:pt x="303" y="161"/>
                  <a:pt x="303" y="161"/>
                  <a:pt x="303" y="161"/>
                </a:cubicBezTo>
                <a:cubicBezTo>
                  <a:pt x="305" y="162"/>
                  <a:pt x="307" y="162"/>
                  <a:pt x="308" y="160"/>
                </a:cubicBezTo>
                <a:cubicBezTo>
                  <a:pt x="309" y="158"/>
                  <a:pt x="309" y="158"/>
                  <a:pt x="309" y="158"/>
                </a:cubicBezTo>
                <a:cubicBezTo>
                  <a:pt x="311" y="156"/>
                  <a:pt x="310" y="154"/>
                  <a:pt x="308" y="153"/>
                </a:cubicBezTo>
                <a:cubicBezTo>
                  <a:pt x="306" y="151"/>
                  <a:pt x="306" y="151"/>
                  <a:pt x="306" y="151"/>
                </a:cubicBezTo>
                <a:cubicBezTo>
                  <a:pt x="307" y="148"/>
                  <a:pt x="307" y="145"/>
                  <a:pt x="306" y="142"/>
                </a:cubicBezTo>
                <a:cubicBezTo>
                  <a:pt x="308" y="141"/>
                  <a:pt x="308" y="141"/>
                  <a:pt x="308" y="141"/>
                </a:cubicBezTo>
                <a:cubicBezTo>
                  <a:pt x="310" y="140"/>
                  <a:pt x="311" y="137"/>
                  <a:pt x="310" y="136"/>
                </a:cubicBezTo>
                <a:close/>
                <a:moveTo>
                  <a:pt x="296" y="153"/>
                </a:moveTo>
                <a:cubicBezTo>
                  <a:pt x="293" y="158"/>
                  <a:pt x="286" y="158"/>
                  <a:pt x="281" y="155"/>
                </a:cubicBezTo>
                <a:cubicBezTo>
                  <a:pt x="277" y="151"/>
                  <a:pt x="276" y="144"/>
                  <a:pt x="280" y="140"/>
                </a:cubicBezTo>
                <a:cubicBezTo>
                  <a:pt x="284" y="135"/>
                  <a:pt x="291" y="135"/>
                  <a:pt x="295" y="138"/>
                </a:cubicBezTo>
                <a:cubicBezTo>
                  <a:pt x="300" y="142"/>
                  <a:pt x="300" y="149"/>
                  <a:pt x="296" y="153"/>
                </a:cubicBezTo>
                <a:close/>
                <a:moveTo>
                  <a:pt x="336" y="68"/>
                </a:moveTo>
                <a:cubicBezTo>
                  <a:pt x="333" y="65"/>
                  <a:pt x="328" y="64"/>
                  <a:pt x="325" y="67"/>
                </a:cubicBezTo>
                <a:cubicBezTo>
                  <a:pt x="321" y="70"/>
                  <a:pt x="321" y="75"/>
                  <a:pt x="324" y="78"/>
                </a:cubicBezTo>
                <a:cubicBezTo>
                  <a:pt x="349" y="108"/>
                  <a:pt x="364" y="147"/>
                  <a:pt x="364" y="190"/>
                </a:cubicBezTo>
                <a:cubicBezTo>
                  <a:pt x="364" y="225"/>
                  <a:pt x="353" y="259"/>
                  <a:pt x="335" y="286"/>
                </a:cubicBezTo>
                <a:cubicBezTo>
                  <a:pt x="333" y="288"/>
                  <a:pt x="329" y="289"/>
                  <a:pt x="326" y="285"/>
                </a:cubicBezTo>
                <a:cubicBezTo>
                  <a:pt x="299" y="258"/>
                  <a:pt x="299" y="258"/>
                  <a:pt x="299" y="258"/>
                </a:cubicBezTo>
                <a:cubicBezTo>
                  <a:pt x="296" y="255"/>
                  <a:pt x="296" y="251"/>
                  <a:pt x="296" y="251"/>
                </a:cubicBezTo>
                <a:cubicBezTo>
                  <a:pt x="302" y="229"/>
                  <a:pt x="302" y="229"/>
                  <a:pt x="302" y="229"/>
                </a:cubicBezTo>
                <a:cubicBezTo>
                  <a:pt x="303" y="226"/>
                  <a:pt x="302" y="224"/>
                  <a:pt x="301" y="222"/>
                </a:cubicBezTo>
                <a:cubicBezTo>
                  <a:pt x="259" y="181"/>
                  <a:pt x="259" y="181"/>
                  <a:pt x="259" y="181"/>
                </a:cubicBezTo>
                <a:cubicBezTo>
                  <a:pt x="258" y="179"/>
                  <a:pt x="255" y="178"/>
                  <a:pt x="253" y="179"/>
                </a:cubicBezTo>
                <a:cubicBezTo>
                  <a:pt x="233" y="184"/>
                  <a:pt x="233" y="184"/>
                  <a:pt x="233" y="184"/>
                </a:cubicBezTo>
                <a:cubicBezTo>
                  <a:pt x="233" y="184"/>
                  <a:pt x="226" y="186"/>
                  <a:pt x="231" y="191"/>
                </a:cubicBezTo>
                <a:cubicBezTo>
                  <a:pt x="237" y="196"/>
                  <a:pt x="258" y="218"/>
                  <a:pt x="258" y="218"/>
                </a:cubicBezTo>
                <a:cubicBezTo>
                  <a:pt x="259" y="219"/>
                  <a:pt x="260" y="220"/>
                  <a:pt x="259" y="221"/>
                </a:cubicBezTo>
                <a:cubicBezTo>
                  <a:pt x="251" y="251"/>
                  <a:pt x="251" y="251"/>
                  <a:pt x="251" y="251"/>
                </a:cubicBezTo>
                <a:cubicBezTo>
                  <a:pt x="251" y="252"/>
                  <a:pt x="250" y="253"/>
                  <a:pt x="249" y="254"/>
                </a:cubicBezTo>
                <a:cubicBezTo>
                  <a:pt x="219" y="262"/>
                  <a:pt x="219" y="262"/>
                  <a:pt x="219" y="262"/>
                </a:cubicBezTo>
                <a:cubicBezTo>
                  <a:pt x="217" y="262"/>
                  <a:pt x="216" y="262"/>
                  <a:pt x="215" y="261"/>
                </a:cubicBezTo>
                <a:cubicBezTo>
                  <a:pt x="215" y="261"/>
                  <a:pt x="193" y="239"/>
                  <a:pt x="188" y="234"/>
                </a:cubicBezTo>
                <a:cubicBezTo>
                  <a:pt x="183" y="229"/>
                  <a:pt x="182" y="236"/>
                  <a:pt x="182" y="236"/>
                </a:cubicBezTo>
                <a:cubicBezTo>
                  <a:pt x="176" y="255"/>
                  <a:pt x="176" y="255"/>
                  <a:pt x="176" y="255"/>
                </a:cubicBezTo>
                <a:cubicBezTo>
                  <a:pt x="176" y="258"/>
                  <a:pt x="176" y="260"/>
                  <a:pt x="178" y="262"/>
                </a:cubicBezTo>
                <a:cubicBezTo>
                  <a:pt x="219" y="303"/>
                  <a:pt x="219" y="303"/>
                  <a:pt x="219" y="303"/>
                </a:cubicBezTo>
                <a:cubicBezTo>
                  <a:pt x="221" y="305"/>
                  <a:pt x="224" y="306"/>
                  <a:pt x="226" y="305"/>
                </a:cubicBezTo>
                <a:cubicBezTo>
                  <a:pt x="248" y="299"/>
                  <a:pt x="248" y="299"/>
                  <a:pt x="248" y="299"/>
                </a:cubicBezTo>
                <a:cubicBezTo>
                  <a:pt x="249" y="299"/>
                  <a:pt x="252" y="298"/>
                  <a:pt x="255" y="301"/>
                </a:cubicBezTo>
                <a:cubicBezTo>
                  <a:pt x="282" y="328"/>
                  <a:pt x="282" y="328"/>
                  <a:pt x="282" y="328"/>
                </a:cubicBezTo>
                <a:cubicBezTo>
                  <a:pt x="286" y="332"/>
                  <a:pt x="285" y="335"/>
                  <a:pt x="282" y="337"/>
                </a:cubicBezTo>
                <a:cubicBezTo>
                  <a:pt x="255" y="354"/>
                  <a:pt x="224" y="364"/>
                  <a:pt x="190" y="364"/>
                </a:cubicBezTo>
                <a:cubicBezTo>
                  <a:pt x="142" y="364"/>
                  <a:pt x="99" y="344"/>
                  <a:pt x="67" y="313"/>
                </a:cubicBezTo>
                <a:cubicBezTo>
                  <a:pt x="36" y="281"/>
                  <a:pt x="16" y="238"/>
                  <a:pt x="16" y="190"/>
                </a:cubicBezTo>
                <a:cubicBezTo>
                  <a:pt x="16" y="142"/>
                  <a:pt x="36" y="98"/>
                  <a:pt x="67" y="67"/>
                </a:cubicBezTo>
                <a:cubicBezTo>
                  <a:pt x="99" y="35"/>
                  <a:pt x="142" y="16"/>
                  <a:pt x="190" y="16"/>
                </a:cubicBezTo>
                <a:cubicBezTo>
                  <a:pt x="233" y="16"/>
                  <a:pt x="272" y="31"/>
                  <a:pt x="302" y="57"/>
                </a:cubicBezTo>
                <a:cubicBezTo>
                  <a:pt x="305" y="59"/>
                  <a:pt x="310" y="59"/>
                  <a:pt x="313" y="56"/>
                </a:cubicBezTo>
                <a:cubicBezTo>
                  <a:pt x="316" y="52"/>
                  <a:pt x="316" y="47"/>
                  <a:pt x="312" y="44"/>
                </a:cubicBezTo>
                <a:cubicBezTo>
                  <a:pt x="312" y="44"/>
                  <a:pt x="312" y="44"/>
                  <a:pt x="312" y="44"/>
                </a:cubicBezTo>
                <a:cubicBezTo>
                  <a:pt x="279" y="17"/>
                  <a:pt x="237" y="0"/>
                  <a:pt x="190" y="0"/>
                </a:cubicBezTo>
                <a:cubicBezTo>
                  <a:pt x="85" y="0"/>
                  <a:pt x="0" y="85"/>
                  <a:pt x="0" y="190"/>
                </a:cubicBezTo>
                <a:cubicBezTo>
                  <a:pt x="0" y="295"/>
                  <a:pt x="85" y="380"/>
                  <a:pt x="190" y="380"/>
                </a:cubicBezTo>
                <a:cubicBezTo>
                  <a:pt x="224" y="380"/>
                  <a:pt x="255" y="371"/>
                  <a:pt x="282" y="356"/>
                </a:cubicBezTo>
                <a:cubicBezTo>
                  <a:pt x="283" y="356"/>
                  <a:pt x="283" y="356"/>
                  <a:pt x="283" y="356"/>
                </a:cubicBezTo>
                <a:cubicBezTo>
                  <a:pt x="284" y="355"/>
                  <a:pt x="284" y="355"/>
                  <a:pt x="284" y="355"/>
                </a:cubicBezTo>
                <a:cubicBezTo>
                  <a:pt x="341" y="322"/>
                  <a:pt x="380" y="261"/>
                  <a:pt x="380" y="190"/>
                </a:cubicBezTo>
                <a:cubicBezTo>
                  <a:pt x="380" y="143"/>
                  <a:pt x="363" y="101"/>
                  <a:pt x="336" y="68"/>
                </a:cubicBezTo>
                <a:close/>
                <a:moveTo>
                  <a:pt x="247" y="105"/>
                </a:moveTo>
                <a:cubicBezTo>
                  <a:pt x="250" y="105"/>
                  <a:pt x="250" y="105"/>
                  <a:pt x="250" y="105"/>
                </a:cubicBezTo>
                <a:cubicBezTo>
                  <a:pt x="252" y="105"/>
                  <a:pt x="254" y="103"/>
                  <a:pt x="254" y="101"/>
                </a:cubicBezTo>
                <a:cubicBezTo>
                  <a:pt x="254" y="99"/>
                  <a:pt x="254" y="99"/>
                  <a:pt x="254" y="99"/>
                </a:cubicBezTo>
                <a:cubicBezTo>
                  <a:pt x="255" y="99"/>
                  <a:pt x="257" y="98"/>
                  <a:pt x="258" y="97"/>
                </a:cubicBezTo>
                <a:cubicBezTo>
                  <a:pt x="260" y="96"/>
                  <a:pt x="261" y="95"/>
                  <a:pt x="262" y="94"/>
                </a:cubicBezTo>
                <a:cubicBezTo>
                  <a:pt x="264" y="95"/>
                  <a:pt x="264" y="95"/>
                  <a:pt x="264" y="95"/>
                </a:cubicBezTo>
                <a:cubicBezTo>
                  <a:pt x="266" y="96"/>
                  <a:pt x="268" y="96"/>
                  <a:pt x="269" y="94"/>
                </a:cubicBezTo>
                <a:cubicBezTo>
                  <a:pt x="271" y="92"/>
                  <a:pt x="271" y="92"/>
                  <a:pt x="271" y="92"/>
                </a:cubicBezTo>
                <a:cubicBezTo>
                  <a:pt x="272" y="90"/>
                  <a:pt x="271" y="88"/>
                  <a:pt x="269" y="87"/>
                </a:cubicBezTo>
                <a:cubicBezTo>
                  <a:pt x="267" y="86"/>
                  <a:pt x="267" y="86"/>
                  <a:pt x="267" y="86"/>
                </a:cubicBezTo>
                <a:cubicBezTo>
                  <a:pt x="268" y="83"/>
                  <a:pt x="268" y="79"/>
                  <a:pt x="267" y="76"/>
                </a:cubicBezTo>
                <a:cubicBezTo>
                  <a:pt x="270" y="75"/>
                  <a:pt x="270" y="75"/>
                  <a:pt x="270" y="75"/>
                </a:cubicBezTo>
                <a:cubicBezTo>
                  <a:pt x="271" y="74"/>
                  <a:pt x="272" y="72"/>
                  <a:pt x="271" y="70"/>
                </a:cubicBezTo>
                <a:cubicBezTo>
                  <a:pt x="270" y="68"/>
                  <a:pt x="270" y="68"/>
                  <a:pt x="270" y="68"/>
                </a:cubicBezTo>
                <a:cubicBezTo>
                  <a:pt x="269" y="67"/>
                  <a:pt x="267" y="66"/>
                  <a:pt x="265" y="67"/>
                </a:cubicBezTo>
                <a:cubicBezTo>
                  <a:pt x="263" y="68"/>
                  <a:pt x="263" y="68"/>
                  <a:pt x="263" y="68"/>
                </a:cubicBezTo>
                <a:cubicBezTo>
                  <a:pt x="261" y="66"/>
                  <a:pt x="258" y="64"/>
                  <a:pt x="255" y="63"/>
                </a:cubicBezTo>
                <a:cubicBezTo>
                  <a:pt x="255" y="61"/>
                  <a:pt x="255" y="61"/>
                  <a:pt x="255" y="61"/>
                </a:cubicBezTo>
                <a:cubicBezTo>
                  <a:pt x="255" y="59"/>
                  <a:pt x="253" y="57"/>
                  <a:pt x="251" y="57"/>
                </a:cubicBezTo>
                <a:cubicBezTo>
                  <a:pt x="249" y="57"/>
                  <a:pt x="249" y="57"/>
                  <a:pt x="249" y="57"/>
                </a:cubicBezTo>
                <a:cubicBezTo>
                  <a:pt x="247" y="57"/>
                  <a:pt x="245" y="58"/>
                  <a:pt x="245" y="61"/>
                </a:cubicBezTo>
                <a:cubicBezTo>
                  <a:pt x="245" y="63"/>
                  <a:pt x="245" y="63"/>
                  <a:pt x="245" y="63"/>
                </a:cubicBezTo>
                <a:cubicBezTo>
                  <a:pt x="243" y="63"/>
                  <a:pt x="242" y="64"/>
                  <a:pt x="240" y="65"/>
                </a:cubicBezTo>
                <a:cubicBezTo>
                  <a:pt x="239" y="65"/>
                  <a:pt x="238" y="66"/>
                  <a:pt x="236" y="68"/>
                </a:cubicBezTo>
                <a:cubicBezTo>
                  <a:pt x="235" y="66"/>
                  <a:pt x="235" y="66"/>
                  <a:pt x="235" y="66"/>
                </a:cubicBezTo>
                <a:cubicBezTo>
                  <a:pt x="233" y="65"/>
                  <a:pt x="230" y="66"/>
                  <a:pt x="229" y="68"/>
                </a:cubicBezTo>
                <a:cubicBezTo>
                  <a:pt x="228" y="70"/>
                  <a:pt x="228" y="70"/>
                  <a:pt x="228" y="70"/>
                </a:cubicBezTo>
                <a:cubicBezTo>
                  <a:pt x="227" y="71"/>
                  <a:pt x="228" y="74"/>
                  <a:pt x="229" y="75"/>
                </a:cubicBezTo>
                <a:cubicBezTo>
                  <a:pt x="231" y="76"/>
                  <a:pt x="231" y="76"/>
                  <a:pt x="231" y="76"/>
                </a:cubicBezTo>
                <a:cubicBezTo>
                  <a:pt x="231" y="79"/>
                  <a:pt x="231" y="82"/>
                  <a:pt x="231" y="86"/>
                </a:cubicBezTo>
                <a:cubicBezTo>
                  <a:pt x="229" y="87"/>
                  <a:pt x="229" y="87"/>
                  <a:pt x="229" y="87"/>
                </a:cubicBezTo>
                <a:cubicBezTo>
                  <a:pt x="227" y="88"/>
                  <a:pt x="227" y="90"/>
                  <a:pt x="228" y="92"/>
                </a:cubicBezTo>
                <a:cubicBezTo>
                  <a:pt x="228" y="93"/>
                  <a:pt x="228" y="93"/>
                  <a:pt x="228" y="93"/>
                </a:cubicBezTo>
                <a:cubicBezTo>
                  <a:pt x="229" y="95"/>
                  <a:pt x="232" y="96"/>
                  <a:pt x="234" y="95"/>
                </a:cubicBezTo>
                <a:cubicBezTo>
                  <a:pt x="236" y="94"/>
                  <a:pt x="236" y="94"/>
                  <a:pt x="236" y="94"/>
                </a:cubicBezTo>
                <a:cubicBezTo>
                  <a:pt x="238" y="96"/>
                  <a:pt x="241" y="98"/>
                  <a:pt x="244" y="99"/>
                </a:cubicBezTo>
                <a:cubicBezTo>
                  <a:pt x="244" y="101"/>
                  <a:pt x="244" y="101"/>
                  <a:pt x="244" y="101"/>
                </a:cubicBezTo>
                <a:cubicBezTo>
                  <a:pt x="244" y="103"/>
                  <a:pt x="245" y="105"/>
                  <a:pt x="247" y="105"/>
                </a:cubicBezTo>
                <a:close/>
                <a:moveTo>
                  <a:pt x="243" y="89"/>
                </a:moveTo>
                <a:cubicBezTo>
                  <a:pt x="238" y="85"/>
                  <a:pt x="237" y="78"/>
                  <a:pt x="241" y="74"/>
                </a:cubicBezTo>
                <a:cubicBezTo>
                  <a:pt x="245" y="70"/>
                  <a:pt x="252" y="69"/>
                  <a:pt x="256" y="73"/>
                </a:cubicBezTo>
                <a:cubicBezTo>
                  <a:pt x="261" y="77"/>
                  <a:pt x="261" y="83"/>
                  <a:pt x="257" y="88"/>
                </a:cubicBezTo>
                <a:cubicBezTo>
                  <a:pt x="254" y="92"/>
                  <a:pt x="247" y="93"/>
                  <a:pt x="243" y="89"/>
                </a:cubicBezTo>
                <a:close/>
                <a:moveTo>
                  <a:pt x="147" y="283"/>
                </a:moveTo>
                <a:cubicBezTo>
                  <a:pt x="150" y="283"/>
                  <a:pt x="150" y="283"/>
                  <a:pt x="150" y="283"/>
                </a:cubicBezTo>
                <a:cubicBezTo>
                  <a:pt x="153" y="282"/>
                  <a:pt x="155" y="280"/>
                  <a:pt x="155" y="277"/>
                </a:cubicBezTo>
                <a:cubicBezTo>
                  <a:pt x="155" y="273"/>
                  <a:pt x="155" y="273"/>
                  <a:pt x="155" y="273"/>
                </a:cubicBezTo>
                <a:cubicBezTo>
                  <a:pt x="155" y="270"/>
                  <a:pt x="152" y="268"/>
                  <a:pt x="149" y="268"/>
                </a:cubicBezTo>
                <a:cubicBezTo>
                  <a:pt x="145" y="268"/>
                  <a:pt x="145" y="268"/>
                  <a:pt x="145" y="268"/>
                </a:cubicBezTo>
                <a:cubicBezTo>
                  <a:pt x="144" y="264"/>
                  <a:pt x="141" y="260"/>
                  <a:pt x="137" y="256"/>
                </a:cubicBezTo>
                <a:cubicBezTo>
                  <a:pt x="139" y="253"/>
                  <a:pt x="139" y="253"/>
                  <a:pt x="139" y="253"/>
                </a:cubicBezTo>
                <a:cubicBezTo>
                  <a:pt x="140" y="250"/>
                  <a:pt x="139" y="247"/>
                  <a:pt x="136" y="246"/>
                </a:cubicBezTo>
                <a:cubicBezTo>
                  <a:pt x="134" y="245"/>
                  <a:pt x="134" y="245"/>
                  <a:pt x="134" y="245"/>
                </a:cubicBezTo>
                <a:cubicBezTo>
                  <a:pt x="131" y="243"/>
                  <a:pt x="128" y="244"/>
                  <a:pt x="127" y="247"/>
                </a:cubicBezTo>
                <a:cubicBezTo>
                  <a:pt x="125" y="251"/>
                  <a:pt x="125" y="251"/>
                  <a:pt x="125" y="251"/>
                </a:cubicBezTo>
                <a:cubicBezTo>
                  <a:pt x="120" y="250"/>
                  <a:pt x="115" y="250"/>
                  <a:pt x="111" y="251"/>
                </a:cubicBezTo>
                <a:cubicBezTo>
                  <a:pt x="109" y="248"/>
                  <a:pt x="109" y="248"/>
                  <a:pt x="109" y="248"/>
                </a:cubicBezTo>
                <a:cubicBezTo>
                  <a:pt x="107" y="246"/>
                  <a:pt x="104" y="245"/>
                  <a:pt x="101" y="247"/>
                </a:cubicBezTo>
                <a:cubicBezTo>
                  <a:pt x="98" y="249"/>
                  <a:pt x="98" y="249"/>
                  <a:pt x="98" y="249"/>
                </a:cubicBezTo>
                <a:cubicBezTo>
                  <a:pt x="95" y="251"/>
                  <a:pt x="95" y="254"/>
                  <a:pt x="97" y="257"/>
                </a:cubicBezTo>
                <a:cubicBezTo>
                  <a:pt x="98" y="260"/>
                  <a:pt x="98" y="260"/>
                  <a:pt x="98" y="260"/>
                </a:cubicBezTo>
                <a:cubicBezTo>
                  <a:pt x="97" y="261"/>
                  <a:pt x="96" y="263"/>
                  <a:pt x="94" y="266"/>
                </a:cubicBezTo>
                <a:cubicBezTo>
                  <a:pt x="93" y="268"/>
                  <a:pt x="93" y="270"/>
                  <a:pt x="92" y="273"/>
                </a:cubicBezTo>
                <a:cubicBezTo>
                  <a:pt x="89" y="273"/>
                  <a:pt x="89" y="273"/>
                  <a:pt x="89" y="273"/>
                </a:cubicBezTo>
                <a:cubicBezTo>
                  <a:pt x="86" y="273"/>
                  <a:pt x="83" y="276"/>
                  <a:pt x="84" y="279"/>
                </a:cubicBezTo>
                <a:cubicBezTo>
                  <a:pt x="84" y="282"/>
                  <a:pt x="84" y="282"/>
                  <a:pt x="84" y="282"/>
                </a:cubicBezTo>
                <a:cubicBezTo>
                  <a:pt x="84" y="286"/>
                  <a:pt x="87" y="288"/>
                  <a:pt x="90" y="288"/>
                </a:cubicBezTo>
                <a:cubicBezTo>
                  <a:pt x="93" y="287"/>
                  <a:pt x="93" y="287"/>
                  <a:pt x="93" y="287"/>
                </a:cubicBezTo>
                <a:cubicBezTo>
                  <a:pt x="95" y="292"/>
                  <a:pt x="98" y="296"/>
                  <a:pt x="102" y="299"/>
                </a:cubicBezTo>
                <a:cubicBezTo>
                  <a:pt x="100" y="302"/>
                  <a:pt x="100" y="302"/>
                  <a:pt x="100" y="302"/>
                </a:cubicBezTo>
                <a:cubicBezTo>
                  <a:pt x="99" y="305"/>
                  <a:pt x="100" y="308"/>
                  <a:pt x="103" y="310"/>
                </a:cubicBezTo>
                <a:cubicBezTo>
                  <a:pt x="105" y="311"/>
                  <a:pt x="105" y="311"/>
                  <a:pt x="105" y="311"/>
                </a:cubicBezTo>
                <a:cubicBezTo>
                  <a:pt x="107" y="312"/>
                  <a:pt x="111" y="311"/>
                  <a:pt x="112" y="308"/>
                </a:cubicBezTo>
                <a:cubicBezTo>
                  <a:pt x="114" y="305"/>
                  <a:pt x="114" y="305"/>
                  <a:pt x="114" y="305"/>
                </a:cubicBezTo>
                <a:cubicBezTo>
                  <a:pt x="119" y="306"/>
                  <a:pt x="123" y="305"/>
                  <a:pt x="128" y="304"/>
                </a:cubicBezTo>
                <a:cubicBezTo>
                  <a:pt x="130" y="307"/>
                  <a:pt x="130" y="307"/>
                  <a:pt x="130" y="307"/>
                </a:cubicBezTo>
                <a:cubicBezTo>
                  <a:pt x="132" y="309"/>
                  <a:pt x="135" y="310"/>
                  <a:pt x="138" y="308"/>
                </a:cubicBezTo>
                <a:cubicBezTo>
                  <a:pt x="141" y="306"/>
                  <a:pt x="141" y="306"/>
                  <a:pt x="141" y="306"/>
                </a:cubicBezTo>
                <a:cubicBezTo>
                  <a:pt x="143" y="305"/>
                  <a:pt x="144" y="301"/>
                  <a:pt x="142" y="299"/>
                </a:cubicBezTo>
                <a:cubicBezTo>
                  <a:pt x="140" y="296"/>
                  <a:pt x="140" y="296"/>
                  <a:pt x="140" y="296"/>
                </a:cubicBezTo>
                <a:cubicBezTo>
                  <a:pt x="142" y="294"/>
                  <a:pt x="143" y="292"/>
                  <a:pt x="144" y="290"/>
                </a:cubicBezTo>
                <a:cubicBezTo>
                  <a:pt x="145" y="287"/>
                  <a:pt x="146" y="285"/>
                  <a:pt x="147" y="283"/>
                </a:cubicBezTo>
                <a:close/>
                <a:moveTo>
                  <a:pt x="132" y="289"/>
                </a:moveTo>
                <a:cubicBezTo>
                  <a:pt x="126" y="296"/>
                  <a:pt x="115" y="297"/>
                  <a:pt x="108" y="291"/>
                </a:cubicBezTo>
                <a:cubicBezTo>
                  <a:pt x="101" y="285"/>
                  <a:pt x="100" y="274"/>
                  <a:pt x="106" y="267"/>
                </a:cubicBezTo>
                <a:cubicBezTo>
                  <a:pt x="112" y="259"/>
                  <a:pt x="123" y="258"/>
                  <a:pt x="130" y="265"/>
                </a:cubicBezTo>
                <a:cubicBezTo>
                  <a:pt x="138" y="271"/>
                  <a:pt x="139" y="282"/>
                  <a:pt x="132" y="289"/>
                </a:cubicBezTo>
                <a:close/>
                <a:moveTo>
                  <a:pt x="201" y="155"/>
                </a:moveTo>
                <a:cubicBezTo>
                  <a:pt x="201" y="154"/>
                  <a:pt x="201" y="154"/>
                  <a:pt x="201" y="153"/>
                </a:cubicBezTo>
                <a:cubicBezTo>
                  <a:pt x="202" y="153"/>
                  <a:pt x="202" y="152"/>
                  <a:pt x="202" y="151"/>
                </a:cubicBezTo>
                <a:cubicBezTo>
                  <a:pt x="202" y="151"/>
                  <a:pt x="202" y="151"/>
                  <a:pt x="202" y="151"/>
                </a:cubicBezTo>
                <a:cubicBezTo>
                  <a:pt x="208" y="151"/>
                  <a:pt x="208" y="151"/>
                  <a:pt x="208" y="151"/>
                </a:cubicBezTo>
                <a:cubicBezTo>
                  <a:pt x="211" y="151"/>
                  <a:pt x="214" y="148"/>
                  <a:pt x="214" y="145"/>
                </a:cubicBezTo>
                <a:cubicBezTo>
                  <a:pt x="214" y="135"/>
                  <a:pt x="214" y="135"/>
                  <a:pt x="214" y="135"/>
                </a:cubicBezTo>
                <a:cubicBezTo>
                  <a:pt x="214" y="132"/>
                  <a:pt x="211" y="129"/>
                  <a:pt x="208" y="129"/>
                </a:cubicBezTo>
                <a:cubicBezTo>
                  <a:pt x="202" y="129"/>
                  <a:pt x="202" y="129"/>
                  <a:pt x="202" y="129"/>
                </a:cubicBezTo>
                <a:cubicBezTo>
                  <a:pt x="201" y="125"/>
                  <a:pt x="200" y="120"/>
                  <a:pt x="198" y="115"/>
                </a:cubicBezTo>
                <a:cubicBezTo>
                  <a:pt x="196" y="111"/>
                  <a:pt x="194" y="107"/>
                  <a:pt x="192" y="104"/>
                </a:cubicBezTo>
                <a:cubicBezTo>
                  <a:pt x="196" y="100"/>
                  <a:pt x="196" y="100"/>
                  <a:pt x="196" y="100"/>
                </a:cubicBezTo>
                <a:cubicBezTo>
                  <a:pt x="198" y="98"/>
                  <a:pt x="198" y="94"/>
                  <a:pt x="196" y="92"/>
                </a:cubicBezTo>
                <a:cubicBezTo>
                  <a:pt x="189" y="85"/>
                  <a:pt x="189" y="85"/>
                  <a:pt x="189" y="85"/>
                </a:cubicBezTo>
                <a:cubicBezTo>
                  <a:pt x="186" y="82"/>
                  <a:pt x="183" y="82"/>
                  <a:pt x="180" y="85"/>
                </a:cubicBezTo>
                <a:cubicBezTo>
                  <a:pt x="176" y="88"/>
                  <a:pt x="176" y="88"/>
                  <a:pt x="176" y="88"/>
                </a:cubicBezTo>
                <a:cubicBezTo>
                  <a:pt x="169" y="83"/>
                  <a:pt x="160" y="79"/>
                  <a:pt x="151" y="78"/>
                </a:cubicBezTo>
                <a:cubicBezTo>
                  <a:pt x="151" y="72"/>
                  <a:pt x="151" y="72"/>
                  <a:pt x="151" y="72"/>
                </a:cubicBezTo>
                <a:cubicBezTo>
                  <a:pt x="151" y="69"/>
                  <a:pt x="148" y="66"/>
                  <a:pt x="145" y="66"/>
                </a:cubicBezTo>
                <a:cubicBezTo>
                  <a:pt x="135" y="67"/>
                  <a:pt x="135" y="67"/>
                  <a:pt x="135" y="67"/>
                </a:cubicBezTo>
                <a:cubicBezTo>
                  <a:pt x="132" y="67"/>
                  <a:pt x="129" y="69"/>
                  <a:pt x="129" y="72"/>
                </a:cubicBezTo>
                <a:cubicBezTo>
                  <a:pt x="129" y="78"/>
                  <a:pt x="129" y="78"/>
                  <a:pt x="129" y="78"/>
                </a:cubicBezTo>
                <a:cubicBezTo>
                  <a:pt x="125" y="78"/>
                  <a:pt x="120" y="80"/>
                  <a:pt x="115" y="82"/>
                </a:cubicBezTo>
                <a:cubicBezTo>
                  <a:pt x="111" y="84"/>
                  <a:pt x="107" y="86"/>
                  <a:pt x="103" y="88"/>
                </a:cubicBezTo>
                <a:cubicBezTo>
                  <a:pt x="100" y="85"/>
                  <a:pt x="100" y="85"/>
                  <a:pt x="100" y="85"/>
                </a:cubicBezTo>
                <a:cubicBezTo>
                  <a:pt x="97" y="82"/>
                  <a:pt x="94" y="82"/>
                  <a:pt x="91" y="85"/>
                </a:cubicBezTo>
                <a:cubicBezTo>
                  <a:pt x="84" y="92"/>
                  <a:pt x="84" y="92"/>
                  <a:pt x="84" y="92"/>
                </a:cubicBezTo>
                <a:cubicBezTo>
                  <a:pt x="82" y="94"/>
                  <a:pt x="82" y="98"/>
                  <a:pt x="84" y="100"/>
                </a:cubicBezTo>
                <a:cubicBezTo>
                  <a:pt x="88" y="104"/>
                  <a:pt x="88" y="104"/>
                  <a:pt x="88" y="104"/>
                </a:cubicBezTo>
                <a:cubicBezTo>
                  <a:pt x="83" y="111"/>
                  <a:pt x="79" y="120"/>
                  <a:pt x="78" y="130"/>
                </a:cubicBezTo>
                <a:cubicBezTo>
                  <a:pt x="72" y="130"/>
                  <a:pt x="72" y="130"/>
                  <a:pt x="72" y="130"/>
                </a:cubicBezTo>
                <a:cubicBezTo>
                  <a:pt x="69" y="130"/>
                  <a:pt x="66" y="132"/>
                  <a:pt x="66" y="135"/>
                </a:cubicBezTo>
                <a:cubicBezTo>
                  <a:pt x="66" y="145"/>
                  <a:pt x="66" y="145"/>
                  <a:pt x="66" y="145"/>
                </a:cubicBezTo>
                <a:cubicBezTo>
                  <a:pt x="66" y="148"/>
                  <a:pt x="69" y="151"/>
                  <a:pt x="72" y="151"/>
                </a:cubicBezTo>
                <a:cubicBezTo>
                  <a:pt x="78" y="151"/>
                  <a:pt x="78" y="151"/>
                  <a:pt x="78" y="151"/>
                </a:cubicBezTo>
                <a:cubicBezTo>
                  <a:pt x="79" y="156"/>
                  <a:pt x="80" y="160"/>
                  <a:pt x="82" y="164"/>
                </a:cubicBezTo>
                <a:cubicBezTo>
                  <a:pt x="84" y="169"/>
                  <a:pt x="86" y="173"/>
                  <a:pt x="89" y="177"/>
                </a:cubicBezTo>
                <a:cubicBezTo>
                  <a:pt x="84" y="181"/>
                  <a:pt x="84" y="181"/>
                  <a:pt x="84" y="181"/>
                </a:cubicBezTo>
                <a:cubicBezTo>
                  <a:pt x="82" y="183"/>
                  <a:pt x="82" y="187"/>
                  <a:pt x="84" y="189"/>
                </a:cubicBezTo>
                <a:cubicBezTo>
                  <a:pt x="91" y="196"/>
                  <a:pt x="91" y="196"/>
                  <a:pt x="91" y="196"/>
                </a:cubicBezTo>
                <a:cubicBezTo>
                  <a:pt x="94" y="198"/>
                  <a:pt x="97" y="198"/>
                  <a:pt x="100" y="196"/>
                </a:cubicBezTo>
                <a:cubicBezTo>
                  <a:pt x="104" y="192"/>
                  <a:pt x="104" y="192"/>
                  <a:pt x="104" y="192"/>
                </a:cubicBezTo>
                <a:cubicBezTo>
                  <a:pt x="104" y="192"/>
                  <a:pt x="104" y="192"/>
                  <a:pt x="104" y="192"/>
                </a:cubicBezTo>
                <a:cubicBezTo>
                  <a:pt x="105" y="192"/>
                  <a:pt x="106" y="193"/>
                  <a:pt x="106" y="193"/>
                </a:cubicBezTo>
                <a:cubicBezTo>
                  <a:pt x="107" y="193"/>
                  <a:pt x="107" y="194"/>
                  <a:pt x="108" y="194"/>
                </a:cubicBezTo>
                <a:cubicBezTo>
                  <a:pt x="108" y="194"/>
                  <a:pt x="108" y="194"/>
                  <a:pt x="108" y="194"/>
                </a:cubicBezTo>
                <a:cubicBezTo>
                  <a:pt x="115" y="198"/>
                  <a:pt x="122" y="201"/>
                  <a:pt x="129" y="202"/>
                </a:cubicBezTo>
                <a:cubicBezTo>
                  <a:pt x="129" y="208"/>
                  <a:pt x="129" y="208"/>
                  <a:pt x="129" y="208"/>
                </a:cubicBezTo>
                <a:cubicBezTo>
                  <a:pt x="129" y="211"/>
                  <a:pt x="132" y="214"/>
                  <a:pt x="135" y="214"/>
                </a:cubicBezTo>
                <a:cubicBezTo>
                  <a:pt x="145" y="214"/>
                  <a:pt x="145" y="214"/>
                  <a:pt x="145" y="214"/>
                </a:cubicBezTo>
                <a:cubicBezTo>
                  <a:pt x="148" y="214"/>
                  <a:pt x="151" y="211"/>
                  <a:pt x="151" y="208"/>
                </a:cubicBezTo>
                <a:cubicBezTo>
                  <a:pt x="151" y="202"/>
                  <a:pt x="151" y="202"/>
                  <a:pt x="151" y="202"/>
                </a:cubicBezTo>
                <a:cubicBezTo>
                  <a:pt x="155" y="201"/>
                  <a:pt x="160" y="200"/>
                  <a:pt x="165" y="198"/>
                </a:cubicBezTo>
                <a:cubicBezTo>
                  <a:pt x="169" y="196"/>
                  <a:pt x="173" y="194"/>
                  <a:pt x="176" y="192"/>
                </a:cubicBezTo>
                <a:cubicBezTo>
                  <a:pt x="180" y="196"/>
                  <a:pt x="180" y="196"/>
                  <a:pt x="180" y="196"/>
                </a:cubicBezTo>
                <a:cubicBezTo>
                  <a:pt x="183" y="198"/>
                  <a:pt x="186" y="198"/>
                  <a:pt x="189" y="196"/>
                </a:cubicBezTo>
                <a:cubicBezTo>
                  <a:pt x="196" y="189"/>
                  <a:pt x="196" y="189"/>
                  <a:pt x="196" y="189"/>
                </a:cubicBezTo>
                <a:cubicBezTo>
                  <a:pt x="198" y="187"/>
                  <a:pt x="198" y="183"/>
                  <a:pt x="196" y="181"/>
                </a:cubicBezTo>
                <a:cubicBezTo>
                  <a:pt x="191" y="176"/>
                  <a:pt x="191" y="176"/>
                  <a:pt x="191" y="176"/>
                </a:cubicBezTo>
                <a:cubicBezTo>
                  <a:pt x="196" y="170"/>
                  <a:pt x="199" y="163"/>
                  <a:pt x="201" y="155"/>
                </a:cubicBezTo>
                <a:cubicBezTo>
                  <a:pt x="201" y="155"/>
                  <a:pt x="201" y="155"/>
                  <a:pt x="201" y="155"/>
                </a:cubicBezTo>
                <a:close/>
                <a:moveTo>
                  <a:pt x="184" y="158"/>
                </a:moveTo>
                <a:cubicBezTo>
                  <a:pt x="180" y="169"/>
                  <a:pt x="171" y="179"/>
                  <a:pt x="159" y="184"/>
                </a:cubicBezTo>
                <a:cubicBezTo>
                  <a:pt x="146" y="189"/>
                  <a:pt x="133" y="189"/>
                  <a:pt x="122" y="184"/>
                </a:cubicBezTo>
                <a:cubicBezTo>
                  <a:pt x="110" y="180"/>
                  <a:pt x="101" y="171"/>
                  <a:pt x="96" y="158"/>
                </a:cubicBezTo>
                <a:cubicBezTo>
                  <a:pt x="91" y="146"/>
                  <a:pt x="91" y="133"/>
                  <a:pt x="95" y="122"/>
                </a:cubicBezTo>
                <a:cubicBezTo>
                  <a:pt x="100" y="110"/>
                  <a:pt x="109" y="101"/>
                  <a:pt x="121" y="96"/>
                </a:cubicBezTo>
                <a:cubicBezTo>
                  <a:pt x="133" y="91"/>
                  <a:pt x="146" y="91"/>
                  <a:pt x="158" y="95"/>
                </a:cubicBezTo>
                <a:cubicBezTo>
                  <a:pt x="169" y="100"/>
                  <a:pt x="179" y="109"/>
                  <a:pt x="184" y="121"/>
                </a:cubicBezTo>
                <a:cubicBezTo>
                  <a:pt x="189" y="133"/>
                  <a:pt x="189" y="146"/>
                  <a:pt x="184" y="158"/>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2" name="Freeform 3"/>
          <p:cNvSpPr>
            <a:spLocks noChangeAspect="1" noEditPoints="1"/>
          </p:cNvSpPr>
          <p:nvPr/>
        </p:nvSpPr>
        <p:spPr bwMode="auto">
          <a:xfrm>
            <a:off x="447067" y="1711988"/>
            <a:ext cx="1542504" cy="1035836"/>
          </a:xfrm>
          <a:custGeom>
            <a:avLst/>
            <a:gdLst>
              <a:gd name="T0" fmla="*/ 2147483647 w 461"/>
              <a:gd name="T1" fmla="*/ 2147483647 h 310"/>
              <a:gd name="T2" fmla="*/ 2147483647 w 461"/>
              <a:gd name="T3" fmla="*/ 2147483647 h 310"/>
              <a:gd name="T4" fmla="*/ 2147483647 w 461"/>
              <a:gd name="T5" fmla="*/ 2147483647 h 310"/>
              <a:gd name="T6" fmla="*/ 2147483647 w 461"/>
              <a:gd name="T7" fmla="*/ 2147483647 h 310"/>
              <a:gd name="T8" fmla="*/ 2147483647 w 461"/>
              <a:gd name="T9" fmla="*/ 2147483647 h 310"/>
              <a:gd name="T10" fmla="*/ 2147483647 w 461"/>
              <a:gd name="T11" fmla="*/ 2147483647 h 310"/>
              <a:gd name="T12" fmla="*/ 2147483647 w 461"/>
              <a:gd name="T13" fmla="*/ 2147483647 h 310"/>
              <a:gd name="T14" fmla="*/ 2147483647 w 461"/>
              <a:gd name="T15" fmla="*/ 2147483647 h 310"/>
              <a:gd name="T16" fmla="*/ 0 w 461"/>
              <a:gd name="T17" fmla="*/ 2147483647 h 310"/>
              <a:gd name="T18" fmla="*/ 2147483647 w 461"/>
              <a:gd name="T19" fmla="*/ 2147483647 h 310"/>
              <a:gd name="T20" fmla="*/ 2147483647 w 461"/>
              <a:gd name="T21" fmla="*/ 2147483647 h 310"/>
              <a:gd name="T22" fmla="*/ 2147483647 w 461"/>
              <a:gd name="T23" fmla="*/ 2147483647 h 310"/>
              <a:gd name="T24" fmla="*/ 2147483647 w 461"/>
              <a:gd name="T25" fmla="*/ 2147483647 h 310"/>
              <a:gd name="T26" fmla="*/ 2147483647 w 461"/>
              <a:gd name="T27" fmla="*/ 2147483647 h 310"/>
              <a:gd name="T28" fmla="*/ 2147483647 w 461"/>
              <a:gd name="T29" fmla="*/ 2147483647 h 310"/>
              <a:gd name="T30" fmla="*/ 2147483647 w 461"/>
              <a:gd name="T31" fmla="*/ 2147483647 h 310"/>
              <a:gd name="T32" fmla="*/ 2147483647 w 461"/>
              <a:gd name="T33" fmla="*/ 2147483647 h 310"/>
              <a:gd name="T34" fmla="*/ 2147483647 w 461"/>
              <a:gd name="T35" fmla="*/ 2147483647 h 310"/>
              <a:gd name="T36" fmla="*/ 2147483647 w 461"/>
              <a:gd name="T37" fmla="*/ 2147483647 h 310"/>
              <a:gd name="T38" fmla="*/ 2147483647 w 461"/>
              <a:gd name="T39" fmla="*/ 2147483647 h 310"/>
              <a:gd name="T40" fmla="*/ 2147483647 w 461"/>
              <a:gd name="T41" fmla="*/ 2147483647 h 310"/>
              <a:gd name="T42" fmla="*/ 2147483647 w 461"/>
              <a:gd name="T43" fmla="*/ 2147483647 h 310"/>
              <a:gd name="T44" fmla="*/ 2147483647 w 461"/>
              <a:gd name="T45" fmla="*/ 2147483647 h 310"/>
              <a:gd name="T46" fmla="*/ 2147483647 w 461"/>
              <a:gd name="T47" fmla="*/ 2147483647 h 310"/>
              <a:gd name="T48" fmla="*/ 2147483647 w 461"/>
              <a:gd name="T49" fmla="*/ 2147483647 h 310"/>
              <a:gd name="T50" fmla="*/ 2147483647 w 461"/>
              <a:gd name="T51" fmla="*/ 2147483647 h 310"/>
              <a:gd name="T52" fmla="*/ 2147483647 w 461"/>
              <a:gd name="T53" fmla="*/ 2147483647 h 310"/>
              <a:gd name="T54" fmla="*/ 2147483647 w 461"/>
              <a:gd name="T55" fmla="*/ 2147483647 h 310"/>
              <a:gd name="T56" fmla="*/ 2147483647 w 461"/>
              <a:gd name="T57" fmla="*/ 2147483647 h 310"/>
              <a:gd name="T58" fmla="*/ 2147483647 w 461"/>
              <a:gd name="T59" fmla="*/ 2147483647 h 310"/>
              <a:gd name="T60" fmla="*/ 2147483647 w 461"/>
              <a:gd name="T61" fmla="*/ 2147483647 h 310"/>
              <a:gd name="T62" fmla="*/ 2147483647 w 461"/>
              <a:gd name="T63" fmla="*/ 2147483647 h 310"/>
              <a:gd name="T64" fmla="*/ 2147483647 w 461"/>
              <a:gd name="T65" fmla="*/ 2147483647 h 310"/>
              <a:gd name="T66" fmla="*/ 2147483647 w 461"/>
              <a:gd name="T67" fmla="*/ 2147483647 h 310"/>
              <a:gd name="T68" fmla="*/ 2147483647 w 461"/>
              <a:gd name="T69" fmla="*/ 2147483647 h 310"/>
              <a:gd name="T70" fmla="*/ 2147483647 w 461"/>
              <a:gd name="T71" fmla="*/ 2147483647 h 310"/>
              <a:gd name="T72" fmla="*/ 2147483647 w 461"/>
              <a:gd name="T73" fmla="*/ 2147483647 h 310"/>
              <a:gd name="T74" fmla="*/ 2147483647 w 461"/>
              <a:gd name="T75" fmla="*/ 2147483647 h 310"/>
              <a:gd name="T76" fmla="*/ 2147483647 w 461"/>
              <a:gd name="T77" fmla="*/ 2147483647 h 310"/>
              <a:gd name="T78" fmla="*/ 2147483647 w 461"/>
              <a:gd name="T79" fmla="*/ 2147483647 h 310"/>
              <a:gd name="T80" fmla="*/ 2147483647 w 461"/>
              <a:gd name="T81" fmla="*/ 2147483647 h 310"/>
              <a:gd name="T82" fmla="*/ 2147483647 w 461"/>
              <a:gd name="T83" fmla="*/ 2147483647 h 310"/>
              <a:gd name="T84" fmla="*/ 2147483647 w 461"/>
              <a:gd name="T85" fmla="*/ 2147483647 h 310"/>
              <a:gd name="T86" fmla="*/ 2147483647 w 461"/>
              <a:gd name="T87" fmla="*/ 2147483647 h 310"/>
              <a:gd name="T88" fmla="*/ 2147483647 w 461"/>
              <a:gd name="T89" fmla="*/ 2147483647 h 310"/>
              <a:gd name="T90" fmla="*/ 2147483647 w 461"/>
              <a:gd name="T91" fmla="*/ 2147483647 h 310"/>
              <a:gd name="T92" fmla="*/ 2147483647 w 461"/>
              <a:gd name="T93" fmla="*/ 2147483647 h 310"/>
              <a:gd name="T94" fmla="*/ 2147483647 w 461"/>
              <a:gd name="T95" fmla="*/ 2147483647 h 310"/>
              <a:gd name="T96" fmla="*/ 2147483647 w 461"/>
              <a:gd name="T97" fmla="*/ 2147483647 h 310"/>
              <a:gd name="T98" fmla="*/ 2147483647 w 461"/>
              <a:gd name="T99" fmla="*/ 2147483647 h 310"/>
              <a:gd name="T100" fmla="*/ 2147483647 w 461"/>
              <a:gd name="T101" fmla="*/ 2147483647 h 310"/>
              <a:gd name="T102" fmla="*/ 2147483647 w 461"/>
              <a:gd name="T103" fmla="*/ 2147483647 h 310"/>
              <a:gd name="T104" fmla="*/ 2147483647 w 461"/>
              <a:gd name="T105" fmla="*/ 2147483647 h 310"/>
              <a:gd name="T106" fmla="*/ 2147483647 w 461"/>
              <a:gd name="T107" fmla="*/ 2147483647 h 310"/>
              <a:gd name="T108" fmla="*/ 2147483647 w 461"/>
              <a:gd name="T109" fmla="*/ 2147483647 h 310"/>
              <a:gd name="T110" fmla="*/ 2147483647 w 461"/>
              <a:gd name="T111" fmla="*/ 2147483647 h 310"/>
              <a:gd name="T112" fmla="*/ 2147483647 w 461"/>
              <a:gd name="T113" fmla="*/ 2147483647 h 310"/>
              <a:gd name="T114" fmla="*/ 2147483647 w 461"/>
              <a:gd name="T115" fmla="*/ 2147483647 h 310"/>
              <a:gd name="T116" fmla="*/ 2147483647 w 461"/>
              <a:gd name="T117" fmla="*/ 2147483647 h 310"/>
              <a:gd name="T118" fmla="*/ 2147483647 w 461"/>
              <a:gd name="T119" fmla="*/ 2147483647 h 310"/>
              <a:gd name="T120" fmla="*/ 2147483647 w 461"/>
              <a:gd name="T121" fmla="*/ 2147483647 h 310"/>
              <a:gd name="T122" fmla="*/ 2147483647 w 461"/>
              <a:gd name="T123" fmla="*/ 2147483647 h 310"/>
              <a:gd name="T124" fmla="*/ 2147483647 w 461"/>
              <a:gd name="T125" fmla="*/ 2147483647 h 3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61"/>
              <a:gd name="T190" fmla="*/ 0 h 310"/>
              <a:gd name="T191" fmla="*/ 461 w 461"/>
              <a:gd name="T192" fmla="*/ 310 h 31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61" h="310">
                <a:moveTo>
                  <a:pt x="449" y="165"/>
                </a:moveTo>
                <a:cubicBezTo>
                  <a:pt x="444" y="158"/>
                  <a:pt x="438" y="153"/>
                  <a:pt x="431" y="149"/>
                </a:cubicBezTo>
                <a:cubicBezTo>
                  <a:pt x="439" y="138"/>
                  <a:pt x="444" y="125"/>
                  <a:pt x="444" y="111"/>
                </a:cubicBezTo>
                <a:cubicBezTo>
                  <a:pt x="444" y="102"/>
                  <a:pt x="442" y="93"/>
                  <a:pt x="438" y="85"/>
                </a:cubicBezTo>
                <a:cubicBezTo>
                  <a:pt x="432" y="72"/>
                  <a:pt x="422" y="61"/>
                  <a:pt x="409" y="55"/>
                </a:cubicBezTo>
                <a:cubicBezTo>
                  <a:pt x="401" y="51"/>
                  <a:pt x="392" y="49"/>
                  <a:pt x="382" y="49"/>
                </a:cubicBezTo>
                <a:cubicBezTo>
                  <a:pt x="348" y="49"/>
                  <a:pt x="321" y="77"/>
                  <a:pt x="321" y="111"/>
                </a:cubicBezTo>
                <a:cubicBezTo>
                  <a:pt x="321" y="125"/>
                  <a:pt x="326" y="138"/>
                  <a:pt x="334" y="149"/>
                </a:cubicBezTo>
                <a:cubicBezTo>
                  <a:pt x="329" y="151"/>
                  <a:pt x="325" y="155"/>
                  <a:pt x="321" y="158"/>
                </a:cubicBezTo>
                <a:cubicBezTo>
                  <a:pt x="320" y="157"/>
                  <a:pt x="319" y="155"/>
                  <a:pt x="318" y="154"/>
                </a:cubicBezTo>
                <a:cubicBezTo>
                  <a:pt x="311" y="145"/>
                  <a:pt x="302" y="137"/>
                  <a:pt x="293" y="132"/>
                </a:cubicBezTo>
                <a:cubicBezTo>
                  <a:pt x="304" y="118"/>
                  <a:pt x="311" y="100"/>
                  <a:pt x="311" y="80"/>
                </a:cubicBezTo>
                <a:cubicBezTo>
                  <a:pt x="311" y="65"/>
                  <a:pt x="307" y="50"/>
                  <a:pt x="299" y="37"/>
                </a:cubicBezTo>
                <a:cubicBezTo>
                  <a:pt x="296" y="34"/>
                  <a:pt x="291" y="33"/>
                  <a:pt x="288" y="35"/>
                </a:cubicBezTo>
                <a:cubicBezTo>
                  <a:pt x="284" y="37"/>
                  <a:pt x="283" y="42"/>
                  <a:pt x="285" y="46"/>
                </a:cubicBezTo>
                <a:cubicBezTo>
                  <a:pt x="292" y="56"/>
                  <a:pt x="295" y="68"/>
                  <a:pt x="295" y="80"/>
                </a:cubicBezTo>
                <a:cubicBezTo>
                  <a:pt x="295" y="116"/>
                  <a:pt x="266" y="144"/>
                  <a:pt x="231" y="144"/>
                </a:cubicBezTo>
                <a:cubicBezTo>
                  <a:pt x="196" y="144"/>
                  <a:pt x="167" y="116"/>
                  <a:pt x="167" y="80"/>
                </a:cubicBezTo>
                <a:cubicBezTo>
                  <a:pt x="167" y="45"/>
                  <a:pt x="196" y="16"/>
                  <a:pt x="231" y="16"/>
                </a:cubicBezTo>
                <a:cubicBezTo>
                  <a:pt x="243" y="16"/>
                  <a:pt x="255" y="20"/>
                  <a:pt x="265" y="26"/>
                </a:cubicBezTo>
                <a:cubicBezTo>
                  <a:pt x="269" y="28"/>
                  <a:pt x="274" y="27"/>
                  <a:pt x="276" y="24"/>
                </a:cubicBezTo>
                <a:cubicBezTo>
                  <a:pt x="279" y="20"/>
                  <a:pt x="278" y="15"/>
                  <a:pt x="274" y="13"/>
                </a:cubicBezTo>
                <a:cubicBezTo>
                  <a:pt x="261" y="4"/>
                  <a:pt x="246" y="0"/>
                  <a:pt x="231" y="0"/>
                </a:cubicBezTo>
                <a:cubicBezTo>
                  <a:pt x="187" y="0"/>
                  <a:pt x="151" y="36"/>
                  <a:pt x="151" y="80"/>
                </a:cubicBezTo>
                <a:cubicBezTo>
                  <a:pt x="151" y="100"/>
                  <a:pt x="158" y="118"/>
                  <a:pt x="169" y="132"/>
                </a:cubicBezTo>
                <a:cubicBezTo>
                  <a:pt x="160" y="137"/>
                  <a:pt x="151" y="145"/>
                  <a:pt x="144" y="154"/>
                </a:cubicBezTo>
                <a:cubicBezTo>
                  <a:pt x="143" y="155"/>
                  <a:pt x="142" y="157"/>
                  <a:pt x="140" y="159"/>
                </a:cubicBezTo>
                <a:cubicBezTo>
                  <a:pt x="137" y="155"/>
                  <a:pt x="132" y="151"/>
                  <a:pt x="128" y="149"/>
                </a:cubicBezTo>
                <a:cubicBezTo>
                  <a:pt x="136" y="138"/>
                  <a:pt x="141" y="125"/>
                  <a:pt x="141" y="111"/>
                </a:cubicBezTo>
                <a:cubicBezTo>
                  <a:pt x="141" y="102"/>
                  <a:pt x="139" y="93"/>
                  <a:pt x="135" y="85"/>
                </a:cubicBezTo>
                <a:cubicBezTo>
                  <a:pt x="129" y="72"/>
                  <a:pt x="118" y="61"/>
                  <a:pt x="105" y="55"/>
                </a:cubicBezTo>
                <a:cubicBezTo>
                  <a:pt x="97" y="51"/>
                  <a:pt x="88" y="49"/>
                  <a:pt x="79" y="49"/>
                </a:cubicBezTo>
                <a:cubicBezTo>
                  <a:pt x="45" y="49"/>
                  <a:pt x="17" y="77"/>
                  <a:pt x="17" y="111"/>
                </a:cubicBezTo>
                <a:cubicBezTo>
                  <a:pt x="17" y="125"/>
                  <a:pt x="22" y="138"/>
                  <a:pt x="30" y="149"/>
                </a:cubicBezTo>
                <a:cubicBezTo>
                  <a:pt x="23" y="153"/>
                  <a:pt x="17" y="158"/>
                  <a:pt x="12" y="165"/>
                </a:cubicBezTo>
                <a:cubicBezTo>
                  <a:pt x="5" y="174"/>
                  <a:pt x="0" y="186"/>
                  <a:pt x="0" y="198"/>
                </a:cubicBezTo>
                <a:cubicBezTo>
                  <a:pt x="0" y="266"/>
                  <a:pt x="0" y="266"/>
                  <a:pt x="0" y="266"/>
                </a:cubicBezTo>
                <a:cubicBezTo>
                  <a:pt x="0" y="276"/>
                  <a:pt x="7" y="284"/>
                  <a:pt x="17" y="284"/>
                </a:cubicBezTo>
                <a:cubicBezTo>
                  <a:pt x="128" y="284"/>
                  <a:pt x="128" y="284"/>
                  <a:pt x="128" y="284"/>
                </a:cubicBezTo>
                <a:cubicBezTo>
                  <a:pt x="128" y="288"/>
                  <a:pt x="128" y="288"/>
                  <a:pt x="128" y="288"/>
                </a:cubicBezTo>
                <a:cubicBezTo>
                  <a:pt x="128" y="300"/>
                  <a:pt x="136" y="310"/>
                  <a:pt x="148" y="310"/>
                </a:cubicBezTo>
                <a:cubicBezTo>
                  <a:pt x="314" y="310"/>
                  <a:pt x="314" y="310"/>
                  <a:pt x="314" y="310"/>
                </a:cubicBezTo>
                <a:cubicBezTo>
                  <a:pt x="326" y="310"/>
                  <a:pt x="334" y="300"/>
                  <a:pt x="334" y="288"/>
                </a:cubicBezTo>
                <a:cubicBezTo>
                  <a:pt x="334" y="284"/>
                  <a:pt x="334" y="284"/>
                  <a:pt x="334" y="284"/>
                </a:cubicBezTo>
                <a:cubicBezTo>
                  <a:pt x="444" y="284"/>
                  <a:pt x="444" y="284"/>
                  <a:pt x="444" y="284"/>
                </a:cubicBezTo>
                <a:cubicBezTo>
                  <a:pt x="454" y="284"/>
                  <a:pt x="461" y="276"/>
                  <a:pt x="461" y="266"/>
                </a:cubicBezTo>
                <a:cubicBezTo>
                  <a:pt x="461" y="198"/>
                  <a:pt x="461" y="198"/>
                  <a:pt x="461" y="198"/>
                </a:cubicBezTo>
                <a:cubicBezTo>
                  <a:pt x="461" y="186"/>
                  <a:pt x="456" y="174"/>
                  <a:pt x="449" y="165"/>
                </a:cubicBezTo>
                <a:close/>
                <a:moveTo>
                  <a:pt x="79" y="65"/>
                </a:moveTo>
                <a:cubicBezTo>
                  <a:pt x="86" y="65"/>
                  <a:pt x="92" y="67"/>
                  <a:pt x="98" y="70"/>
                </a:cubicBezTo>
                <a:cubicBezTo>
                  <a:pt x="108" y="74"/>
                  <a:pt x="116" y="82"/>
                  <a:pt x="120" y="92"/>
                </a:cubicBezTo>
                <a:cubicBezTo>
                  <a:pt x="123" y="97"/>
                  <a:pt x="125" y="104"/>
                  <a:pt x="125" y="111"/>
                </a:cubicBezTo>
                <a:cubicBezTo>
                  <a:pt x="125" y="125"/>
                  <a:pt x="118" y="137"/>
                  <a:pt x="109" y="146"/>
                </a:cubicBezTo>
                <a:cubicBezTo>
                  <a:pt x="108" y="146"/>
                  <a:pt x="107" y="147"/>
                  <a:pt x="106" y="147"/>
                </a:cubicBezTo>
                <a:cubicBezTo>
                  <a:pt x="106" y="148"/>
                  <a:pt x="106" y="148"/>
                  <a:pt x="105" y="148"/>
                </a:cubicBezTo>
                <a:cubicBezTo>
                  <a:pt x="105" y="149"/>
                  <a:pt x="104" y="149"/>
                  <a:pt x="103" y="150"/>
                </a:cubicBezTo>
                <a:cubicBezTo>
                  <a:pt x="103" y="150"/>
                  <a:pt x="102" y="150"/>
                  <a:pt x="102" y="151"/>
                </a:cubicBezTo>
                <a:cubicBezTo>
                  <a:pt x="101" y="151"/>
                  <a:pt x="100" y="151"/>
                  <a:pt x="100" y="152"/>
                </a:cubicBezTo>
                <a:cubicBezTo>
                  <a:pt x="99" y="152"/>
                  <a:pt x="98" y="152"/>
                  <a:pt x="98" y="153"/>
                </a:cubicBezTo>
                <a:cubicBezTo>
                  <a:pt x="97" y="153"/>
                  <a:pt x="97" y="153"/>
                  <a:pt x="96" y="153"/>
                </a:cubicBezTo>
                <a:cubicBezTo>
                  <a:pt x="95" y="154"/>
                  <a:pt x="94" y="154"/>
                  <a:pt x="94" y="154"/>
                </a:cubicBezTo>
                <a:cubicBezTo>
                  <a:pt x="93" y="154"/>
                  <a:pt x="92" y="155"/>
                  <a:pt x="92" y="155"/>
                </a:cubicBezTo>
                <a:cubicBezTo>
                  <a:pt x="91" y="155"/>
                  <a:pt x="90" y="155"/>
                  <a:pt x="89" y="156"/>
                </a:cubicBezTo>
                <a:cubicBezTo>
                  <a:pt x="89" y="156"/>
                  <a:pt x="88" y="156"/>
                  <a:pt x="88" y="156"/>
                </a:cubicBezTo>
                <a:cubicBezTo>
                  <a:pt x="87" y="156"/>
                  <a:pt x="86" y="156"/>
                  <a:pt x="84" y="156"/>
                </a:cubicBezTo>
                <a:cubicBezTo>
                  <a:pt x="84" y="156"/>
                  <a:pt x="84" y="156"/>
                  <a:pt x="83" y="156"/>
                </a:cubicBezTo>
                <a:cubicBezTo>
                  <a:pt x="82" y="157"/>
                  <a:pt x="80" y="157"/>
                  <a:pt x="79" y="157"/>
                </a:cubicBezTo>
                <a:cubicBezTo>
                  <a:pt x="77" y="157"/>
                  <a:pt x="76" y="157"/>
                  <a:pt x="74" y="156"/>
                </a:cubicBezTo>
                <a:cubicBezTo>
                  <a:pt x="74" y="156"/>
                  <a:pt x="74" y="156"/>
                  <a:pt x="73" y="156"/>
                </a:cubicBezTo>
                <a:cubicBezTo>
                  <a:pt x="72" y="156"/>
                  <a:pt x="71" y="156"/>
                  <a:pt x="70" y="156"/>
                </a:cubicBezTo>
                <a:cubicBezTo>
                  <a:pt x="69" y="156"/>
                  <a:pt x="69" y="156"/>
                  <a:pt x="69" y="156"/>
                </a:cubicBezTo>
                <a:cubicBezTo>
                  <a:pt x="68" y="155"/>
                  <a:pt x="67" y="155"/>
                  <a:pt x="66" y="155"/>
                </a:cubicBezTo>
                <a:cubicBezTo>
                  <a:pt x="65" y="155"/>
                  <a:pt x="65" y="154"/>
                  <a:pt x="64" y="154"/>
                </a:cubicBezTo>
                <a:cubicBezTo>
                  <a:pt x="63" y="154"/>
                  <a:pt x="63" y="154"/>
                  <a:pt x="62" y="153"/>
                </a:cubicBezTo>
                <a:cubicBezTo>
                  <a:pt x="61" y="153"/>
                  <a:pt x="61" y="153"/>
                  <a:pt x="60" y="153"/>
                </a:cubicBezTo>
                <a:cubicBezTo>
                  <a:pt x="59" y="152"/>
                  <a:pt x="59" y="152"/>
                  <a:pt x="58" y="152"/>
                </a:cubicBezTo>
                <a:cubicBezTo>
                  <a:pt x="57" y="151"/>
                  <a:pt x="57" y="151"/>
                  <a:pt x="56" y="151"/>
                </a:cubicBezTo>
                <a:cubicBezTo>
                  <a:pt x="56" y="150"/>
                  <a:pt x="55" y="150"/>
                  <a:pt x="55" y="150"/>
                </a:cubicBezTo>
                <a:cubicBezTo>
                  <a:pt x="54" y="149"/>
                  <a:pt x="53" y="149"/>
                  <a:pt x="52" y="148"/>
                </a:cubicBezTo>
                <a:cubicBezTo>
                  <a:pt x="52" y="148"/>
                  <a:pt x="52" y="148"/>
                  <a:pt x="51" y="147"/>
                </a:cubicBezTo>
                <a:cubicBezTo>
                  <a:pt x="51" y="147"/>
                  <a:pt x="50" y="146"/>
                  <a:pt x="49" y="146"/>
                </a:cubicBezTo>
                <a:cubicBezTo>
                  <a:pt x="39" y="137"/>
                  <a:pt x="33" y="125"/>
                  <a:pt x="33" y="111"/>
                </a:cubicBezTo>
                <a:cubicBezTo>
                  <a:pt x="33" y="86"/>
                  <a:pt x="54" y="65"/>
                  <a:pt x="79" y="65"/>
                </a:cubicBezTo>
                <a:close/>
                <a:moveTo>
                  <a:pt x="129" y="189"/>
                </a:moveTo>
                <a:cubicBezTo>
                  <a:pt x="128" y="190"/>
                  <a:pt x="128" y="191"/>
                  <a:pt x="128" y="192"/>
                </a:cubicBezTo>
                <a:cubicBezTo>
                  <a:pt x="128" y="194"/>
                  <a:pt x="128" y="195"/>
                  <a:pt x="128" y="196"/>
                </a:cubicBezTo>
                <a:cubicBezTo>
                  <a:pt x="128" y="196"/>
                  <a:pt x="128" y="196"/>
                  <a:pt x="128" y="196"/>
                </a:cubicBezTo>
                <a:cubicBezTo>
                  <a:pt x="128" y="268"/>
                  <a:pt x="128" y="268"/>
                  <a:pt x="128" y="268"/>
                </a:cubicBezTo>
                <a:cubicBezTo>
                  <a:pt x="43" y="268"/>
                  <a:pt x="43" y="268"/>
                  <a:pt x="43" y="268"/>
                </a:cubicBezTo>
                <a:cubicBezTo>
                  <a:pt x="43" y="206"/>
                  <a:pt x="43" y="206"/>
                  <a:pt x="43" y="206"/>
                </a:cubicBezTo>
                <a:cubicBezTo>
                  <a:pt x="43" y="202"/>
                  <a:pt x="39" y="198"/>
                  <a:pt x="35" y="198"/>
                </a:cubicBezTo>
                <a:cubicBezTo>
                  <a:pt x="31" y="198"/>
                  <a:pt x="27" y="202"/>
                  <a:pt x="27" y="206"/>
                </a:cubicBezTo>
                <a:cubicBezTo>
                  <a:pt x="27" y="268"/>
                  <a:pt x="27" y="268"/>
                  <a:pt x="27" y="268"/>
                </a:cubicBezTo>
                <a:cubicBezTo>
                  <a:pt x="17" y="268"/>
                  <a:pt x="17" y="268"/>
                  <a:pt x="17" y="268"/>
                </a:cubicBezTo>
                <a:cubicBezTo>
                  <a:pt x="17" y="268"/>
                  <a:pt x="17" y="268"/>
                  <a:pt x="17" y="268"/>
                </a:cubicBezTo>
                <a:cubicBezTo>
                  <a:pt x="16" y="268"/>
                  <a:pt x="16" y="267"/>
                  <a:pt x="16" y="266"/>
                </a:cubicBezTo>
                <a:cubicBezTo>
                  <a:pt x="16" y="198"/>
                  <a:pt x="16" y="198"/>
                  <a:pt x="16" y="198"/>
                </a:cubicBezTo>
                <a:cubicBezTo>
                  <a:pt x="16" y="191"/>
                  <a:pt x="19" y="182"/>
                  <a:pt x="25" y="174"/>
                </a:cubicBezTo>
                <a:cubicBezTo>
                  <a:pt x="30" y="168"/>
                  <a:pt x="36" y="163"/>
                  <a:pt x="42" y="160"/>
                </a:cubicBezTo>
                <a:cubicBezTo>
                  <a:pt x="42" y="161"/>
                  <a:pt x="42" y="161"/>
                  <a:pt x="43" y="161"/>
                </a:cubicBezTo>
                <a:cubicBezTo>
                  <a:pt x="44" y="162"/>
                  <a:pt x="45" y="162"/>
                  <a:pt x="46" y="163"/>
                </a:cubicBezTo>
                <a:cubicBezTo>
                  <a:pt x="46" y="163"/>
                  <a:pt x="47" y="164"/>
                  <a:pt x="47" y="164"/>
                </a:cubicBezTo>
                <a:cubicBezTo>
                  <a:pt x="48" y="164"/>
                  <a:pt x="49" y="165"/>
                  <a:pt x="50" y="166"/>
                </a:cubicBezTo>
                <a:cubicBezTo>
                  <a:pt x="50" y="166"/>
                  <a:pt x="51" y="166"/>
                  <a:pt x="51" y="166"/>
                </a:cubicBezTo>
                <a:cubicBezTo>
                  <a:pt x="53" y="167"/>
                  <a:pt x="55" y="168"/>
                  <a:pt x="57" y="169"/>
                </a:cubicBezTo>
                <a:cubicBezTo>
                  <a:pt x="58" y="169"/>
                  <a:pt x="59" y="169"/>
                  <a:pt x="60" y="170"/>
                </a:cubicBezTo>
                <a:cubicBezTo>
                  <a:pt x="60" y="170"/>
                  <a:pt x="61" y="170"/>
                  <a:pt x="62" y="170"/>
                </a:cubicBezTo>
                <a:cubicBezTo>
                  <a:pt x="63" y="171"/>
                  <a:pt x="64" y="171"/>
                  <a:pt x="65" y="171"/>
                </a:cubicBezTo>
                <a:cubicBezTo>
                  <a:pt x="66" y="171"/>
                  <a:pt x="67" y="171"/>
                  <a:pt x="67" y="172"/>
                </a:cubicBezTo>
                <a:cubicBezTo>
                  <a:pt x="69" y="172"/>
                  <a:pt x="70" y="172"/>
                  <a:pt x="71" y="172"/>
                </a:cubicBezTo>
                <a:cubicBezTo>
                  <a:pt x="72" y="172"/>
                  <a:pt x="72" y="172"/>
                  <a:pt x="73" y="172"/>
                </a:cubicBezTo>
                <a:cubicBezTo>
                  <a:pt x="75" y="173"/>
                  <a:pt x="77" y="173"/>
                  <a:pt x="79" y="173"/>
                </a:cubicBezTo>
                <a:cubicBezTo>
                  <a:pt x="81" y="173"/>
                  <a:pt x="83" y="173"/>
                  <a:pt x="85" y="172"/>
                </a:cubicBezTo>
                <a:cubicBezTo>
                  <a:pt x="85" y="172"/>
                  <a:pt x="86" y="172"/>
                  <a:pt x="86" y="172"/>
                </a:cubicBezTo>
                <a:cubicBezTo>
                  <a:pt x="88" y="172"/>
                  <a:pt x="89" y="172"/>
                  <a:pt x="90" y="172"/>
                </a:cubicBezTo>
                <a:cubicBezTo>
                  <a:pt x="91" y="171"/>
                  <a:pt x="92" y="171"/>
                  <a:pt x="92" y="171"/>
                </a:cubicBezTo>
                <a:cubicBezTo>
                  <a:pt x="94" y="171"/>
                  <a:pt x="95" y="171"/>
                  <a:pt x="96" y="170"/>
                </a:cubicBezTo>
                <a:cubicBezTo>
                  <a:pt x="96" y="170"/>
                  <a:pt x="97" y="170"/>
                  <a:pt x="98" y="170"/>
                </a:cubicBezTo>
                <a:cubicBezTo>
                  <a:pt x="99" y="169"/>
                  <a:pt x="100" y="169"/>
                  <a:pt x="101" y="169"/>
                </a:cubicBezTo>
                <a:cubicBezTo>
                  <a:pt x="103" y="168"/>
                  <a:pt x="105" y="167"/>
                  <a:pt x="107" y="166"/>
                </a:cubicBezTo>
                <a:cubicBezTo>
                  <a:pt x="107" y="166"/>
                  <a:pt x="108" y="166"/>
                  <a:pt x="108" y="166"/>
                </a:cubicBezTo>
                <a:cubicBezTo>
                  <a:pt x="109" y="165"/>
                  <a:pt x="110" y="164"/>
                  <a:pt x="111" y="164"/>
                </a:cubicBezTo>
                <a:cubicBezTo>
                  <a:pt x="111" y="164"/>
                  <a:pt x="112" y="163"/>
                  <a:pt x="112" y="163"/>
                </a:cubicBezTo>
                <a:cubicBezTo>
                  <a:pt x="113" y="162"/>
                  <a:pt x="114" y="162"/>
                  <a:pt x="115" y="161"/>
                </a:cubicBezTo>
                <a:cubicBezTo>
                  <a:pt x="115" y="161"/>
                  <a:pt x="116" y="161"/>
                  <a:pt x="116" y="160"/>
                </a:cubicBezTo>
                <a:cubicBezTo>
                  <a:pt x="122" y="163"/>
                  <a:pt x="128" y="168"/>
                  <a:pt x="133" y="174"/>
                </a:cubicBezTo>
                <a:cubicBezTo>
                  <a:pt x="131" y="179"/>
                  <a:pt x="129" y="184"/>
                  <a:pt x="129" y="189"/>
                </a:cubicBezTo>
                <a:close/>
                <a:moveTo>
                  <a:pt x="318" y="288"/>
                </a:moveTo>
                <a:cubicBezTo>
                  <a:pt x="318" y="292"/>
                  <a:pt x="316" y="294"/>
                  <a:pt x="314" y="294"/>
                </a:cubicBezTo>
                <a:cubicBezTo>
                  <a:pt x="298" y="294"/>
                  <a:pt x="298" y="294"/>
                  <a:pt x="298" y="294"/>
                </a:cubicBezTo>
                <a:cubicBezTo>
                  <a:pt x="298" y="196"/>
                  <a:pt x="298" y="196"/>
                  <a:pt x="298" y="196"/>
                </a:cubicBezTo>
                <a:cubicBezTo>
                  <a:pt x="298" y="191"/>
                  <a:pt x="294" y="188"/>
                  <a:pt x="290" y="188"/>
                </a:cubicBezTo>
                <a:cubicBezTo>
                  <a:pt x="285" y="188"/>
                  <a:pt x="282" y="191"/>
                  <a:pt x="282" y="196"/>
                </a:cubicBezTo>
                <a:cubicBezTo>
                  <a:pt x="282" y="294"/>
                  <a:pt x="282" y="294"/>
                  <a:pt x="282" y="294"/>
                </a:cubicBezTo>
                <a:cubicBezTo>
                  <a:pt x="180" y="294"/>
                  <a:pt x="180" y="294"/>
                  <a:pt x="180" y="294"/>
                </a:cubicBezTo>
                <a:cubicBezTo>
                  <a:pt x="180" y="196"/>
                  <a:pt x="180" y="196"/>
                  <a:pt x="180" y="196"/>
                </a:cubicBezTo>
                <a:cubicBezTo>
                  <a:pt x="180" y="191"/>
                  <a:pt x="177" y="188"/>
                  <a:pt x="172" y="188"/>
                </a:cubicBezTo>
                <a:cubicBezTo>
                  <a:pt x="168" y="188"/>
                  <a:pt x="164" y="191"/>
                  <a:pt x="164" y="196"/>
                </a:cubicBezTo>
                <a:cubicBezTo>
                  <a:pt x="164" y="294"/>
                  <a:pt x="164" y="294"/>
                  <a:pt x="164" y="294"/>
                </a:cubicBezTo>
                <a:cubicBezTo>
                  <a:pt x="148" y="294"/>
                  <a:pt x="148" y="294"/>
                  <a:pt x="148" y="294"/>
                </a:cubicBezTo>
                <a:cubicBezTo>
                  <a:pt x="147" y="294"/>
                  <a:pt x="144" y="292"/>
                  <a:pt x="144" y="288"/>
                </a:cubicBezTo>
                <a:cubicBezTo>
                  <a:pt x="144" y="276"/>
                  <a:pt x="144" y="276"/>
                  <a:pt x="144" y="276"/>
                </a:cubicBezTo>
                <a:cubicBezTo>
                  <a:pt x="144" y="276"/>
                  <a:pt x="144" y="276"/>
                  <a:pt x="144" y="276"/>
                </a:cubicBezTo>
                <a:cubicBezTo>
                  <a:pt x="144" y="196"/>
                  <a:pt x="144" y="196"/>
                  <a:pt x="144" y="196"/>
                </a:cubicBezTo>
                <a:cubicBezTo>
                  <a:pt x="144" y="196"/>
                  <a:pt x="144" y="196"/>
                  <a:pt x="144" y="196"/>
                </a:cubicBezTo>
                <a:cubicBezTo>
                  <a:pt x="144" y="195"/>
                  <a:pt x="144" y="193"/>
                  <a:pt x="144" y="192"/>
                </a:cubicBezTo>
                <a:cubicBezTo>
                  <a:pt x="144" y="192"/>
                  <a:pt x="144" y="191"/>
                  <a:pt x="145" y="191"/>
                </a:cubicBezTo>
                <a:cubicBezTo>
                  <a:pt x="145" y="190"/>
                  <a:pt x="145" y="188"/>
                  <a:pt x="145" y="187"/>
                </a:cubicBezTo>
                <a:cubicBezTo>
                  <a:pt x="145" y="187"/>
                  <a:pt x="145" y="187"/>
                  <a:pt x="146" y="186"/>
                </a:cubicBezTo>
                <a:cubicBezTo>
                  <a:pt x="146" y="185"/>
                  <a:pt x="146" y="184"/>
                  <a:pt x="147" y="182"/>
                </a:cubicBezTo>
                <a:cubicBezTo>
                  <a:pt x="147" y="182"/>
                  <a:pt x="147" y="182"/>
                  <a:pt x="147" y="181"/>
                </a:cubicBezTo>
                <a:cubicBezTo>
                  <a:pt x="148" y="180"/>
                  <a:pt x="148" y="178"/>
                  <a:pt x="149" y="177"/>
                </a:cubicBezTo>
                <a:cubicBezTo>
                  <a:pt x="149" y="177"/>
                  <a:pt x="149" y="177"/>
                  <a:pt x="149" y="177"/>
                </a:cubicBezTo>
                <a:cubicBezTo>
                  <a:pt x="151" y="172"/>
                  <a:pt x="154" y="167"/>
                  <a:pt x="157" y="163"/>
                </a:cubicBezTo>
                <a:cubicBezTo>
                  <a:pt x="164" y="154"/>
                  <a:pt x="173" y="147"/>
                  <a:pt x="182" y="144"/>
                </a:cubicBezTo>
                <a:cubicBezTo>
                  <a:pt x="195" y="154"/>
                  <a:pt x="212" y="160"/>
                  <a:pt x="231" y="160"/>
                </a:cubicBezTo>
                <a:cubicBezTo>
                  <a:pt x="250" y="160"/>
                  <a:pt x="267" y="154"/>
                  <a:pt x="280" y="143"/>
                </a:cubicBezTo>
                <a:cubicBezTo>
                  <a:pt x="289" y="147"/>
                  <a:pt x="298" y="154"/>
                  <a:pt x="305" y="163"/>
                </a:cubicBezTo>
                <a:cubicBezTo>
                  <a:pt x="308" y="167"/>
                  <a:pt x="311" y="172"/>
                  <a:pt x="313" y="176"/>
                </a:cubicBezTo>
                <a:cubicBezTo>
                  <a:pt x="314" y="178"/>
                  <a:pt x="314" y="179"/>
                  <a:pt x="315" y="181"/>
                </a:cubicBezTo>
                <a:cubicBezTo>
                  <a:pt x="315" y="181"/>
                  <a:pt x="315" y="182"/>
                  <a:pt x="316" y="182"/>
                </a:cubicBezTo>
                <a:cubicBezTo>
                  <a:pt x="316" y="183"/>
                  <a:pt x="316" y="184"/>
                  <a:pt x="317" y="186"/>
                </a:cubicBezTo>
                <a:cubicBezTo>
                  <a:pt x="317" y="186"/>
                  <a:pt x="317" y="187"/>
                  <a:pt x="317" y="187"/>
                </a:cubicBezTo>
                <a:cubicBezTo>
                  <a:pt x="317" y="188"/>
                  <a:pt x="318" y="190"/>
                  <a:pt x="318" y="191"/>
                </a:cubicBezTo>
                <a:cubicBezTo>
                  <a:pt x="318" y="191"/>
                  <a:pt x="318" y="191"/>
                  <a:pt x="318" y="192"/>
                </a:cubicBezTo>
                <a:cubicBezTo>
                  <a:pt x="318" y="193"/>
                  <a:pt x="318" y="195"/>
                  <a:pt x="318" y="196"/>
                </a:cubicBezTo>
                <a:cubicBezTo>
                  <a:pt x="318" y="276"/>
                  <a:pt x="318" y="276"/>
                  <a:pt x="318" y="276"/>
                </a:cubicBezTo>
                <a:cubicBezTo>
                  <a:pt x="318" y="276"/>
                  <a:pt x="318" y="276"/>
                  <a:pt x="318" y="276"/>
                </a:cubicBezTo>
                <a:lnTo>
                  <a:pt x="318" y="288"/>
                </a:lnTo>
                <a:close/>
                <a:moveTo>
                  <a:pt x="382" y="65"/>
                </a:moveTo>
                <a:cubicBezTo>
                  <a:pt x="389" y="65"/>
                  <a:pt x="396" y="67"/>
                  <a:pt x="402" y="70"/>
                </a:cubicBezTo>
                <a:cubicBezTo>
                  <a:pt x="412" y="74"/>
                  <a:pt x="419" y="82"/>
                  <a:pt x="424" y="92"/>
                </a:cubicBezTo>
                <a:cubicBezTo>
                  <a:pt x="427" y="97"/>
                  <a:pt x="428" y="104"/>
                  <a:pt x="428" y="111"/>
                </a:cubicBezTo>
                <a:cubicBezTo>
                  <a:pt x="428" y="125"/>
                  <a:pt x="422" y="137"/>
                  <a:pt x="412" y="146"/>
                </a:cubicBezTo>
                <a:cubicBezTo>
                  <a:pt x="411" y="146"/>
                  <a:pt x="411" y="147"/>
                  <a:pt x="410" y="147"/>
                </a:cubicBezTo>
                <a:cubicBezTo>
                  <a:pt x="410" y="148"/>
                  <a:pt x="409" y="148"/>
                  <a:pt x="409" y="148"/>
                </a:cubicBezTo>
                <a:cubicBezTo>
                  <a:pt x="408" y="149"/>
                  <a:pt x="407" y="149"/>
                  <a:pt x="407" y="150"/>
                </a:cubicBezTo>
                <a:cubicBezTo>
                  <a:pt x="406" y="150"/>
                  <a:pt x="406" y="150"/>
                  <a:pt x="405" y="151"/>
                </a:cubicBezTo>
                <a:cubicBezTo>
                  <a:pt x="405" y="151"/>
                  <a:pt x="404" y="151"/>
                  <a:pt x="403" y="152"/>
                </a:cubicBezTo>
                <a:cubicBezTo>
                  <a:pt x="403" y="152"/>
                  <a:pt x="402" y="152"/>
                  <a:pt x="401" y="153"/>
                </a:cubicBezTo>
                <a:cubicBezTo>
                  <a:pt x="401" y="153"/>
                  <a:pt x="400" y="153"/>
                  <a:pt x="399" y="153"/>
                </a:cubicBezTo>
                <a:cubicBezTo>
                  <a:pt x="399" y="154"/>
                  <a:pt x="398" y="154"/>
                  <a:pt x="397" y="154"/>
                </a:cubicBezTo>
                <a:cubicBezTo>
                  <a:pt x="397" y="154"/>
                  <a:pt x="396" y="155"/>
                  <a:pt x="396" y="155"/>
                </a:cubicBezTo>
                <a:cubicBezTo>
                  <a:pt x="395" y="155"/>
                  <a:pt x="394" y="155"/>
                  <a:pt x="393" y="156"/>
                </a:cubicBezTo>
                <a:cubicBezTo>
                  <a:pt x="392" y="156"/>
                  <a:pt x="392" y="156"/>
                  <a:pt x="391" y="156"/>
                </a:cubicBezTo>
                <a:cubicBezTo>
                  <a:pt x="390" y="156"/>
                  <a:pt x="389" y="156"/>
                  <a:pt x="388" y="156"/>
                </a:cubicBezTo>
                <a:cubicBezTo>
                  <a:pt x="388" y="156"/>
                  <a:pt x="387" y="156"/>
                  <a:pt x="387" y="156"/>
                </a:cubicBezTo>
                <a:cubicBezTo>
                  <a:pt x="385" y="157"/>
                  <a:pt x="384" y="157"/>
                  <a:pt x="382" y="157"/>
                </a:cubicBezTo>
                <a:cubicBezTo>
                  <a:pt x="382" y="157"/>
                  <a:pt x="382" y="157"/>
                  <a:pt x="382" y="157"/>
                </a:cubicBezTo>
                <a:cubicBezTo>
                  <a:pt x="381" y="157"/>
                  <a:pt x="379" y="157"/>
                  <a:pt x="378" y="156"/>
                </a:cubicBezTo>
                <a:cubicBezTo>
                  <a:pt x="378" y="156"/>
                  <a:pt x="377" y="156"/>
                  <a:pt x="377" y="156"/>
                </a:cubicBezTo>
                <a:cubicBezTo>
                  <a:pt x="376" y="156"/>
                  <a:pt x="375" y="156"/>
                  <a:pt x="374" y="156"/>
                </a:cubicBezTo>
                <a:cubicBezTo>
                  <a:pt x="373" y="156"/>
                  <a:pt x="373" y="156"/>
                  <a:pt x="372" y="155"/>
                </a:cubicBezTo>
                <a:cubicBezTo>
                  <a:pt x="371" y="155"/>
                  <a:pt x="370" y="155"/>
                  <a:pt x="369" y="155"/>
                </a:cubicBezTo>
                <a:cubicBezTo>
                  <a:pt x="369" y="155"/>
                  <a:pt x="368" y="154"/>
                  <a:pt x="368" y="154"/>
                </a:cubicBezTo>
                <a:cubicBezTo>
                  <a:pt x="367" y="154"/>
                  <a:pt x="366" y="154"/>
                  <a:pt x="365" y="153"/>
                </a:cubicBezTo>
                <a:cubicBezTo>
                  <a:pt x="365" y="153"/>
                  <a:pt x="364" y="153"/>
                  <a:pt x="363" y="153"/>
                </a:cubicBezTo>
                <a:cubicBezTo>
                  <a:pt x="363" y="152"/>
                  <a:pt x="362" y="152"/>
                  <a:pt x="362" y="152"/>
                </a:cubicBezTo>
                <a:cubicBezTo>
                  <a:pt x="361" y="151"/>
                  <a:pt x="360" y="151"/>
                  <a:pt x="360" y="151"/>
                </a:cubicBezTo>
                <a:cubicBezTo>
                  <a:pt x="359" y="150"/>
                  <a:pt x="359" y="150"/>
                  <a:pt x="358" y="150"/>
                </a:cubicBezTo>
                <a:cubicBezTo>
                  <a:pt x="357" y="149"/>
                  <a:pt x="357" y="149"/>
                  <a:pt x="356" y="148"/>
                </a:cubicBezTo>
                <a:cubicBezTo>
                  <a:pt x="356" y="148"/>
                  <a:pt x="355" y="148"/>
                  <a:pt x="355" y="148"/>
                </a:cubicBezTo>
                <a:cubicBezTo>
                  <a:pt x="354" y="147"/>
                  <a:pt x="353" y="146"/>
                  <a:pt x="353" y="146"/>
                </a:cubicBezTo>
                <a:cubicBezTo>
                  <a:pt x="343" y="137"/>
                  <a:pt x="337" y="125"/>
                  <a:pt x="337" y="111"/>
                </a:cubicBezTo>
                <a:cubicBezTo>
                  <a:pt x="337" y="86"/>
                  <a:pt x="357" y="65"/>
                  <a:pt x="382" y="65"/>
                </a:cubicBezTo>
                <a:close/>
                <a:moveTo>
                  <a:pt x="445" y="266"/>
                </a:moveTo>
                <a:cubicBezTo>
                  <a:pt x="445" y="267"/>
                  <a:pt x="445" y="268"/>
                  <a:pt x="445" y="268"/>
                </a:cubicBezTo>
                <a:cubicBezTo>
                  <a:pt x="444" y="268"/>
                  <a:pt x="444" y="268"/>
                  <a:pt x="444" y="268"/>
                </a:cubicBezTo>
                <a:cubicBezTo>
                  <a:pt x="434" y="268"/>
                  <a:pt x="434" y="268"/>
                  <a:pt x="434" y="268"/>
                </a:cubicBezTo>
                <a:cubicBezTo>
                  <a:pt x="434" y="206"/>
                  <a:pt x="434" y="206"/>
                  <a:pt x="434" y="206"/>
                </a:cubicBezTo>
                <a:cubicBezTo>
                  <a:pt x="434" y="202"/>
                  <a:pt x="431" y="198"/>
                  <a:pt x="426" y="198"/>
                </a:cubicBezTo>
                <a:cubicBezTo>
                  <a:pt x="422" y="198"/>
                  <a:pt x="418" y="202"/>
                  <a:pt x="418" y="206"/>
                </a:cubicBezTo>
                <a:cubicBezTo>
                  <a:pt x="418" y="268"/>
                  <a:pt x="418" y="268"/>
                  <a:pt x="418" y="268"/>
                </a:cubicBezTo>
                <a:cubicBezTo>
                  <a:pt x="334" y="268"/>
                  <a:pt x="334" y="268"/>
                  <a:pt x="334" y="268"/>
                </a:cubicBezTo>
                <a:cubicBezTo>
                  <a:pt x="334" y="264"/>
                  <a:pt x="334" y="264"/>
                  <a:pt x="334" y="264"/>
                </a:cubicBezTo>
                <a:cubicBezTo>
                  <a:pt x="334" y="196"/>
                  <a:pt x="334" y="196"/>
                  <a:pt x="334" y="196"/>
                </a:cubicBezTo>
                <a:cubicBezTo>
                  <a:pt x="334" y="196"/>
                  <a:pt x="334" y="196"/>
                  <a:pt x="334" y="196"/>
                </a:cubicBezTo>
                <a:cubicBezTo>
                  <a:pt x="334" y="194"/>
                  <a:pt x="334" y="193"/>
                  <a:pt x="334" y="191"/>
                </a:cubicBezTo>
                <a:cubicBezTo>
                  <a:pt x="334" y="190"/>
                  <a:pt x="334" y="189"/>
                  <a:pt x="333" y="188"/>
                </a:cubicBezTo>
                <a:cubicBezTo>
                  <a:pt x="333" y="187"/>
                  <a:pt x="333" y="186"/>
                  <a:pt x="333" y="185"/>
                </a:cubicBezTo>
                <a:cubicBezTo>
                  <a:pt x="333" y="184"/>
                  <a:pt x="333" y="183"/>
                  <a:pt x="332" y="183"/>
                </a:cubicBezTo>
                <a:cubicBezTo>
                  <a:pt x="332" y="182"/>
                  <a:pt x="332" y="180"/>
                  <a:pt x="331" y="179"/>
                </a:cubicBezTo>
                <a:cubicBezTo>
                  <a:pt x="331" y="179"/>
                  <a:pt x="331" y="178"/>
                  <a:pt x="331" y="178"/>
                </a:cubicBezTo>
                <a:cubicBezTo>
                  <a:pt x="330" y="176"/>
                  <a:pt x="330" y="175"/>
                  <a:pt x="329" y="174"/>
                </a:cubicBezTo>
                <a:cubicBezTo>
                  <a:pt x="329" y="174"/>
                  <a:pt x="329" y="173"/>
                  <a:pt x="329" y="173"/>
                </a:cubicBezTo>
                <a:cubicBezTo>
                  <a:pt x="334" y="168"/>
                  <a:pt x="340" y="163"/>
                  <a:pt x="346" y="160"/>
                </a:cubicBezTo>
                <a:cubicBezTo>
                  <a:pt x="346" y="161"/>
                  <a:pt x="346" y="161"/>
                  <a:pt x="346" y="161"/>
                </a:cubicBezTo>
                <a:cubicBezTo>
                  <a:pt x="347" y="162"/>
                  <a:pt x="348" y="162"/>
                  <a:pt x="349" y="163"/>
                </a:cubicBezTo>
                <a:cubicBezTo>
                  <a:pt x="350" y="163"/>
                  <a:pt x="350" y="164"/>
                  <a:pt x="351" y="164"/>
                </a:cubicBezTo>
                <a:cubicBezTo>
                  <a:pt x="352" y="164"/>
                  <a:pt x="353" y="165"/>
                  <a:pt x="354" y="166"/>
                </a:cubicBezTo>
                <a:cubicBezTo>
                  <a:pt x="354" y="166"/>
                  <a:pt x="355" y="166"/>
                  <a:pt x="355" y="166"/>
                </a:cubicBezTo>
                <a:cubicBezTo>
                  <a:pt x="357" y="167"/>
                  <a:pt x="359" y="168"/>
                  <a:pt x="360" y="169"/>
                </a:cubicBezTo>
                <a:cubicBezTo>
                  <a:pt x="361" y="169"/>
                  <a:pt x="362" y="169"/>
                  <a:pt x="363" y="170"/>
                </a:cubicBezTo>
                <a:cubicBezTo>
                  <a:pt x="364" y="170"/>
                  <a:pt x="365" y="170"/>
                  <a:pt x="366" y="170"/>
                </a:cubicBezTo>
                <a:cubicBezTo>
                  <a:pt x="367" y="171"/>
                  <a:pt x="368" y="171"/>
                  <a:pt x="369" y="171"/>
                </a:cubicBezTo>
                <a:cubicBezTo>
                  <a:pt x="370" y="171"/>
                  <a:pt x="370" y="171"/>
                  <a:pt x="371" y="172"/>
                </a:cubicBezTo>
                <a:cubicBezTo>
                  <a:pt x="372" y="172"/>
                  <a:pt x="374" y="172"/>
                  <a:pt x="375" y="172"/>
                </a:cubicBezTo>
                <a:cubicBezTo>
                  <a:pt x="375" y="172"/>
                  <a:pt x="376" y="172"/>
                  <a:pt x="377" y="172"/>
                </a:cubicBezTo>
                <a:cubicBezTo>
                  <a:pt x="379" y="173"/>
                  <a:pt x="380" y="173"/>
                  <a:pt x="382" y="173"/>
                </a:cubicBezTo>
                <a:cubicBezTo>
                  <a:pt x="382" y="173"/>
                  <a:pt x="382" y="173"/>
                  <a:pt x="382" y="173"/>
                </a:cubicBezTo>
                <a:cubicBezTo>
                  <a:pt x="384" y="173"/>
                  <a:pt x="386" y="173"/>
                  <a:pt x="388" y="172"/>
                </a:cubicBezTo>
                <a:cubicBezTo>
                  <a:pt x="389" y="172"/>
                  <a:pt x="389" y="172"/>
                  <a:pt x="390" y="172"/>
                </a:cubicBezTo>
                <a:cubicBezTo>
                  <a:pt x="391" y="172"/>
                  <a:pt x="393" y="172"/>
                  <a:pt x="394" y="172"/>
                </a:cubicBezTo>
                <a:cubicBezTo>
                  <a:pt x="395" y="171"/>
                  <a:pt x="395" y="171"/>
                  <a:pt x="396" y="171"/>
                </a:cubicBezTo>
                <a:cubicBezTo>
                  <a:pt x="397" y="171"/>
                  <a:pt x="398" y="171"/>
                  <a:pt x="399" y="170"/>
                </a:cubicBezTo>
                <a:cubicBezTo>
                  <a:pt x="400" y="170"/>
                  <a:pt x="401" y="170"/>
                  <a:pt x="402" y="170"/>
                </a:cubicBezTo>
                <a:cubicBezTo>
                  <a:pt x="402" y="169"/>
                  <a:pt x="403" y="169"/>
                  <a:pt x="404" y="169"/>
                </a:cubicBezTo>
                <a:cubicBezTo>
                  <a:pt x="408" y="167"/>
                  <a:pt x="411" y="166"/>
                  <a:pt x="414" y="164"/>
                </a:cubicBezTo>
                <a:cubicBezTo>
                  <a:pt x="415" y="163"/>
                  <a:pt x="415" y="163"/>
                  <a:pt x="416" y="163"/>
                </a:cubicBezTo>
                <a:cubicBezTo>
                  <a:pt x="417" y="162"/>
                  <a:pt x="418" y="162"/>
                  <a:pt x="419" y="161"/>
                </a:cubicBezTo>
                <a:cubicBezTo>
                  <a:pt x="419" y="161"/>
                  <a:pt x="419" y="161"/>
                  <a:pt x="419" y="160"/>
                </a:cubicBezTo>
                <a:cubicBezTo>
                  <a:pt x="425" y="163"/>
                  <a:pt x="431" y="168"/>
                  <a:pt x="436" y="174"/>
                </a:cubicBezTo>
                <a:cubicBezTo>
                  <a:pt x="442" y="182"/>
                  <a:pt x="445" y="191"/>
                  <a:pt x="445" y="198"/>
                </a:cubicBezTo>
                <a:lnTo>
                  <a:pt x="445" y="2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3" name="TextBox 19"/>
          <p:cNvSpPr txBox="1">
            <a:spLocks noChangeArrowheads="1"/>
          </p:cNvSpPr>
          <p:nvPr/>
        </p:nvSpPr>
        <p:spPr bwMode="auto">
          <a:xfrm>
            <a:off x="390464" y="2966246"/>
            <a:ext cx="1599107" cy="658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100">
                <a:solidFill>
                  <a:schemeClr val="tx1"/>
                </a:solidFill>
                <a:latin typeface="Arial" pitchFamily="34" charset="0"/>
                <a:cs typeface="Arial" pitchFamily="34" charset="0"/>
              </a:defRPr>
            </a:lvl1pPr>
            <a:lvl2pPr marL="742950" indent="-285750" eaLnBrk="0" hangingPunct="0">
              <a:defRPr sz="2100">
                <a:solidFill>
                  <a:schemeClr val="tx1"/>
                </a:solidFill>
                <a:latin typeface="Arial" pitchFamily="34" charset="0"/>
                <a:cs typeface="Arial" pitchFamily="34" charset="0"/>
              </a:defRPr>
            </a:lvl2pPr>
            <a:lvl3pPr marL="1143000" indent="-228600" eaLnBrk="0" hangingPunct="0">
              <a:defRPr sz="2100">
                <a:solidFill>
                  <a:schemeClr val="tx1"/>
                </a:solidFill>
                <a:latin typeface="Arial" pitchFamily="34" charset="0"/>
                <a:cs typeface="Arial" pitchFamily="34" charset="0"/>
              </a:defRPr>
            </a:lvl3pPr>
            <a:lvl4pPr marL="1600200" indent="-228600" eaLnBrk="0" hangingPunct="0">
              <a:defRPr sz="2100">
                <a:solidFill>
                  <a:schemeClr val="tx1"/>
                </a:solidFill>
                <a:latin typeface="Arial" pitchFamily="34" charset="0"/>
                <a:cs typeface="Arial" pitchFamily="34" charset="0"/>
              </a:defRPr>
            </a:lvl4pPr>
            <a:lvl5pPr marL="2057400" indent="-228600" eaLnBrk="0" hangingPunct="0">
              <a:defRPr sz="21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1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1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1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100">
                <a:solidFill>
                  <a:schemeClr val="tx1"/>
                </a:solidFill>
                <a:latin typeface="Arial" pitchFamily="34" charset="0"/>
                <a:cs typeface="Arial" pitchFamily="34" charset="0"/>
              </a:defRPr>
            </a:lvl9pPr>
          </a:lstStyle>
          <a:p>
            <a:pPr algn="ctr" eaLnBrk="1" hangingPunct="1"/>
            <a:r>
              <a:rPr lang="en-US" sz="1800">
                <a:solidFill>
                  <a:srgbClr val="89BA17"/>
                </a:solidFill>
              </a:rPr>
              <a:t>CUSTOMER</a:t>
            </a:r>
            <a:br>
              <a:rPr lang="en-US" sz="1800">
                <a:solidFill>
                  <a:srgbClr val="89BA17"/>
                </a:solidFill>
              </a:rPr>
            </a:br>
            <a:r>
              <a:rPr lang="en-US" sz="1600">
                <a:solidFill>
                  <a:srgbClr val="89BA17"/>
                </a:solidFill>
              </a:rPr>
              <a:t>AGILITY</a:t>
            </a:r>
          </a:p>
        </p:txBody>
      </p:sp>
      <p:sp>
        <p:nvSpPr>
          <p:cNvPr id="44" name="Freeform 3"/>
          <p:cNvSpPr>
            <a:spLocks noChangeAspect="1" noEditPoints="1"/>
          </p:cNvSpPr>
          <p:nvPr/>
        </p:nvSpPr>
        <p:spPr bwMode="auto">
          <a:xfrm>
            <a:off x="7440263" y="1543050"/>
            <a:ext cx="1136347" cy="1317494"/>
          </a:xfrm>
          <a:custGeom>
            <a:avLst/>
            <a:gdLst>
              <a:gd name="T0" fmla="*/ 2147483647 w 335"/>
              <a:gd name="T1" fmla="*/ 2147483647 h 389"/>
              <a:gd name="T2" fmla="*/ 2147483647 w 335"/>
              <a:gd name="T3" fmla="*/ 2147483647 h 389"/>
              <a:gd name="T4" fmla="*/ 2147483647 w 335"/>
              <a:gd name="T5" fmla="*/ 2147483647 h 389"/>
              <a:gd name="T6" fmla="*/ 2147483647 w 335"/>
              <a:gd name="T7" fmla="*/ 2147483647 h 389"/>
              <a:gd name="T8" fmla="*/ 2147483647 w 335"/>
              <a:gd name="T9" fmla="*/ 2147483647 h 389"/>
              <a:gd name="T10" fmla="*/ 2147483647 w 335"/>
              <a:gd name="T11" fmla="*/ 2147483647 h 389"/>
              <a:gd name="T12" fmla="*/ 2147483647 w 335"/>
              <a:gd name="T13" fmla="*/ 2147483647 h 389"/>
              <a:gd name="T14" fmla="*/ 2147483647 w 335"/>
              <a:gd name="T15" fmla="*/ 2147483647 h 389"/>
              <a:gd name="T16" fmla="*/ 2147483647 w 335"/>
              <a:gd name="T17" fmla="*/ 2147483647 h 389"/>
              <a:gd name="T18" fmla="*/ 2147483647 w 335"/>
              <a:gd name="T19" fmla="*/ 2147483647 h 389"/>
              <a:gd name="T20" fmla="*/ 2147483647 w 335"/>
              <a:gd name="T21" fmla="*/ 0 h 389"/>
              <a:gd name="T22" fmla="*/ 2147483647 w 335"/>
              <a:gd name="T23" fmla="*/ 2147483647 h 389"/>
              <a:gd name="T24" fmla="*/ 2147483647 w 335"/>
              <a:gd name="T25" fmla="*/ 2147483647 h 389"/>
              <a:gd name="T26" fmla="*/ 2147483647 w 335"/>
              <a:gd name="T27" fmla="*/ 2147483647 h 389"/>
              <a:gd name="T28" fmla="*/ 2147483647 w 335"/>
              <a:gd name="T29" fmla="*/ 2147483647 h 389"/>
              <a:gd name="T30" fmla="*/ 2147483647 w 335"/>
              <a:gd name="T31" fmla="*/ 2147483647 h 389"/>
              <a:gd name="T32" fmla="*/ 2147483647 w 335"/>
              <a:gd name="T33" fmla="*/ 2147483647 h 389"/>
              <a:gd name="T34" fmla="*/ 2147483647 w 335"/>
              <a:gd name="T35" fmla="*/ 2147483647 h 389"/>
              <a:gd name="T36" fmla="*/ 2147483647 w 335"/>
              <a:gd name="T37" fmla="*/ 2147483647 h 389"/>
              <a:gd name="T38" fmla="*/ 2147483647 w 335"/>
              <a:gd name="T39" fmla="*/ 2147483647 h 389"/>
              <a:gd name="T40" fmla="*/ 2147483647 w 335"/>
              <a:gd name="T41" fmla="*/ 2147483647 h 389"/>
              <a:gd name="T42" fmla="*/ 2147483647 w 335"/>
              <a:gd name="T43" fmla="*/ 2147483647 h 389"/>
              <a:gd name="T44" fmla="*/ 2147483647 w 335"/>
              <a:gd name="T45" fmla="*/ 2147483647 h 389"/>
              <a:gd name="T46" fmla="*/ 2147483647 w 335"/>
              <a:gd name="T47" fmla="*/ 2147483647 h 389"/>
              <a:gd name="T48" fmla="*/ 2147483647 w 335"/>
              <a:gd name="T49" fmla="*/ 2147483647 h 389"/>
              <a:gd name="T50" fmla="*/ 2147483647 w 335"/>
              <a:gd name="T51" fmla="*/ 2147483647 h 389"/>
              <a:gd name="T52" fmla="*/ 2147483647 w 335"/>
              <a:gd name="T53" fmla="*/ 2147483647 h 389"/>
              <a:gd name="T54" fmla="*/ 2147483647 w 335"/>
              <a:gd name="T55" fmla="*/ 2147483647 h 389"/>
              <a:gd name="T56" fmla="*/ 2147483647 w 335"/>
              <a:gd name="T57" fmla="*/ 2147483647 h 389"/>
              <a:gd name="T58" fmla="*/ 2147483647 w 335"/>
              <a:gd name="T59" fmla="*/ 2147483647 h 389"/>
              <a:gd name="T60" fmla="*/ 0 w 335"/>
              <a:gd name="T61" fmla="*/ 2147483647 h 389"/>
              <a:gd name="T62" fmla="*/ 2147483647 w 335"/>
              <a:gd name="T63" fmla="*/ 2147483647 h 389"/>
              <a:gd name="T64" fmla="*/ 2147483647 w 335"/>
              <a:gd name="T65" fmla="*/ 2147483647 h 389"/>
              <a:gd name="T66" fmla="*/ 2147483647 w 335"/>
              <a:gd name="T67" fmla="*/ 2147483647 h 389"/>
              <a:gd name="T68" fmla="*/ 2147483647 w 335"/>
              <a:gd name="T69" fmla="*/ 2147483647 h 389"/>
              <a:gd name="T70" fmla="*/ 2147483647 w 335"/>
              <a:gd name="T71" fmla="*/ 2147483647 h 389"/>
              <a:gd name="T72" fmla="*/ 2147483647 w 335"/>
              <a:gd name="T73" fmla="*/ 2147483647 h 389"/>
              <a:gd name="T74" fmla="*/ 2147483647 w 335"/>
              <a:gd name="T75" fmla="*/ 2147483647 h 389"/>
              <a:gd name="T76" fmla="*/ 2147483647 w 335"/>
              <a:gd name="T77" fmla="*/ 2147483647 h 389"/>
              <a:gd name="T78" fmla="*/ 2147483647 w 335"/>
              <a:gd name="T79" fmla="*/ 2147483647 h 389"/>
              <a:gd name="T80" fmla="*/ 2147483647 w 335"/>
              <a:gd name="T81" fmla="*/ 2147483647 h 389"/>
              <a:gd name="T82" fmla="*/ 2147483647 w 335"/>
              <a:gd name="T83" fmla="*/ 2147483647 h 389"/>
              <a:gd name="T84" fmla="*/ 2147483647 w 335"/>
              <a:gd name="T85" fmla="*/ 2147483647 h 389"/>
              <a:gd name="T86" fmla="*/ 2147483647 w 335"/>
              <a:gd name="T87" fmla="*/ 2147483647 h 389"/>
              <a:gd name="T88" fmla="*/ 2147483647 w 335"/>
              <a:gd name="T89" fmla="*/ 2147483647 h 389"/>
              <a:gd name="T90" fmla="*/ 2147483647 w 335"/>
              <a:gd name="T91" fmla="*/ 2147483647 h 389"/>
              <a:gd name="T92" fmla="*/ 2147483647 w 335"/>
              <a:gd name="T93" fmla="*/ 2147483647 h 389"/>
              <a:gd name="T94" fmla="*/ 2147483647 w 335"/>
              <a:gd name="T95" fmla="*/ 2147483647 h 389"/>
              <a:gd name="T96" fmla="*/ 2147483647 w 335"/>
              <a:gd name="T97" fmla="*/ 2147483647 h 389"/>
              <a:gd name="T98" fmla="*/ 2147483647 w 335"/>
              <a:gd name="T99" fmla="*/ 2147483647 h 389"/>
              <a:gd name="T100" fmla="*/ 2147483647 w 335"/>
              <a:gd name="T101" fmla="*/ 2147483647 h 389"/>
              <a:gd name="T102" fmla="*/ 2147483647 w 335"/>
              <a:gd name="T103" fmla="*/ 2147483647 h 389"/>
              <a:gd name="T104" fmla="*/ 2147483647 w 335"/>
              <a:gd name="T105" fmla="*/ 2147483647 h 389"/>
              <a:gd name="T106" fmla="*/ 2147483647 w 335"/>
              <a:gd name="T107" fmla="*/ 2147483647 h 38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5"/>
              <a:gd name="T163" fmla="*/ 0 h 389"/>
              <a:gd name="T164" fmla="*/ 335 w 335"/>
              <a:gd name="T165" fmla="*/ 389 h 38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5" h="389">
                <a:moveTo>
                  <a:pt x="112" y="55"/>
                </a:moveTo>
                <a:cubicBezTo>
                  <a:pt x="113" y="58"/>
                  <a:pt x="116" y="60"/>
                  <a:pt x="119" y="60"/>
                </a:cubicBezTo>
                <a:cubicBezTo>
                  <a:pt x="120" y="60"/>
                  <a:pt x="121" y="60"/>
                  <a:pt x="122" y="60"/>
                </a:cubicBezTo>
                <a:cubicBezTo>
                  <a:pt x="126" y="58"/>
                  <a:pt x="128" y="53"/>
                  <a:pt x="127" y="49"/>
                </a:cubicBezTo>
                <a:cubicBezTo>
                  <a:pt x="113" y="17"/>
                  <a:pt x="113" y="17"/>
                  <a:pt x="113" y="17"/>
                </a:cubicBezTo>
                <a:cubicBezTo>
                  <a:pt x="112" y="13"/>
                  <a:pt x="107" y="11"/>
                  <a:pt x="103" y="13"/>
                </a:cubicBezTo>
                <a:cubicBezTo>
                  <a:pt x="99" y="15"/>
                  <a:pt x="97" y="19"/>
                  <a:pt x="99" y="24"/>
                </a:cubicBezTo>
                <a:lnTo>
                  <a:pt x="112" y="55"/>
                </a:lnTo>
                <a:close/>
                <a:moveTo>
                  <a:pt x="17" y="114"/>
                </a:moveTo>
                <a:cubicBezTo>
                  <a:pt x="50" y="128"/>
                  <a:pt x="50" y="128"/>
                  <a:pt x="50" y="128"/>
                </a:cubicBezTo>
                <a:cubicBezTo>
                  <a:pt x="51" y="128"/>
                  <a:pt x="52" y="129"/>
                  <a:pt x="53" y="129"/>
                </a:cubicBezTo>
                <a:cubicBezTo>
                  <a:pt x="56" y="129"/>
                  <a:pt x="59" y="127"/>
                  <a:pt x="60" y="124"/>
                </a:cubicBezTo>
                <a:cubicBezTo>
                  <a:pt x="62" y="120"/>
                  <a:pt x="60" y="115"/>
                  <a:pt x="56" y="113"/>
                </a:cubicBezTo>
                <a:cubicBezTo>
                  <a:pt x="23" y="100"/>
                  <a:pt x="23" y="100"/>
                  <a:pt x="23" y="100"/>
                </a:cubicBezTo>
                <a:cubicBezTo>
                  <a:pt x="19" y="98"/>
                  <a:pt x="14" y="100"/>
                  <a:pt x="12" y="104"/>
                </a:cubicBezTo>
                <a:cubicBezTo>
                  <a:pt x="11" y="108"/>
                  <a:pt x="13" y="113"/>
                  <a:pt x="17" y="114"/>
                </a:cubicBezTo>
                <a:close/>
                <a:moveTo>
                  <a:pt x="274" y="124"/>
                </a:moveTo>
                <a:cubicBezTo>
                  <a:pt x="276" y="127"/>
                  <a:pt x="279" y="129"/>
                  <a:pt x="282" y="129"/>
                </a:cubicBezTo>
                <a:cubicBezTo>
                  <a:pt x="283" y="129"/>
                  <a:pt x="284" y="128"/>
                  <a:pt x="285" y="128"/>
                </a:cubicBezTo>
                <a:cubicBezTo>
                  <a:pt x="318" y="114"/>
                  <a:pt x="318" y="114"/>
                  <a:pt x="318" y="114"/>
                </a:cubicBezTo>
                <a:cubicBezTo>
                  <a:pt x="322" y="113"/>
                  <a:pt x="324" y="108"/>
                  <a:pt x="322" y="104"/>
                </a:cubicBezTo>
                <a:cubicBezTo>
                  <a:pt x="320" y="100"/>
                  <a:pt x="316" y="98"/>
                  <a:pt x="312" y="100"/>
                </a:cubicBezTo>
                <a:cubicBezTo>
                  <a:pt x="279" y="113"/>
                  <a:pt x="279" y="113"/>
                  <a:pt x="279" y="113"/>
                </a:cubicBezTo>
                <a:cubicBezTo>
                  <a:pt x="275" y="115"/>
                  <a:pt x="273" y="120"/>
                  <a:pt x="274" y="124"/>
                </a:cubicBezTo>
                <a:close/>
                <a:moveTo>
                  <a:pt x="255" y="88"/>
                </a:moveTo>
                <a:cubicBezTo>
                  <a:pt x="258" y="88"/>
                  <a:pt x="260" y="87"/>
                  <a:pt x="261" y="85"/>
                </a:cubicBezTo>
                <a:cubicBezTo>
                  <a:pt x="286" y="61"/>
                  <a:pt x="286" y="61"/>
                  <a:pt x="286" y="61"/>
                </a:cubicBezTo>
                <a:cubicBezTo>
                  <a:pt x="289" y="58"/>
                  <a:pt x="289" y="53"/>
                  <a:pt x="286" y="49"/>
                </a:cubicBezTo>
                <a:cubicBezTo>
                  <a:pt x="283" y="46"/>
                  <a:pt x="278" y="46"/>
                  <a:pt x="274" y="49"/>
                </a:cubicBezTo>
                <a:cubicBezTo>
                  <a:pt x="250" y="74"/>
                  <a:pt x="250" y="74"/>
                  <a:pt x="250" y="74"/>
                </a:cubicBezTo>
                <a:cubicBezTo>
                  <a:pt x="247" y="77"/>
                  <a:pt x="247" y="82"/>
                  <a:pt x="250" y="85"/>
                </a:cubicBezTo>
                <a:cubicBezTo>
                  <a:pt x="251" y="87"/>
                  <a:pt x="253" y="88"/>
                  <a:pt x="255" y="88"/>
                </a:cubicBezTo>
                <a:close/>
                <a:moveTo>
                  <a:pt x="212" y="60"/>
                </a:moveTo>
                <a:cubicBezTo>
                  <a:pt x="213" y="60"/>
                  <a:pt x="214" y="60"/>
                  <a:pt x="215" y="60"/>
                </a:cubicBezTo>
                <a:cubicBezTo>
                  <a:pt x="218" y="60"/>
                  <a:pt x="221" y="58"/>
                  <a:pt x="223" y="55"/>
                </a:cubicBezTo>
                <a:cubicBezTo>
                  <a:pt x="236" y="24"/>
                  <a:pt x="236" y="24"/>
                  <a:pt x="236" y="24"/>
                </a:cubicBezTo>
                <a:cubicBezTo>
                  <a:pt x="237" y="19"/>
                  <a:pt x="235" y="15"/>
                  <a:pt x="231" y="13"/>
                </a:cubicBezTo>
                <a:cubicBezTo>
                  <a:pt x="227" y="11"/>
                  <a:pt x="223" y="13"/>
                  <a:pt x="221" y="17"/>
                </a:cubicBezTo>
                <a:cubicBezTo>
                  <a:pt x="208" y="49"/>
                  <a:pt x="208" y="49"/>
                  <a:pt x="208" y="49"/>
                </a:cubicBezTo>
                <a:cubicBezTo>
                  <a:pt x="206" y="53"/>
                  <a:pt x="208" y="58"/>
                  <a:pt x="212" y="60"/>
                </a:cubicBezTo>
                <a:close/>
                <a:moveTo>
                  <a:pt x="167" y="50"/>
                </a:moveTo>
                <a:cubicBezTo>
                  <a:pt x="172" y="50"/>
                  <a:pt x="175" y="47"/>
                  <a:pt x="175" y="42"/>
                </a:cubicBezTo>
                <a:cubicBezTo>
                  <a:pt x="175" y="8"/>
                  <a:pt x="175" y="8"/>
                  <a:pt x="175" y="8"/>
                </a:cubicBezTo>
                <a:cubicBezTo>
                  <a:pt x="175" y="4"/>
                  <a:pt x="172" y="0"/>
                  <a:pt x="167" y="0"/>
                </a:cubicBezTo>
                <a:cubicBezTo>
                  <a:pt x="163" y="0"/>
                  <a:pt x="159" y="4"/>
                  <a:pt x="159" y="8"/>
                </a:cubicBezTo>
                <a:cubicBezTo>
                  <a:pt x="159" y="42"/>
                  <a:pt x="159" y="42"/>
                  <a:pt x="159" y="42"/>
                </a:cubicBezTo>
                <a:cubicBezTo>
                  <a:pt x="159" y="47"/>
                  <a:pt x="163" y="50"/>
                  <a:pt x="167" y="50"/>
                </a:cubicBezTo>
                <a:close/>
                <a:moveTo>
                  <a:pt x="73" y="85"/>
                </a:moveTo>
                <a:cubicBezTo>
                  <a:pt x="75" y="87"/>
                  <a:pt x="77" y="88"/>
                  <a:pt x="79" y="88"/>
                </a:cubicBezTo>
                <a:cubicBezTo>
                  <a:pt x="81" y="88"/>
                  <a:pt x="83" y="87"/>
                  <a:pt x="85" y="85"/>
                </a:cubicBezTo>
                <a:cubicBezTo>
                  <a:pt x="88" y="82"/>
                  <a:pt x="88" y="77"/>
                  <a:pt x="85" y="74"/>
                </a:cubicBezTo>
                <a:cubicBezTo>
                  <a:pt x="60" y="49"/>
                  <a:pt x="60" y="49"/>
                  <a:pt x="60" y="49"/>
                </a:cubicBezTo>
                <a:cubicBezTo>
                  <a:pt x="57" y="46"/>
                  <a:pt x="52" y="46"/>
                  <a:pt x="49" y="49"/>
                </a:cubicBezTo>
                <a:cubicBezTo>
                  <a:pt x="45" y="53"/>
                  <a:pt x="45" y="58"/>
                  <a:pt x="49" y="61"/>
                </a:cubicBezTo>
                <a:lnTo>
                  <a:pt x="73" y="85"/>
                </a:lnTo>
                <a:close/>
                <a:moveTo>
                  <a:pt x="318" y="222"/>
                </a:moveTo>
                <a:cubicBezTo>
                  <a:pt x="285" y="208"/>
                  <a:pt x="285" y="208"/>
                  <a:pt x="285" y="208"/>
                </a:cubicBezTo>
                <a:cubicBezTo>
                  <a:pt x="281" y="206"/>
                  <a:pt x="276" y="208"/>
                  <a:pt x="274" y="212"/>
                </a:cubicBezTo>
                <a:cubicBezTo>
                  <a:pt x="273" y="217"/>
                  <a:pt x="275" y="221"/>
                  <a:pt x="279" y="223"/>
                </a:cubicBezTo>
                <a:cubicBezTo>
                  <a:pt x="312" y="237"/>
                  <a:pt x="312" y="237"/>
                  <a:pt x="312" y="237"/>
                </a:cubicBezTo>
                <a:cubicBezTo>
                  <a:pt x="313" y="237"/>
                  <a:pt x="314" y="237"/>
                  <a:pt x="315" y="237"/>
                </a:cubicBezTo>
                <a:cubicBezTo>
                  <a:pt x="318" y="237"/>
                  <a:pt x="321" y="235"/>
                  <a:pt x="322" y="232"/>
                </a:cubicBezTo>
                <a:cubicBezTo>
                  <a:pt x="324" y="228"/>
                  <a:pt x="322" y="223"/>
                  <a:pt x="318" y="222"/>
                </a:cubicBezTo>
                <a:close/>
                <a:moveTo>
                  <a:pt x="327" y="160"/>
                </a:moveTo>
                <a:cubicBezTo>
                  <a:pt x="290" y="160"/>
                  <a:pt x="290" y="160"/>
                  <a:pt x="290" y="160"/>
                </a:cubicBezTo>
                <a:cubicBezTo>
                  <a:pt x="286" y="160"/>
                  <a:pt x="282" y="164"/>
                  <a:pt x="282" y="168"/>
                </a:cubicBezTo>
                <a:cubicBezTo>
                  <a:pt x="282" y="172"/>
                  <a:pt x="286" y="176"/>
                  <a:pt x="290" y="176"/>
                </a:cubicBezTo>
                <a:cubicBezTo>
                  <a:pt x="327" y="176"/>
                  <a:pt x="327" y="176"/>
                  <a:pt x="327" y="176"/>
                </a:cubicBezTo>
                <a:cubicBezTo>
                  <a:pt x="331" y="176"/>
                  <a:pt x="335" y="172"/>
                  <a:pt x="335" y="168"/>
                </a:cubicBezTo>
                <a:cubicBezTo>
                  <a:pt x="335" y="164"/>
                  <a:pt x="331" y="160"/>
                  <a:pt x="327" y="160"/>
                </a:cubicBezTo>
                <a:close/>
                <a:moveTo>
                  <a:pt x="167" y="240"/>
                </a:moveTo>
                <a:cubicBezTo>
                  <a:pt x="172" y="240"/>
                  <a:pt x="175" y="236"/>
                  <a:pt x="175" y="231"/>
                </a:cubicBezTo>
                <a:cubicBezTo>
                  <a:pt x="175" y="225"/>
                  <a:pt x="175" y="225"/>
                  <a:pt x="175" y="225"/>
                </a:cubicBezTo>
                <a:cubicBezTo>
                  <a:pt x="178" y="224"/>
                  <a:pt x="182" y="223"/>
                  <a:pt x="186" y="222"/>
                </a:cubicBezTo>
                <a:cubicBezTo>
                  <a:pt x="190" y="220"/>
                  <a:pt x="195" y="218"/>
                  <a:pt x="198" y="214"/>
                </a:cubicBezTo>
                <a:cubicBezTo>
                  <a:pt x="202" y="210"/>
                  <a:pt x="205" y="203"/>
                  <a:pt x="205" y="197"/>
                </a:cubicBezTo>
                <a:cubicBezTo>
                  <a:pt x="205" y="193"/>
                  <a:pt x="204" y="189"/>
                  <a:pt x="203" y="186"/>
                </a:cubicBezTo>
                <a:cubicBezTo>
                  <a:pt x="199" y="177"/>
                  <a:pt x="192" y="173"/>
                  <a:pt x="186" y="170"/>
                </a:cubicBezTo>
                <a:cubicBezTo>
                  <a:pt x="180" y="167"/>
                  <a:pt x="173" y="166"/>
                  <a:pt x="170" y="165"/>
                </a:cubicBezTo>
                <a:cubicBezTo>
                  <a:pt x="164" y="164"/>
                  <a:pt x="158" y="163"/>
                  <a:pt x="154" y="161"/>
                </a:cubicBezTo>
                <a:cubicBezTo>
                  <a:pt x="152" y="160"/>
                  <a:pt x="151" y="159"/>
                  <a:pt x="150" y="157"/>
                </a:cubicBezTo>
                <a:cubicBezTo>
                  <a:pt x="149" y="156"/>
                  <a:pt x="148" y="154"/>
                  <a:pt x="148" y="151"/>
                </a:cubicBezTo>
                <a:cubicBezTo>
                  <a:pt x="148" y="148"/>
                  <a:pt x="149" y="147"/>
                  <a:pt x="150" y="145"/>
                </a:cubicBezTo>
                <a:cubicBezTo>
                  <a:pt x="152" y="143"/>
                  <a:pt x="156" y="141"/>
                  <a:pt x="160" y="141"/>
                </a:cubicBezTo>
                <a:cubicBezTo>
                  <a:pt x="162" y="140"/>
                  <a:pt x="164" y="140"/>
                  <a:pt x="165" y="140"/>
                </a:cubicBezTo>
                <a:cubicBezTo>
                  <a:pt x="165" y="140"/>
                  <a:pt x="166" y="140"/>
                  <a:pt x="166" y="140"/>
                </a:cubicBezTo>
                <a:cubicBezTo>
                  <a:pt x="167" y="140"/>
                  <a:pt x="167" y="140"/>
                  <a:pt x="167" y="140"/>
                </a:cubicBezTo>
                <a:cubicBezTo>
                  <a:pt x="173" y="140"/>
                  <a:pt x="178" y="141"/>
                  <a:pt x="181" y="142"/>
                </a:cubicBezTo>
                <a:cubicBezTo>
                  <a:pt x="182" y="143"/>
                  <a:pt x="183" y="143"/>
                  <a:pt x="184" y="144"/>
                </a:cubicBezTo>
                <a:cubicBezTo>
                  <a:pt x="184" y="144"/>
                  <a:pt x="184" y="144"/>
                  <a:pt x="184" y="144"/>
                </a:cubicBezTo>
                <a:cubicBezTo>
                  <a:pt x="184" y="144"/>
                  <a:pt x="184" y="144"/>
                  <a:pt x="184" y="144"/>
                </a:cubicBezTo>
                <a:cubicBezTo>
                  <a:pt x="187" y="147"/>
                  <a:pt x="193" y="147"/>
                  <a:pt x="196" y="143"/>
                </a:cubicBezTo>
                <a:cubicBezTo>
                  <a:pt x="199" y="140"/>
                  <a:pt x="198" y="135"/>
                  <a:pt x="195" y="132"/>
                </a:cubicBezTo>
                <a:cubicBezTo>
                  <a:pt x="194" y="131"/>
                  <a:pt x="188" y="126"/>
                  <a:pt x="175" y="124"/>
                </a:cubicBezTo>
                <a:cubicBezTo>
                  <a:pt x="175" y="117"/>
                  <a:pt x="175" y="117"/>
                  <a:pt x="175" y="117"/>
                </a:cubicBezTo>
                <a:cubicBezTo>
                  <a:pt x="175" y="113"/>
                  <a:pt x="172" y="109"/>
                  <a:pt x="167" y="109"/>
                </a:cubicBezTo>
                <a:cubicBezTo>
                  <a:pt x="162" y="109"/>
                  <a:pt x="159" y="113"/>
                  <a:pt x="159" y="117"/>
                </a:cubicBezTo>
                <a:cubicBezTo>
                  <a:pt x="159" y="124"/>
                  <a:pt x="159" y="124"/>
                  <a:pt x="159" y="124"/>
                </a:cubicBezTo>
                <a:cubicBezTo>
                  <a:pt x="156" y="124"/>
                  <a:pt x="153" y="125"/>
                  <a:pt x="150" y="126"/>
                </a:cubicBezTo>
                <a:cubicBezTo>
                  <a:pt x="146" y="128"/>
                  <a:pt x="142" y="130"/>
                  <a:pt x="138" y="134"/>
                </a:cubicBezTo>
                <a:cubicBezTo>
                  <a:pt x="134" y="138"/>
                  <a:pt x="132" y="144"/>
                  <a:pt x="132" y="151"/>
                </a:cubicBezTo>
                <a:cubicBezTo>
                  <a:pt x="132" y="157"/>
                  <a:pt x="133" y="162"/>
                  <a:pt x="136" y="166"/>
                </a:cubicBezTo>
                <a:cubicBezTo>
                  <a:pt x="140" y="173"/>
                  <a:pt x="147" y="176"/>
                  <a:pt x="152" y="178"/>
                </a:cubicBezTo>
                <a:cubicBezTo>
                  <a:pt x="157" y="180"/>
                  <a:pt x="163" y="180"/>
                  <a:pt x="166" y="181"/>
                </a:cubicBezTo>
                <a:cubicBezTo>
                  <a:pt x="170" y="182"/>
                  <a:pt x="175" y="183"/>
                  <a:pt x="179" y="185"/>
                </a:cubicBezTo>
                <a:cubicBezTo>
                  <a:pt x="183" y="187"/>
                  <a:pt x="186" y="189"/>
                  <a:pt x="187" y="192"/>
                </a:cubicBezTo>
                <a:cubicBezTo>
                  <a:pt x="188" y="193"/>
                  <a:pt x="188" y="195"/>
                  <a:pt x="188" y="197"/>
                </a:cubicBezTo>
                <a:cubicBezTo>
                  <a:pt x="188" y="200"/>
                  <a:pt x="187" y="201"/>
                  <a:pt x="186" y="203"/>
                </a:cubicBezTo>
                <a:cubicBezTo>
                  <a:pt x="184" y="205"/>
                  <a:pt x="180" y="207"/>
                  <a:pt x="176" y="208"/>
                </a:cubicBezTo>
                <a:cubicBezTo>
                  <a:pt x="172" y="209"/>
                  <a:pt x="168" y="209"/>
                  <a:pt x="167" y="209"/>
                </a:cubicBezTo>
                <a:cubicBezTo>
                  <a:pt x="167" y="209"/>
                  <a:pt x="167" y="209"/>
                  <a:pt x="167" y="209"/>
                </a:cubicBezTo>
                <a:cubicBezTo>
                  <a:pt x="162" y="209"/>
                  <a:pt x="155" y="207"/>
                  <a:pt x="151" y="204"/>
                </a:cubicBezTo>
                <a:cubicBezTo>
                  <a:pt x="148" y="203"/>
                  <a:pt x="146" y="202"/>
                  <a:pt x="145" y="201"/>
                </a:cubicBezTo>
                <a:cubicBezTo>
                  <a:pt x="145" y="200"/>
                  <a:pt x="144" y="200"/>
                  <a:pt x="144" y="200"/>
                </a:cubicBezTo>
                <a:cubicBezTo>
                  <a:pt x="143" y="199"/>
                  <a:pt x="143" y="199"/>
                  <a:pt x="143" y="199"/>
                </a:cubicBezTo>
                <a:cubicBezTo>
                  <a:pt x="140" y="197"/>
                  <a:pt x="135" y="197"/>
                  <a:pt x="132" y="201"/>
                </a:cubicBezTo>
                <a:cubicBezTo>
                  <a:pt x="129" y="204"/>
                  <a:pt x="129" y="209"/>
                  <a:pt x="133" y="212"/>
                </a:cubicBezTo>
                <a:cubicBezTo>
                  <a:pt x="133" y="213"/>
                  <a:pt x="144" y="222"/>
                  <a:pt x="159" y="224"/>
                </a:cubicBezTo>
                <a:cubicBezTo>
                  <a:pt x="159" y="231"/>
                  <a:pt x="159" y="231"/>
                  <a:pt x="159" y="231"/>
                </a:cubicBezTo>
                <a:cubicBezTo>
                  <a:pt x="159" y="236"/>
                  <a:pt x="162" y="240"/>
                  <a:pt x="167" y="240"/>
                </a:cubicBezTo>
                <a:close/>
                <a:moveTo>
                  <a:pt x="52" y="168"/>
                </a:moveTo>
                <a:cubicBezTo>
                  <a:pt x="52" y="164"/>
                  <a:pt x="49" y="160"/>
                  <a:pt x="44" y="160"/>
                </a:cubicBezTo>
                <a:cubicBezTo>
                  <a:pt x="8" y="160"/>
                  <a:pt x="8" y="160"/>
                  <a:pt x="8" y="160"/>
                </a:cubicBezTo>
                <a:cubicBezTo>
                  <a:pt x="3" y="160"/>
                  <a:pt x="0" y="164"/>
                  <a:pt x="0" y="168"/>
                </a:cubicBezTo>
                <a:cubicBezTo>
                  <a:pt x="0" y="172"/>
                  <a:pt x="3" y="176"/>
                  <a:pt x="8" y="176"/>
                </a:cubicBezTo>
                <a:cubicBezTo>
                  <a:pt x="44" y="176"/>
                  <a:pt x="44" y="176"/>
                  <a:pt x="44" y="176"/>
                </a:cubicBezTo>
                <a:cubicBezTo>
                  <a:pt x="49" y="176"/>
                  <a:pt x="52" y="172"/>
                  <a:pt x="52" y="168"/>
                </a:cubicBezTo>
                <a:close/>
                <a:moveTo>
                  <a:pt x="50" y="208"/>
                </a:moveTo>
                <a:cubicBezTo>
                  <a:pt x="17" y="222"/>
                  <a:pt x="17" y="222"/>
                  <a:pt x="17" y="222"/>
                </a:cubicBezTo>
                <a:cubicBezTo>
                  <a:pt x="13" y="223"/>
                  <a:pt x="11" y="228"/>
                  <a:pt x="12" y="232"/>
                </a:cubicBezTo>
                <a:cubicBezTo>
                  <a:pt x="14" y="235"/>
                  <a:pt x="17" y="237"/>
                  <a:pt x="20" y="237"/>
                </a:cubicBezTo>
                <a:cubicBezTo>
                  <a:pt x="21" y="237"/>
                  <a:pt x="22" y="237"/>
                  <a:pt x="23" y="237"/>
                </a:cubicBezTo>
                <a:cubicBezTo>
                  <a:pt x="56" y="223"/>
                  <a:pt x="56" y="223"/>
                  <a:pt x="56" y="223"/>
                </a:cubicBezTo>
                <a:cubicBezTo>
                  <a:pt x="60" y="221"/>
                  <a:pt x="62" y="217"/>
                  <a:pt x="60" y="212"/>
                </a:cubicBezTo>
                <a:cubicBezTo>
                  <a:pt x="58" y="208"/>
                  <a:pt x="54" y="206"/>
                  <a:pt x="50" y="208"/>
                </a:cubicBezTo>
                <a:close/>
                <a:moveTo>
                  <a:pt x="243" y="103"/>
                </a:moveTo>
                <a:cubicBezTo>
                  <a:pt x="239" y="106"/>
                  <a:pt x="239" y="111"/>
                  <a:pt x="241" y="114"/>
                </a:cubicBezTo>
                <a:cubicBezTo>
                  <a:pt x="241" y="114"/>
                  <a:pt x="241" y="114"/>
                  <a:pt x="241" y="114"/>
                </a:cubicBezTo>
                <a:cubicBezTo>
                  <a:pt x="251" y="129"/>
                  <a:pt x="257" y="147"/>
                  <a:pt x="257" y="166"/>
                </a:cubicBezTo>
                <a:cubicBezTo>
                  <a:pt x="257" y="191"/>
                  <a:pt x="248" y="208"/>
                  <a:pt x="237" y="223"/>
                </a:cubicBezTo>
                <a:cubicBezTo>
                  <a:pt x="227" y="238"/>
                  <a:pt x="214" y="250"/>
                  <a:pt x="213" y="267"/>
                </a:cubicBezTo>
                <a:cubicBezTo>
                  <a:pt x="213" y="287"/>
                  <a:pt x="213" y="287"/>
                  <a:pt x="213" y="287"/>
                </a:cubicBezTo>
                <a:cubicBezTo>
                  <a:pt x="205" y="287"/>
                  <a:pt x="190" y="287"/>
                  <a:pt x="167" y="287"/>
                </a:cubicBezTo>
                <a:cubicBezTo>
                  <a:pt x="145" y="287"/>
                  <a:pt x="129" y="287"/>
                  <a:pt x="120" y="287"/>
                </a:cubicBezTo>
                <a:cubicBezTo>
                  <a:pt x="120" y="267"/>
                  <a:pt x="120" y="267"/>
                  <a:pt x="120" y="267"/>
                </a:cubicBezTo>
                <a:cubicBezTo>
                  <a:pt x="119" y="250"/>
                  <a:pt x="107" y="238"/>
                  <a:pt x="96" y="223"/>
                </a:cubicBezTo>
                <a:cubicBezTo>
                  <a:pt x="86" y="208"/>
                  <a:pt x="76" y="191"/>
                  <a:pt x="76" y="166"/>
                </a:cubicBezTo>
                <a:cubicBezTo>
                  <a:pt x="76" y="118"/>
                  <a:pt x="115" y="75"/>
                  <a:pt x="167" y="75"/>
                </a:cubicBezTo>
                <a:cubicBezTo>
                  <a:pt x="187" y="75"/>
                  <a:pt x="205" y="82"/>
                  <a:pt x="220" y="93"/>
                </a:cubicBezTo>
                <a:cubicBezTo>
                  <a:pt x="220" y="93"/>
                  <a:pt x="221" y="93"/>
                  <a:pt x="221" y="93"/>
                </a:cubicBezTo>
                <a:cubicBezTo>
                  <a:pt x="222" y="94"/>
                  <a:pt x="224" y="95"/>
                  <a:pt x="225" y="95"/>
                </a:cubicBezTo>
                <a:cubicBezTo>
                  <a:pt x="228" y="95"/>
                  <a:pt x="230" y="94"/>
                  <a:pt x="232" y="92"/>
                </a:cubicBezTo>
                <a:cubicBezTo>
                  <a:pt x="234" y="88"/>
                  <a:pt x="234" y="83"/>
                  <a:pt x="230" y="80"/>
                </a:cubicBezTo>
                <a:cubicBezTo>
                  <a:pt x="213" y="67"/>
                  <a:pt x="191" y="59"/>
                  <a:pt x="167" y="59"/>
                </a:cubicBezTo>
                <a:cubicBezTo>
                  <a:pt x="106" y="59"/>
                  <a:pt x="60" y="109"/>
                  <a:pt x="60" y="166"/>
                </a:cubicBezTo>
                <a:cubicBezTo>
                  <a:pt x="60" y="196"/>
                  <a:pt x="72" y="217"/>
                  <a:pt x="83" y="233"/>
                </a:cubicBezTo>
                <a:cubicBezTo>
                  <a:pt x="95" y="248"/>
                  <a:pt x="105" y="260"/>
                  <a:pt x="104" y="267"/>
                </a:cubicBezTo>
                <a:cubicBezTo>
                  <a:pt x="104" y="291"/>
                  <a:pt x="104" y="291"/>
                  <a:pt x="104" y="291"/>
                </a:cubicBezTo>
                <a:cubicBezTo>
                  <a:pt x="104" y="298"/>
                  <a:pt x="108" y="302"/>
                  <a:pt x="110" y="305"/>
                </a:cubicBezTo>
                <a:cubicBezTo>
                  <a:pt x="111" y="306"/>
                  <a:pt x="112" y="307"/>
                  <a:pt x="112" y="308"/>
                </a:cubicBezTo>
                <a:cubicBezTo>
                  <a:pt x="112" y="316"/>
                  <a:pt x="112" y="316"/>
                  <a:pt x="112" y="316"/>
                </a:cubicBezTo>
                <a:cubicBezTo>
                  <a:pt x="112" y="320"/>
                  <a:pt x="113" y="323"/>
                  <a:pt x="114" y="325"/>
                </a:cubicBezTo>
                <a:cubicBezTo>
                  <a:pt x="115" y="327"/>
                  <a:pt x="116" y="329"/>
                  <a:pt x="116" y="330"/>
                </a:cubicBezTo>
                <a:cubicBezTo>
                  <a:pt x="109" y="330"/>
                  <a:pt x="109" y="330"/>
                  <a:pt x="109" y="330"/>
                </a:cubicBezTo>
                <a:cubicBezTo>
                  <a:pt x="104" y="330"/>
                  <a:pt x="101" y="333"/>
                  <a:pt x="101" y="338"/>
                </a:cubicBezTo>
                <a:cubicBezTo>
                  <a:pt x="101" y="342"/>
                  <a:pt x="104" y="346"/>
                  <a:pt x="109" y="346"/>
                </a:cubicBezTo>
                <a:cubicBezTo>
                  <a:pt x="116" y="346"/>
                  <a:pt x="116" y="346"/>
                  <a:pt x="116" y="346"/>
                </a:cubicBezTo>
                <a:cubicBezTo>
                  <a:pt x="116" y="349"/>
                  <a:pt x="116" y="349"/>
                  <a:pt x="116" y="349"/>
                </a:cubicBezTo>
                <a:cubicBezTo>
                  <a:pt x="116" y="354"/>
                  <a:pt x="118" y="357"/>
                  <a:pt x="120" y="361"/>
                </a:cubicBezTo>
                <a:cubicBezTo>
                  <a:pt x="124" y="367"/>
                  <a:pt x="129" y="373"/>
                  <a:pt x="134" y="378"/>
                </a:cubicBezTo>
                <a:cubicBezTo>
                  <a:pt x="136" y="381"/>
                  <a:pt x="139" y="383"/>
                  <a:pt x="141" y="385"/>
                </a:cubicBezTo>
                <a:cubicBezTo>
                  <a:pt x="142" y="386"/>
                  <a:pt x="143" y="387"/>
                  <a:pt x="144" y="387"/>
                </a:cubicBezTo>
                <a:cubicBezTo>
                  <a:pt x="145" y="388"/>
                  <a:pt x="146" y="389"/>
                  <a:pt x="150" y="389"/>
                </a:cubicBezTo>
                <a:cubicBezTo>
                  <a:pt x="183" y="389"/>
                  <a:pt x="183" y="389"/>
                  <a:pt x="183" y="389"/>
                </a:cubicBezTo>
                <a:cubicBezTo>
                  <a:pt x="187" y="389"/>
                  <a:pt x="189" y="388"/>
                  <a:pt x="191" y="387"/>
                </a:cubicBezTo>
                <a:cubicBezTo>
                  <a:pt x="196" y="383"/>
                  <a:pt x="202" y="376"/>
                  <a:pt x="207" y="369"/>
                </a:cubicBezTo>
                <a:cubicBezTo>
                  <a:pt x="210" y="366"/>
                  <a:pt x="212" y="362"/>
                  <a:pt x="214" y="359"/>
                </a:cubicBezTo>
                <a:cubicBezTo>
                  <a:pt x="216" y="356"/>
                  <a:pt x="217" y="353"/>
                  <a:pt x="218" y="349"/>
                </a:cubicBezTo>
                <a:cubicBezTo>
                  <a:pt x="218" y="346"/>
                  <a:pt x="218" y="346"/>
                  <a:pt x="218" y="346"/>
                </a:cubicBezTo>
                <a:cubicBezTo>
                  <a:pt x="224" y="346"/>
                  <a:pt x="224" y="346"/>
                  <a:pt x="224" y="346"/>
                </a:cubicBezTo>
                <a:cubicBezTo>
                  <a:pt x="229" y="346"/>
                  <a:pt x="232" y="342"/>
                  <a:pt x="232" y="338"/>
                </a:cubicBezTo>
                <a:cubicBezTo>
                  <a:pt x="232" y="333"/>
                  <a:pt x="229" y="330"/>
                  <a:pt x="224" y="330"/>
                </a:cubicBezTo>
                <a:cubicBezTo>
                  <a:pt x="218" y="330"/>
                  <a:pt x="218" y="330"/>
                  <a:pt x="218" y="330"/>
                </a:cubicBezTo>
                <a:cubicBezTo>
                  <a:pt x="218" y="329"/>
                  <a:pt x="218" y="328"/>
                  <a:pt x="219" y="326"/>
                </a:cubicBezTo>
                <a:cubicBezTo>
                  <a:pt x="220" y="323"/>
                  <a:pt x="221" y="320"/>
                  <a:pt x="221" y="316"/>
                </a:cubicBezTo>
                <a:cubicBezTo>
                  <a:pt x="221" y="308"/>
                  <a:pt x="221" y="308"/>
                  <a:pt x="221" y="308"/>
                </a:cubicBezTo>
                <a:cubicBezTo>
                  <a:pt x="221" y="308"/>
                  <a:pt x="222" y="308"/>
                  <a:pt x="222" y="308"/>
                </a:cubicBezTo>
                <a:cubicBezTo>
                  <a:pt x="224" y="305"/>
                  <a:pt x="229" y="300"/>
                  <a:pt x="229" y="291"/>
                </a:cubicBezTo>
                <a:cubicBezTo>
                  <a:pt x="229" y="267"/>
                  <a:pt x="229" y="267"/>
                  <a:pt x="229" y="267"/>
                </a:cubicBezTo>
                <a:cubicBezTo>
                  <a:pt x="229" y="260"/>
                  <a:pt x="238" y="248"/>
                  <a:pt x="250" y="233"/>
                </a:cubicBezTo>
                <a:cubicBezTo>
                  <a:pt x="261" y="217"/>
                  <a:pt x="273" y="196"/>
                  <a:pt x="273" y="166"/>
                </a:cubicBezTo>
                <a:cubicBezTo>
                  <a:pt x="273" y="144"/>
                  <a:pt x="266" y="122"/>
                  <a:pt x="254" y="105"/>
                </a:cubicBezTo>
                <a:cubicBezTo>
                  <a:pt x="251" y="101"/>
                  <a:pt x="247" y="101"/>
                  <a:pt x="243" y="103"/>
                </a:cubicBezTo>
                <a:close/>
                <a:moveTo>
                  <a:pt x="205" y="307"/>
                </a:moveTo>
                <a:cubicBezTo>
                  <a:pt x="205" y="316"/>
                  <a:pt x="205" y="316"/>
                  <a:pt x="205" y="316"/>
                </a:cubicBezTo>
                <a:cubicBezTo>
                  <a:pt x="205" y="316"/>
                  <a:pt x="205" y="318"/>
                  <a:pt x="204" y="320"/>
                </a:cubicBezTo>
                <a:cubicBezTo>
                  <a:pt x="203" y="322"/>
                  <a:pt x="202" y="325"/>
                  <a:pt x="202" y="330"/>
                </a:cubicBezTo>
                <a:cubicBezTo>
                  <a:pt x="202" y="348"/>
                  <a:pt x="202" y="348"/>
                  <a:pt x="202" y="348"/>
                </a:cubicBezTo>
                <a:cubicBezTo>
                  <a:pt x="201" y="350"/>
                  <a:pt x="196" y="358"/>
                  <a:pt x="191" y="364"/>
                </a:cubicBezTo>
                <a:cubicBezTo>
                  <a:pt x="189" y="367"/>
                  <a:pt x="186" y="370"/>
                  <a:pt x="184" y="372"/>
                </a:cubicBezTo>
                <a:cubicBezTo>
                  <a:pt x="183" y="372"/>
                  <a:pt x="183" y="373"/>
                  <a:pt x="182" y="373"/>
                </a:cubicBezTo>
                <a:cubicBezTo>
                  <a:pt x="152" y="373"/>
                  <a:pt x="152" y="373"/>
                  <a:pt x="152" y="373"/>
                </a:cubicBezTo>
                <a:cubicBezTo>
                  <a:pt x="150" y="371"/>
                  <a:pt x="144" y="366"/>
                  <a:pt x="140" y="361"/>
                </a:cubicBezTo>
                <a:cubicBezTo>
                  <a:pt x="137" y="357"/>
                  <a:pt x="135" y="354"/>
                  <a:pt x="133" y="352"/>
                </a:cubicBezTo>
                <a:cubicBezTo>
                  <a:pt x="133" y="350"/>
                  <a:pt x="132" y="349"/>
                  <a:pt x="132" y="349"/>
                </a:cubicBezTo>
                <a:cubicBezTo>
                  <a:pt x="132" y="348"/>
                  <a:pt x="132" y="348"/>
                  <a:pt x="132" y="348"/>
                </a:cubicBezTo>
                <a:cubicBezTo>
                  <a:pt x="132" y="330"/>
                  <a:pt x="132" y="330"/>
                  <a:pt x="132" y="330"/>
                </a:cubicBezTo>
                <a:cubicBezTo>
                  <a:pt x="132" y="325"/>
                  <a:pt x="130" y="322"/>
                  <a:pt x="129" y="320"/>
                </a:cubicBezTo>
                <a:cubicBezTo>
                  <a:pt x="129" y="318"/>
                  <a:pt x="128" y="317"/>
                  <a:pt x="128" y="317"/>
                </a:cubicBezTo>
                <a:cubicBezTo>
                  <a:pt x="128" y="316"/>
                  <a:pt x="128" y="316"/>
                  <a:pt x="128" y="316"/>
                </a:cubicBezTo>
                <a:cubicBezTo>
                  <a:pt x="128" y="316"/>
                  <a:pt x="128" y="316"/>
                  <a:pt x="128" y="316"/>
                </a:cubicBezTo>
                <a:cubicBezTo>
                  <a:pt x="128" y="307"/>
                  <a:pt x="128" y="307"/>
                  <a:pt x="128" y="307"/>
                </a:cubicBezTo>
                <a:cubicBezTo>
                  <a:pt x="128" y="305"/>
                  <a:pt x="128" y="304"/>
                  <a:pt x="127" y="303"/>
                </a:cubicBezTo>
                <a:cubicBezTo>
                  <a:pt x="137" y="303"/>
                  <a:pt x="150" y="303"/>
                  <a:pt x="167" y="303"/>
                </a:cubicBezTo>
                <a:cubicBezTo>
                  <a:pt x="184" y="303"/>
                  <a:pt x="197" y="303"/>
                  <a:pt x="206" y="303"/>
                </a:cubicBezTo>
                <a:cubicBezTo>
                  <a:pt x="206" y="304"/>
                  <a:pt x="205" y="305"/>
                  <a:pt x="205" y="307"/>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5" name="TextBox 23"/>
          <p:cNvSpPr txBox="1">
            <a:spLocks noChangeArrowheads="1"/>
          </p:cNvSpPr>
          <p:nvPr/>
        </p:nvSpPr>
        <p:spPr bwMode="auto">
          <a:xfrm>
            <a:off x="7270493" y="2966133"/>
            <a:ext cx="1483043" cy="658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100">
                <a:solidFill>
                  <a:schemeClr val="tx1"/>
                </a:solidFill>
                <a:latin typeface="Arial" pitchFamily="34" charset="0"/>
                <a:cs typeface="Arial" pitchFamily="34" charset="0"/>
              </a:defRPr>
            </a:lvl1pPr>
            <a:lvl2pPr marL="742950" indent="-285750" eaLnBrk="0" hangingPunct="0">
              <a:defRPr sz="2100">
                <a:solidFill>
                  <a:schemeClr val="tx1"/>
                </a:solidFill>
                <a:latin typeface="Arial" pitchFamily="34" charset="0"/>
                <a:cs typeface="Arial" pitchFamily="34" charset="0"/>
              </a:defRPr>
            </a:lvl2pPr>
            <a:lvl3pPr marL="1143000" indent="-228600" eaLnBrk="0" hangingPunct="0">
              <a:defRPr sz="2100">
                <a:solidFill>
                  <a:schemeClr val="tx1"/>
                </a:solidFill>
                <a:latin typeface="Arial" pitchFamily="34" charset="0"/>
                <a:cs typeface="Arial" pitchFamily="34" charset="0"/>
              </a:defRPr>
            </a:lvl3pPr>
            <a:lvl4pPr marL="1600200" indent="-228600" eaLnBrk="0" hangingPunct="0">
              <a:defRPr sz="2100">
                <a:solidFill>
                  <a:schemeClr val="tx1"/>
                </a:solidFill>
                <a:latin typeface="Arial" pitchFamily="34" charset="0"/>
                <a:cs typeface="Arial" pitchFamily="34" charset="0"/>
              </a:defRPr>
            </a:lvl4pPr>
            <a:lvl5pPr marL="2057400" indent="-228600" eaLnBrk="0" hangingPunct="0">
              <a:defRPr sz="21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1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1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1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100">
                <a:solidFill>
                  <a:schemeClr val="tx1"/>
                </a:solidFill>
                <a:latin typeface="Arial" pitchFamily="34" charset="0"/>
                <a:cs typeface="Arial" pitchFamily="34" charset="0"/>
              </a:defRPr>
            </a:lvl9pPr>
          </a:lstStyle>
          <a:p>
            <a:pPr algn="ctr" eaLnBrk="1" hangingPunct="1"/>
            <a:r>
              <a:rPr lang="en-US" sz="1800">
                <a:solidFill>
                  <a:srgbClr val="8F3F7B"/>
                </a:solidFill>
              </a:rPr>
              <a:t>BUSINESS</a:t>
            </a:r>
            <a:br>
              <a:rPr lang="en-US" sz="1800">
                <a:solidFill>
                  <a:srgbClr val="8F3F7B"/>
                </a:solidFill>
              </a:rPr>
            </a:br>
            <a:r>
              <a:rPr lang="en-US" sz="1600">
                <a:solidFill>
                  <a:srgbClr val="8F3F7B"/>
                </a:solidFill>
              </a:rPr>
              <a:t>AGILITY</a:t>
            </a:r>
          </a:p>
        </p:txBody>
      </p:sp>
      <p:sp>
        <p:nvSpPr>
          <p:cNvPr id="46" name="Freeform 15"/>
          <p:cNvSpPr>
            <a:spLocks noChangeAspect="1"/>
          </p:cNvSpPr>
          <p:nvPr/>
        </p:nvSpPr>
        <p:spPr bwMode="auto">
          <a:xfrm>
            <a:off x="399491" y="3941576"/>
            <a:ext cx="8177370" cy="2184587"/>
          </a:xfrm>
          <a:custGeom>
            <a:avLst/>
            <a:gdLst>
              <a:gd name="T0" fmla="*/ 2147483647 w 2234"/>
              <a:gd name="T1" fmla="*/ 2147483647 h 586"/>
              <a:gd name="T2" fmla="*/ 0 w 2234"/>
              <a:gd name="T3" fmla="*/ 2147483647 h 586"/>
              <a:gd name="T4" fmla="*/ 0 w 2234"/>
              <a:gd name="T5" fmla="*/ 2147483647 h 586"/>
              <a:gd name="T6" fmla="*/ 0 w 2234"/>
              <a:gd name="T7" fmla="*/ 2147483647 h 586"/>
              <a:gd name="T8" fmla="*/ 2147483647 w 2234"/>
              <a:gd name="T9" fmla="*/ 0 h 586"/>
              <a:gd name="T10" fmla="*/ 2147483647 w 2234"/>
              <a:gd name="T11" fmla="*/ 0 h 586"/>
              <a:gd name="T12" fmla="*/ 2147483647 w 2234"/>
              <a:gd name="T13" fmla="*/ 0 h 586"/>
              <a:gd name="T14" fmla="*/ 2147483647 w 2234"/>
              <a:gd name="T15" fmla="*/ 2147483647 h 586"/>
              <a:gd name="T16" fmla="*/ 2147483647 w 2234"/>
              <a:gd name="T17" fmla="*/ 2147483647 h 586"/>
              <a:gd name="T18" fmla="*/ 2147483647 w 2234"/>
              <a:gd name="T19" fmla="*/ 2147483647 h 586"/>
              <a:gd name="T20" fmla="*/ 2147483647 w 2234"/>
              <a:gd name="T21" fmla="*/ 2147483647 h 586"/>
              <a:gd name="T22" fmla="*/ 2147483647 w 2234"/>
              <a:gd name="T23" fmla="*/ 2147483647 h 586"/>
              <a:gd name="T24" fmla="*/ 2147483647 w 2234"/>
              <a:gd name="T25" fmla="*/ 2147483647 h 586"/>
              <a:gd name="T26" fmla="*/ 2147483647 w 2234"/>
              <a:gd name="T27" fmla="*/ 2147483647 h 586"/>
              <a:gd name="T28" fmla="*/ 2147483647 w 2234"/>
              <a:gd name="T29" fmla="*/ 2147483647 h 586"/>
              <a:gd name="T30" fmla="*/ 2147483647 w 2234"/>
              <a:gd name="T31" fmla="*/ 2147483647 h 586"/>
              <a:gd name="T32" fmla="*/ 2147483647 w 2234"/>
              <a:gd name="T33" fmla="*/ 2147483647 h 586"/>
              <a:gd name="T34" fmla="*/ 2147483647 w 2234"/>
              <a:gd name="T35" fmla="*/ 2147483647 h 586"/>
              <a:gd name="T36" fmla="*/ 2147483647 w 2234"/>
              <a:gd name="T37" fmla="*/ 2147483647 h 586"/>
              <a:gd name="T38" fmla="*/ 2147483647 w 2234"/>
              <a:gd name="T39" fmla="*/ 2147483647 h 586"/>
              <a:gd name="T40" fmla="*/ 2147483647 w 2234"/>
              <a:gd name="T41" fmla="*/ 2147483647 h 586"/>
              <a:gd name="T42" fmla="*/ 2147483647 w 2234"/>
              <a:gd name="T43" fmla="*/ 2147483647 h 586"/>
              <a:gd name="T44" fmla="*/ 2147483647 w 2234"/>
              <a:gd name="T45" fmla="*/ 2147483647 h 586"/>
              <a:gd name="T46" fmla="*/ 2147483647 w 2234"/>
              <a:gd name="T47" fmla="*/ 2147483647 h 586"/>
              <a:gd name="T48" fmla="*/ 2147483647 w 2234"/>
              <a:gd name="T49" fmla="*/ 2147483647 h 586"/>
              <a:gd name="T50" fmla="*/ 2147483647 w 2234"/>
              <a:gd name="T51" fmla="*/ 2147483647 h 586"/>
              <a:gd name="T52" fmla="*/ 2147483647 w 2234"/>
              <a:gd name="T53" fmla="*/ 2147483647 h 586"/>
              <a:gd name="T54" fmla="*/ 2147483647 w 2234"/>
              <a:gd name="T55" fmla="*/ 2147483647 h 586"/>
              <a:gd name="T56" fmla="*/ 2147483647 w 2234"/>
              <a:gd name="T57" fmla="*/ 2147483647 h 586"/>
              <a:gd name="T58" fmla="*/ 2147483647 w 2234"/>
              <a:gd name="T59" fmla="*/ 2147483647 h 586"/>
              <a:gd name="T60" fmla="*/ 2147483647 w 2234"/>
              <a:gd name="T61" fmla="*/ 2147483647 h 586"/>
              <a:gd name="T62" fmla="*/ 2147483647 w 2234"/>
              <a:gd name="T63" fmla="*/ 2147483647 h 586"/>
              <a:gd name="T64" fmla="*/ 2147483647 w 2234"/>
              <a:gd name="T65" fmla="*/ 2147483647 h 586"/>
              <a:gd name="T66" fmla="*/ 2147483647 w 2234"/>
              <a:gd name="T67" fmla="*/ 2147483647 h 586"/>
              <a:gd name="T68" fmla="*/ 2147483647 w 2234"/>
              <a:gd name="T69" fmla="*/ 2147483647 h 586"/>
              <a:gd name="T70" fmla="*/ 2147483647 w 2234"/>
              <a:gd name="T71" fmla="*/ 2147483647 h 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34"/>
              <a:gd name="T109" fmla="*/ 0 h 586"/>
              <a:gd name="T110" fmla="*/ 2234 w 2234"/>
              <a:gd name="T111" fmla="*/ 586 h 5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34" h="586">
                <a:moveTo>
                  <a:pt x="31" y="586"/>
                </a:moveTo>
                <a:cubicBezTo>
                  <a:pt x="14" y="586"/>
                  <a:pt x="0" y="572"/>
                  <a:pt x="0" y="555"/>
                </a:cubicBezTo>
                <a:cubicBezTo>
                  <a:pt x="0" y="555"/>
                  <a:pt x="0" y="555"/>
                  <a:pt x="0" y="555"/>
                </a:cubicBezTo>
                <a:cubicBezTo>
                  <a:pt x="0" y="31"/>
                  <a:pt x="0" y="31"/>
                  <a:pt x="0" y="31"/>
                </a:cubicBezTo>
                <a:cubicBezTo>
                  <a:pt x="0" y="14"/>
                  <a:pt x="14" y="0"/>
                  <a:pt x="31" y="0"/>
                </a:cubicBezTo>
                <a:cubicBezTo>
                  <a:pt x="31" y="0"/>
                  <a:pt x="31" y="0"/>
                  <a:pt x="31" y="0"/>
                </a:cubicBezTo>
                <a:cubicBezTo>
                  <a:pt x="2203" y="0"/>
                  <a:pt x="2203" y="0"/>
                  <a:pt x="2203" y="0"/>
                </a:cubicBezTo>
                <a:cubicBezTo>
                  <a:pt x="2220" y="0"/>
                  <a:pt x="2234" y="14"/>
                  <a:pt x="2234" y="31"/>
                </a:cubicBezTo>
                <a:cubicBezTo>
                  <a:pt x="2234" y="31"/>
                  <a:pt x="2234" y="31"/>
                  <a:pt x="2234" y="31"/>
                </a:cubicBezTo>
                <a:cubicBezTo>
                  <a:pt x="2234" y="53"/>
                  <a:pt x="2234" y="53"/>
                  <a:pt x="2234" y="53"/>
                </a:cubicBezTo>
                <a:cubicBezTo>
                  <a:pt x="2234" y="57"/>
                  <a:pt x="2230" y="61"/>
                  <a:pt x="2226" y="61"/>
                </a:cubicBezTo>
                <a:cubicBezTo>
                  <a:pt x="2226" y="61"/>
                  <a:pt x="2226" y="61"/>
                  <a:pt x="2226" y="61"/>
                </a:cubicBezTo>
                <a:cubicBezTo>
                  <a:pt x="2221" y="61"/>
                  <a:pt x="2218" y="57"/>
                  <a:pt x="2218" y="53"/>
                </a:cubicBezTo>
                <a:cubicBezTo>
                  <a:pt x="2218" y="53"/>
                  <a:pt x="2218" y="53"/>
                  <a:pt x="2218" y="53"/>
                </a:cubicBezTo>
                <a:cubicBezTo>
                  <a:pt x="2218" y="31"/>
                  <a:pt x="2218" y="31"/>
                  <a:pt x="2218" y="31"/>
                </a:cubicBezTo>
                <a:cubicBezTo>
                  <a:pt x="2218" y="23"/>
                  <a:pt x="2211" y="16"/>
                  <a:pt x="2203" y="16"/>
                </a:cubicBezTo>
                <a:cubicBezTo>
                  <a:pt x="2203" y="16"/>
                  <a:pt x="2203" y="16"/>
                  <a:pt x="2203" y="16"/>
                </a:cubicBezTo>
                <a:cubicBezTo>
                  <a:pt x="31" y="16"/>
                  <a:pt x="31" y="16"/>
                  <a:pt x="31" y="16"/>
                </a:cubicBezTo>
                <a:cubicBezTo>
                  <a:pt x="23" y="16"/>
                  <a:pt x="16" y="23"/>
                  <a:pt x="16" y="31"/>
                </a:cubicBezTo>
                <a:cubicBezTo>
                  <a:pt x="16" y="31"/>
                  <a:pt x="16" y="31"/>
                  <a:pt x="16" y="31"/>
                </a:cubicBezTo>
                <a:cubicBezTo>
                  <a:pt x="16" y="555"/>
                  <a:pt x="16" y="555"/>
                  <a:pt x="16" y="555"/>
                </a:cubicBezTo>
                <a:cubicBezTo>
                  <a:pt x="16" y="563"/>
                  <a:pt x="23" y="570"/>
                  <a:pt x="31" y="570"/>
                </a:cubicBezTo>
                <a:cubicBezTo>
                  <a:pt x="31" y="570"/>
                  <a:pt x="31" y="570"/>
                  <a:pt x="31" y="570"/>
                </a:cubicBezTo>
                <a:cubicBezTo>
                  <a:pt x="2203" y="570"/>
                  <a:pt x="2203" y="570"/>
                  <a:pt x="2203" y="570"/>
                </a:cubicBezTo>
                <a:cubicBezTo>
                  <a:pt x="2211" y="570"/>
                  <a:pt x="2218" y="563"/>
                  <a:pt x="2218" y="555"/>
                </a:cubicBezTo>
                <a:cubicBezTo>
                  <a:pt x="2218" y="555"/>
                  <a:pt x="2218" y="555"/>
                  <a:pt x="2218" y="555"/>
                </a:cubicBezTo>
                <a:cubicBezTo>
                  <a:pt x="2218" y="82"/>
                  <a:pt x="2218" y="82"/>
                  <a:pt x="2218" y="82"/>
                </a:cubicBezTo>
                <a:cubicBezTo>
                  <a:pt x="2218" y="82"/>
                  <a:pt x="2218" y="82"/>
                  <a:pt x="2218" y="82"/>
                </a:cubicBezTo>
                <a:cubicBezTo>
                  <a:pt x="2218" y="78"/>
                  <a:pt x="2221" y="74"/>
                  <a:pt x="2226" y="74"/>
                </a:cubicBezTo>
                <a:cubicBezTo>
                  <a:pt x="2226" y="74"/>
                  <a:pt x="2226" y="74"/>
                  <a:pt x="2226" y="74"/>
                </a:cubicBezTo>
                <a:cubicBezTo>
                  <a:pt x="2230" y="74"/>
                  <a:pt x="2234" y="78"/>
                  <a:pt x="2234" y="82"/>
                </a:cubicBezTo>
                <a:cubicBezTo>
                  <a:pt x="2234" y="82"/>
                  <a:pt x="2234" y="82"/>
                  <a:pt x="2234" y="82"/>
                </a:cubicBezTo>
                <a:cubicBezTo>
                  <a:pt x="2234" y="555"/>
                  <a:pt x="2234" y="555"/>
                  <a:pt x="2234" y="555"/>
                </a:cubicBezTo>
                <a:cubicBezTo>
                  <a:pt x="2234" y="572"/>
                  <a:pt x="2220" y="586"/>
                  <a:pt x="2203" y="586"/>
                </a:cubicBezTo>
                <a:cubicBezTo>
                  <a:pt x="2203" y="586"/>
                  <a:pt x="2203" y="586"/>
                  <a:pt x="2203" y="586"/>
                </a:cubicBezTo>
                <a:cubicBezTo>
                  <a:pt x="31" y="586"/>
                  <a:pt x="31" y="586"/>
                  <a:pt x="31" y="586"/>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109728" rIns="126000"/>
          <a:lstStyle/>
          <a:p>
            <a:pPr algn="ctr">
              <a:spcBef>
                <a:spcPct val="50000"/>
              </a:spcBef>
            </a:pPr>
            <a:r>
              <a:rPr lang="sv-SE" sz="1800">
                <a:solidFill>
                  <a:srgbClr val="58585A"/>
                </a:solidFill>
                <a:ea typeface="ＭＳ Ｐゴシック" pitchFamily="34" charset="-128"/>
              </a:rPr>
              <a:t>OUR AGILITY SUITE</a:t>
            </a:r>
          </a:p>
        </p:txBody>
      </p:sp>
      <p:sp>
        <p:nvSpPr>
          <p:cNvPr id="47" name="Rounded Rectangle 32"/>
          <p:cNvSpPr>
            <a:spLocks noChangeArrowheads="1"/>
          </p:cNvSpPr>
          <p:nvPr/>
        </p:nvSpPr>
        <p:spPr bwMode="auto">
          <a:xfrm>
            <a:off x="3789111" y="4667799"/>
            <a:ext cx="1418994" cy="541772"/>
          </a:xfrm>
          <a:prstGeom prst="roundRect">
            <a:avLst>
              <a:gd name="adj" fmla="val 5667"/>
            </a:avLst>
          </a:prstGeom>
          <a:solidFill>
            <a:srgbClr val="00A9D4"/>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sz="1800">
              <a:solidFill>
                <a:srgbClr val="58585A"/>
              </a:solidFill>
              <a:ea typeface="ＭＳ Ｐゴシック" pitchFamily="34" charset="-128"/>
            </a:endParaRPr>
          </a:p>
        </p:txBody>
      </p:sp>
      <p:sp>
        <p:nvSpPr>
          <p:cNvPr id="48" name="Rounded Rectangle 32"/>
          <p:cNvSpPr>
            <a:spLocks noChangeArrowheads="1"/>
          </p:cNvSpPr>
          <p:nvPr/>
        </p:nvSpPr>
        <p:spPr bwMode="auto">
          <a:xfrm>
            <a:off x="6776545" y="4667798"/>
            <a:ext cx="1418994" cy="541772"/>
          </a:xfrm>
          <a:prstGeom prst="roundRect">
            <a:avLst>
              <a:gd name="adj" fmla="val 5667"/>
            </a:avLst>
          </a:prstGeom>
          <a:solidFill>
            <a:srgbClr val="89BA17"/>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sz="1800">
              <a:solidFill>
                <a:srgbClr val="58585A"/>
              </a:solidFill>
              <a:ea typeface="ＭＳ Ｐゴシック" pitchFamily="34" charset="-128"/>
            </a:endParaRPr>
          </a:p>
        </p:txBody>
      </p:sp>
      <p:sp>
        <p:nvSpPr>
          <p:cNvPr id="49" name="Rounded Rectangle 32"/>
          <p:cNvSpPr>
            <a:spLocks noChangeArrowheads="1"/>
          </p:cNvSpPr>
          <p:nvPr/>
        </p:nvSpPr>
        <p:spPr bwMode="auto">
          <a:xfrm>
            <a:off x="798339" y="4667799"/>
            <a:ext cx="1418994" cy="541772"/>
          </a:xfrm>
          <a:prstGeom prst="roundRect">
            <a:avLst>
              <a:gd name="adj" fmla="val 5667"/>
            </a:avLst>
          </a:prstGeom>
          <a:solidFill>
            <a:srgbClr val="F08A00"/>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sz="1800">
              <a:solidFill>
                <a:srgbClr val="58585A"/>
              </a:solidFill>
              <a:ea typeface="ＭＳ Ｐゴシック" pitchFamily="34" charset="-128"/>
            </a:endParaRPr>
          </a:p>
        </p:txBody>
      </p:sp>
      <p:sp>
        <p:nvSpPr>
          <p:cNvPr id="50" name="Text Box 24"/>
          <p:cNvSpPr txBox="1">
            <a:spLocks noChangeArrowheads="1"/>
          </p:cNvSpPr>
          <p:nvPr/>
        </p:nvSpPr>
        <p:spPr bwMode="auto">
          <a:xfrm>
            <a:off x="798339" y="4720043"/>
            <a:ext cx="1418993" cy="438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rIns="72000"/>
          <a:lstStyle>
            <a:lvl1pPr eaLnBrk="0" hangingPunct="0">
              <a:defRPr sz="2100">
                <a:solidFill>
                  <a:schemeClr val="tx1"/>
                </a:solidFill>
                <a:latin typeface="Arial" pitchFamily="34" charset="0"/>
                <a:cs typeface="Arial" pitchFamily="34" charset="0"/>
              </a:defRPr>
            </a:lvl1pPr>
            <a:lvl2pPr marL="742950" indent="-285750" eaLnBrk="0" hangingPunct="0">
              <a:defRPr sz="2100">
                <a:solidFill>
                  <a:schemeClr val="tx1"/>
                </a:solidFill>
                <a:latin typeface="Arial" pitchFamily="34" charset="0"/>
                <a:cs typeface="Arial" pitchFamily="34" charset="0"/>
              </a:defRPr>
            </a:lvl2pPr>
            <a:lvl3pPr marL="1143000" indent="-228600" eaLnBrk="0" hangingPunct="0">
              <a:defRPr sz="2100">
                <a:solidFill>
                  <a:schemeClr val="tx1"/>
                </a:solidFill>
                <a:latin typeface="Arial" pitchFamily="34" charset="0"/>
                <a:cs typeface="Arial" pitchFamily="34" charset="0"/>
              </a:defRPr>
            </a:lvl3pPr>
            <a:lvl4pPr marL="1600200" indent="-228600" eaLnBrk="0" hangingPunct="0">
              <a:defRPr sz="2100">
                <a:solidFill>
                  <a:schemeClr val="tx1"/>
                </a:solidFill>
                <a:latin typeface="Arial" pitchFamily="34" charset="0"/>
                <a:cs typeface="Arial" pitchFamily="34" charset="0"/>
              </a:defRPr>
            </a:lvl4pPr>
            <a:lvl5pPr marL="2057400" indent="-228600" eaLnBrk="0" hangingPunct="0">
              <a:defRPr sz="21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1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1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1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100">
                <a:solidFill>
                  <a:schemeClr val="tx1"/>
                </a:solidFill>
                <a:latin typeface="Arial" pitchFamily="34" charset="0"/>
                <a:cs typeface="Arial" pitchFamily="34" charset="0"/>
              </a:defRPr>
            </a:lvl9pPr>
          </a:lstStyle>
          <a:p>
            <a:pPr algn="ctr" eaLnBrk="1" hangingPunct="1">
              <a:spcBef>
                <a:spcPct val="50000"/>
              </a:spcBef>
            </a:pPr>
            <a:r>
              <a:rPr lang="en-IE" sz="1200">
                <a:solidFill>
                  <a:srgbClr val="FFFFFF"/>
                </a:solidFill>
                <a:ea typeface="ＭＳ Ｐゴシック" pitchFamily="34" charset="-128"/>
              </a:rPr>
              <a:t>Plan-to-</a:t>
            </a:r>
            <a:br>
              <a:rPr lang="en-IE" sz="1200">
                <a:solidFill>
                  <a:srgbClr val="FFFFFF"/>
                </a:solidFill>
                <a:ea typeface="ＭＳ Ｐゴシック" pitchFamily="34" charset="-128"/>
              </a:rPr>
            </a:br>
            <a:r>
              <a:rPr lang="en-IE" sz="1200">
                <a:solidFill>
                  <a:srgbClr val="FFFFFF"/>
                </a:solidFill>
                <a:ea typeface="ＭＳ Ｐゴシック" pitchFamily="34" charset="-128"/>
              </a:rPr>
              <a:t>Provision</a:t>
            </a:r>
          </a:p>
        </p:txBody>
      </p:sp>
      <p:sp>
        <p:nvSpPr>
          <p:cNvPr id="51" name="Text Box 24"/>
          <p:cNvSpPr txBox="1">
            <a:spLocks noChangeArrowheads="1"/>
          </p:cNvSpPr>
          <p:nvPr/>
        </p:nvSpPr>
        <p:spPr bwMode="auto">
          <a:xfrm>
            <a:off x="3789111" y="4720043"/>
            <a:ext cx="1418993" cy="429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rIns="72000"/>
          <a:lstStyle>
            <a:lvl1pPr eaLnBrk="0" hangingPunct="0">
              <a:defRPr sz="2100">
                <a:solidFill>
                  <a:schemeClr val="tx1"/>
                </a:solidFill>
                <a:latin typeface="Arial" pitchFamily="34" charset="0"/>
                <a:cs typeface="Arial" pitchFamily="34" charset="0"/>
              </a:defRPr>
            </a:lvl1pPr>
            <a:lvl2pPr marL="742950" indent="-285750" eaLnBrk="0" hangingPunct="0">
              <a:defRPr sz="2100">
                <a:solidFill>
                  <a:schemeClr val="tx1"/>
                </a:solidFill>
                <a:latin typeface="Arial" pitchFamily="34" charset="0"/>
                <a:cs typeface="Arial" pitchFamily="34" charset="0"/>
              </a:defRPr>
            </a:lvl2pPr>
            <a:lvl3pPr marL="1143000" indent="-228600" eaLnBrk="0" hangingPunct="0">
              <a:defRPr sz="2100">
                <a:solidFill>
                  <a:schemeClr val="tx1"/>
                </a:solidFill>
                <a:latin typeface="Arial" pitchFamily="34" charset="0"/>
                <a:cs typeface="Arial" pitchFamily="34" charset="0"/>
              </a:defRPr>
            </a:lvl3pPr>
            <a:lvl4pPr marL="1600200" indent="-228600" eaLnBrk="0" hangingPunct="0">
              <a:defRPr sz="2100">
                <a:solidFill>
                  <a:schemeClr val="tx1"/>
                </a:solidFill>
                <a:latin typeface="Arial" pitchFamily="34" charset="0"/>
                <a:cs typeface="Arial" pitchFamily="34" charset="0"/>
              </a:defRPr>
            </a:lvl4pPr>
            <a:lvl5pPr marL="2057400" indent="-228600" eaLnBrk="0" hangingPunct="0">
              <a:defRPr sz="21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1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1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1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100">
                <a:solidFill>
                  <a:schemeClr val="tx1"/>
                </a:solidFill>
                <a:latin typeface="Arial" pitchFamily="34" charset="0"/>
                <a:cs typeface="Arial" pitchFamily="34" charset="0"/>
              </a:defRPr>
            </a:lvl9pPr>
          </a:lstStyle>
          <a:p>
            <a:pPr algn="ctr" eaLnBrk="1" hangingPunct="1">
              <a:spcBef>
                <a:spcPct val="50000"/>
              </a:spcBef>
            </a:pPr>
            <a:r>
              <a:rPr lang="en-IE" sz="1200">
                <a:solidFill>
                  <a:srgbClr val="FFFFFF"/>
                </a:solidFill>
                <a:ea typeface="ＭＳ Ｐゴシック" pitchFamily="34" charset="-128"/>
              </a:rPr>
              <a:t>Lead-to-</a:t>
            </a:r>
            <a:br>
              <a:rPr lang="en-IE" sz="1200">
                <a:solidFill>
                  <a:srgbClr val="FFFFFF"/>
                </a:solidFill>
                <a:ea typeface="ＭＳ Ｐゴシック" pitchFamily="34" charset="-128"/>
              </a:rPr>
            </a:br>
            <a:r>
              <a:rPr lang="en-IE" sz="1200">
                <a:solidFill>
                  <a:srgbClr val="FFFFFF"/>
                </a:solidFill>
                <a:ea typeface="ＭＳ Ｐゴシック" pitchFamily="34" charset="-128"/>
              </a:rPr>
              <a:t>Service</a:t>
            </a:r>
          </a:p>
        </p:txBody>
      </p:sp>
      <p:sp>
        <p:nvSpPr>
          <p:cNvPr id="52" name="Text Box 24"/>
          <p:cNvSpPr txBox="1">
            <a:spLocks noChangeArrowheads="1"/>
          </p:cNvSpPr>
          <p:nvPr/>
        </p:nvSpPr>
        <p:spPr bwMode="auto">
          <a:xfrm>
            <a:off x="6776545" y="4720043"/>
            <a:ext cx="1418994" cy="395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rIns="72000"/>
          <a:lstStyle>
            <a:lvl1pPr eaLnBrk="0" hangingPunct="0">
              <a:defRPr sz="2100">
                <a:solidFill>
                  <a:schemeClr val="tx1"/>
                </a:solidFill>
                <a:latin typeface="Arial" pitchFamily="34" charset="0"/>
                <a:cs typeface="Arial" pitchFamily="34" charset="0"/>
              </a:defRPr>
            </a:lvl1pPr>
            <a:lvl2pPr marL="742950" indent="-285750" eaLnBrk="0" hangingPunct="0">
              <a:defRPr sz="2100">
                <a:solidFill>
                  <a:schemeClr val="tx1"/>
                </a:solidFill>
                <a:latin typeface="Arial" pitchFamily="34" charset="0"/>
                <a:cs typeface="Arial" pitchFamily="34" charset="0"/>
              </a:defRPr>
            </a:lvl2pPr>
            <a:lvl3pPr marL="1143000" indent="-228600" eaLnBrk="0" hangingPunct="0">
              <a:defRPr sz="2100">
                <a:solidFill>
                  <a:schemeClr val="tx1"/>
                </a:solidFill>
                <a:latin typeface="Arial" pitchFamily="34" charset="0"/>
                <a:cs typeface="Arial" pitchFamily="34" charset="0"/>
              </a:defRPr>
            </a:lvl3pPr>
            <a:lvl4pPr marL="1600200" indent="-228600" eaLnBrk="0" hangingPunct="0">
              <a:defRPr sz="2100">
                <a:solidFill>
                  <a:schemeClr val="tx1"/>
                </a:solidFill>
                <a:latin typeface="Arial" pitchFamily="34" charset="0"/>
                <a:cs typeface="Arial" pitchFamily="34" charset="0"/>
              </a:defRPr>
            </a:lvl4pPr>
            <a:lvl5pPr marL="2057400" indent="-228600" eaLnBrk="0" hangingPunct="0">
              <a:defRPr sz="21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1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1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1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100">
                <a:solidFill>
                  <a:schemeClr val="tx1"/>
                </a:solidFill>
                <a:latin typeface="Arial" pitchFamily="34" charset="0"/>
                <a:cs typeface="Arial" pitchFamily="34" charset="0"/>
              </a:defRPr>
            </a:lvl9pPr>
          </a:lstStyle>
          <a:p>
            <a:pPr algn="ctr" eaLnBrk="1" hangingPunct="1">
              <a:spcBef>
                <a:spcPct val="50000"/>
              </a:spcBef>
            </a:pPr>
            <a:r>
              <a:rPr lang="en-IE" sz="1200">
                <a:solidFill>
                  <a:srgbClr val="FFFFFF"/>
                </a:solidFill>
                <a:ea typeface="ＭＳ Ｐゴシック" pitchFamily="34" charset="-128"/>
              </a:rPr>
              <a:t>Experience-to-</a:t>
            </a:r>
            <a:br>
              <a:rPr lang="en-IE" sz="1200">
                <a:solidFill>
                  <a:srgbClr val="FFFFFF"/>
                </a:solidFill>
                <a:ea typeface="ＭＳ Ｐゴシック" pitchFamily="34" charset="-128"/>
              </a:rPr>
            </a:br>
            <a:r>
              <a:rPr lang="en-IE" sz="1200">
                <a:solidFill>
                  <a:srgbClr val="FFFFFF"/>
                </a:solidFill>
                <a:ea typeface="ＭＳ Ｐゴシック" pitchFamily="34" charset="-128"/>
              </a:rPr>
              <a:t>Resolution</a:t>
            </a:r>
          </a:p>
        </p:txBody>
      </p:sp>
      <p:sp>
        <p:nvSpPr>
          <p:cNvPr id="53" name="Rounded Rectangle 44"/>
          <p:cNvSpPr>
            <a:spLocks noChangeArrowheads="1"/>
          </p:cNvSpPr>
          <p:nvPr/>
        </p:nvSpPr>
        <p:spPr bwMode="auto">
          <a:xfrm>
            <a:off x="798339" y="4329837"/>
            <a:ext cx="7401786" cy="291356"/>
          </a:xfrm>
          <a:prstGeom prst="roundRect">
            <a:avLst>
              <a:gd name="adj" fmla="val 5667"/>
            </a:avLst>
          </a:prstGeom>
          <a:solidFill>
            <a:srgbClr val="89BA17"/>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nchor="ctr"/>
          <a:lstStyle/>
          <a:p>
            <a:pPr algn="ctr">
              <a:spcBef>
                <a:spcPct val="50000"/>
              </a:spcBef>
            </a:pPr>
            <a:r>
              <a:rPr lang="en-US" sz="1200">
                <a:solidFill>
                  <a:srgbClr val="FFFFFF"/>
                </a:solidFill>
                <a:ea typeface="ＭＳ Ｐゴシック" pitchFamily="34" charset="-128"/>
              </a:rPr>
              <a:t>Customer/Partner Management and Interaction</a:t>
            </a:r>
          </a:p>
        </p:txBody>
      </p:sp>
      <p:sp>
        <p:nvSpPr>
          <p:cNvPr id="54" name="Rounded Rectangle 45"/>
          <p:cNvSpPr>
            <a:spLocks noChangeArrowheads="1"/>
          </p:cNvSpPr>
          <p:nvPr/>
        </p:nvSpPr>
        <p:spPr bwMode="auto">
          <a:xfrm>
            <a:off x="798339" y="5623285"/>
            <a:ext cx="7401786" cy="303077"/>
          </a:xfrm>
          <a:prstGeom prst="roundRect">
            <a:avLst>
              <a:gd name="adj" fmla="val 5667"/>
            </a:avLst>
          </a:prstGeom>
          <a:solidFill>
            <a:srgbClr val="F08A00"/>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nchor="ctr"/>
          <a:lstStyle/>
          <a:p>
            <a:pPr algn="ctr">
              <a:spcBef>
                <a:spcPct val="50000"/>
              </a:spcBef>
            </a:pPr>
            <a:r>
              <a:rPr lang="en-US" sz="1200">
                <a:solidFill>
                  <a:srgbClr val="FFFFFF"/>
                </a:solidFill>
                <a:ea typeface="ＭＳ Ｐゴシック" pitchFamily="34" charset="-128"/>
              </a:rPr>
              <a:t>Network &amp; Cloud Management</a:t>
            </a:r>
          </a:p>
        </p:txBody>
      </p:sp>
      <p:sp>
        <p:nvSpPr>
          <p:cNvPr id="55" name="Rounded Rectangle 45"/>
          <p:cNvSpPr>
            <a:spLocks noChangeArrowheads="1"/>
          </p:cNvSpPr>
          <p:nvPr/>
        </p:nvSpPr>
        <p:spPr bwMode="auto">
          <a:xfrm>
            <a:off x="798510" y="5266536"/>
            <a:ext cx="7401786" cy="303077"/>
          </a:xfrm>
          <a:prstGeom prst="roundRect">
            <a:avLst>
              <a:gd name="adj" fmla="val 5667"/>
            </a:avLst>
          </a:prstGeom>
          <a:solidFill>
            <a:srgbClr val="F08A00"/>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nchor="ctr"/>
          <a:lstStyle/>
          <a:p>
            <a:pPr algn="ctr">
              <a:spcBef>
                <a:spcPct val="50000"/>
              </a:spcBef>
            </a:pPr>
            <a:r>
              <a:rPr lang="en-US" sz="1200">
                <a:solidFill>
                  <a:srgbClr val="FFFFFF"/>
                </a:solidFill>
                <a:ea typeface="ＭＳ Ｐゴシック" pitchFamily="34" charset="-128"/>
              </a:rPr>
              <a:t>Data-to-Experience</a:t>
            </a:r>
          </a:p>
        </p:txBody>
      </p:sp>
    </p:spTree>
    <p:extLst>
      <p:ext uri="{BB962C8B-B14F-4D97-AF65-F5344CB8AC3E}">
        <p14:creationId xmlns:p14="http://schemas.microsoft.com/office/powerpoint/2010/main" val="2753374780"/>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itle 2"/>
          <p:cNvSpPr>
            <a:spLocks noGrp="1"/>
          </p:cNvSpPr>
          <p:nvPr>
            <p:ph type="title"/>
          </p:nvPr>
        </p:nvSpPr>
        <p:spPr/>
        <p:txBody>
          <a:bodyPr/>
          <a:lstStyle/>
          <a:p>
            <a:pPr>
              <a:defRPr/>
            </a:pPr>
            <a:r>
              <a:rPr lang="en-US" dirty="0" smtClean="0">
                <a:solidFill>
                  <a:srgbClr val="58585A"/>
                </a:solidFill>
                <a:latin typeface="Ericsson Capital TT" pitchFamily="2" charset="0"/>
              </a:rPr>
              <a:t>Agility Suite</a:t>
            </a:r>
            <a:br>
              <a:rPr lang="en-US" dirty="0" smtClean="0">
                <a:solidFill>
                  <a:srgbClr val="58585A"/>
                </a:solidFill>
                <a:latin typeface="Ericsson Capital TT" pitchFamily="2" charset="0"/>
              </a:rPr>
            </a:br>
            <a:r>
              <a:rPr lang="en-US" dirty="0" smtClean="0">
                <a:solidFill>
                  <a:srgbClr val="00A9D4"/>
                </a:solidFill>
                <a:latin typeface="Ericsson Capital TT" pitchFamily="2" charset="0"/>
              </a:rPr>
              <a:t>How IT WORKS</a:t>
            </a:r>
            <a:endParaRPr lang="en-US" sz="3200" dirty="0">
              <a:solidFill>
                <a:srgbClr val="00A9D4"/>
              </a:solidFill>
              <a:latin typeface="+mn-lt"/>
            </a:endParaRPr>
          </a:p>
        </p:txBody>
      </p:sp>
      <p:sp>
        <p:nvSpPr>
          <p:cNvPr id="24616" name="Rectangle 2"/>
          <p:cNvSpPr>
            <a:spLocks noChangeArrowheads="1"/>
          </p:cNvSpPr>
          <p:nvPr/>
        </p:nvSpPr>
        <p:spPr bwMode="auto">
          <a:xfrm>
            <a:off x="2451067" y="1464561"/>
            <a:ext cx="424186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2800" dirty="0"/>
              <a:t>Framework Process Flow</a:t>
            </a:r>
          </a:p>
        </p:txBody>
      </p:sp>
      <p:pic>
        <p:nvPicPr>
          <p:cNvPr id="378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839" y="2079624"/>
            <a:ext cx="9024322" cy="4111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4285158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393701" y="239713"/>
            <a:ext cx="7737928" cy="1085371"/>
          </a:xfrm>
        </p:spPr>
        <p:txBody>
          <a:bodyPr/>
          <a:lstStyle/>
          <a:p>
            <a:r>
              <a:rPr lang="en-US" sz="3600" dirty="0" smtClean="0">
                <a:latin typeface="Ericsson Capital TT" pitchFamily="2" charset="0"/>
              </a:rPr>
              <a:t>Performance Improvements</a:t>
            </a:r>
            <a:r>
              <a:rPr lang="en-US" dirty="0" smtClean="0">
                <a:latin typeface="Ericsson Capital TT" pitchFamily="2" charset="0"/>
              </a:rPr>
              <a:t/>
            </a:r>
            <a:br>
              <a:rPr lang="en-US" dirty="0" smtClean="0">
                <a:latin typeface="Ericsson Capital TT" pitchFamily="2" charset="0"/>
              </a:rPr>
            </a:br>
            <a:r>
              <a:rPr lang="en-US" sz="3200" dirty="0" smtClean="0">
                <a:latin typeface="Ericsson Capital TT" pitchFamily="2" charset="0"/>
              </a:rPr>
              <a:t>Release 14.0 vs 5.2</a:t>
            </a:r>
          </a:p>
        </p:txBody>
      </p:sp>
      <p:graphicFrame>
        <p:nvGraphicFramePr>
          <p:cNvPr id="3075" name="Content Placeholder 3"/>
          <p:cNvGraphicFramePr>
            <a:graphicFrameLocks noGrp="1"/>
          </p:cNvGraphicFramePr>
          <p:nvPr>
            <p:ph sz="quarter" idx="4294967295"/>
            <p:extLst>
              <p:ext uri="{D42A27DB-BD31-4B8C-83A1-F6EECF244321}">
                <p14:modId xmlns:p14="http://schemas.microsoft.com/office/powerpoint/2010/main" val="3465896425"/>
              </p:ext>
            </p:extLst>
          </p:nvPr>
        </p:nvGraphicFramePr>
        <p:xfrm>
          <a:off x="130629" y="1501775"/>
          <a:ext cx="9013371" cy="4806950"/>
        </p:xfrm>
        <a:graphic>
          <a:graphicData uri="http://schemas.openxmlformats.org/presentationml/2006/ole">
            <mc:AlternateContent xmlns:mc="http://schemas.openxmlformats.org/markup-compatibility/2006">
              <mc:Choice xmlns:v="urn:schemas-microsoft-com:vml" Requires="v">
                <p:oleObj spid="_x0000_s36905" r:id="rId4" imgW="11412701" imgH="4810161" progId="Excel.Chart.8">
                  <p:embed/>
                </p:oleObj>
              </mc:Choice>
              <mc:Fallback>
                <p:oleObj r:id="rId4" imgW="11412701" imgH="4810161" progId="Excel.Chart.8">
                  <p:embed/>
                  <p:pic>
                    <p:nvPicPr>
                      <p:cNvPr id="0" name=""/>
                      <p:cNvPicPr>
                        <a:picLocks noGrp="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0629" y="1501775"/>
                        <a:ext cx="9013371" cy="4806950"/>
                      </a:xfrm>
                      <a:prstGeom prst="rect">
                        <a:avLst/>
                      </a:prstGeom>
                      <a:noFill/>
                      <a:ln>
                        <a:noFill/>
                      </a:ln>
                      <a:extLst/>
                    </p:spPr>
                  </p:pic>
                </p:oleObj>
              </mc:Fallback>
            </mc:AlternateContent>
          </a:graphicData>
        </a:graphic>
      </p:graphicFrame>
    </p:spTree>
    <p:extLst>
      <p:ext uri="{BB962C8B-B14F-4D97-AF65-F5344CB8AC3E}">
        <p14:creationId xmlns:p14="http://schemas.microsoft.com/office/powerpoint/2010/main" val="275877019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Content Placeholder 6"/>
          <p:cNvSpPr>
            <a:spLocks noGrp="1"/>
          </p:cNvSpPr>
          <p:nvPr>
            <p:ph idx="1"/>
          </p:nvPr>
        </p:nvSpPr>
        <p:spPr/>
        <p:txBody>
          <a:bodyPr/>
          <a:lstStyle/>
          <a:p>
            <a:pPr>
              <a:lnSpc>
                <a:spcPct val="90000"/>
              </a:lnSpc>
              <a:spcBef>
                <a:spcPct val="0"/>
              </a:spcBef>
              <a:spcAft>
                <a:spcPts val="600"/>
              </a:spcAft>
              <a:buClr>
                <a:srgbClr val="00B0F0"/>
              </a:buClr>
              <a:defRPr/>
            </a:pPr>
            <a:r>
              <a:rPr lang="en-US" sz="2200" b="1" dirty="0">
                <a:solidFill>
                  <a:srgbClr val="58585A"/>
                </a:solidFill>
              </a:rPr>
              <a:t>Improved import/export </a:t>
            </a:r>
            <a:r>
              <a:rPr lang="en-US" sz="2200" dirty="0">
                <a:solidFill>
                  <a:srgbClr val="58585A"/>
                </a:solidFill>
              </a:rPr>
              <a:t>functionality </a:t>
            </a:r>
            <a:r>
              <a:rPr lang="en-US" sz="2200" dirty="0" smtClean="0">
                <a:solidFill>
                  <a:srgbClr val="58585A"/>
                </a:solidFill>
              </a:rPr>
              <a:t>using available Zip </a:t>
            </a:r>
            <a:r>
              <a:rPr lang="en-US" sz="2200" dirty="0">
                <a:solidFill>
                  <a:srgbClr val="58585A"/>
                </a:solidFill>
              </a:rPr>
              <a:t>file import </a:t>
            </a:r>
            <a:r>
              <a:rPr lang="en-US" sz="2200" dirty="0" smtClean="0">
                <a:solidFill>
                  <a:srgbClr val="58585A"/>
                </a:solidFill>
              </a:rPr>
              <a:t>in </a:t>
            </a:r>
            <a:r>
              <a:rPr lang="en-US" sz="2200" dirty="0">
                <a:solidFill>
                  <a:srgbClr val="58585A"/>
                </a:solidFill>
              </a:rPr>
              <a:t>both Catalog Designer and the command </a:t>
            </a:r>
            <a:r>
              <a:rPr lang="en-US" sz="2200" dirty="0" smtClean="0">
                <a:solidFill>
                  <a:srgbClr val="58585A"/>
                </a:solidFill>
              </a:rPr>
              <a:t>line</a:t>
            </a:r>
            <a:endParaRPr lang="en-US" sz="2200" dirty="0">
              <a:solidFill>
                <a:srgbClr val="58585A"/>
              </a:solidFill>
            </a:endParaRPr>
          </a:p>
          <a:p>
            <a:pPr>
              <a:lnSpc>
                <a:spcPct val="90000"/>
              </a:lnSpc>
              <a:spcBef>
                <a:spcPct val="0"/>
              </a:spcBef>
              <a:spcAft>
                <a:spcPts val="600"/>
              </a:spcAft>
              <a:buClr>
                <a:srgbClr val="00B0F0"/>
              </a:buClr>
              <a:defRPr/>
            </a:pPr>
            <a:r>
              <a:rPr lang="en-US" sz="2200" b="1" dirty="0">
                <a:solidFill>
                  <a:srgbClr val="58585A"/>
                </a:solidFill>
              </a:rPr>
              <a:t>Business dates </a:t>
            </a:r>
            <a:r>
              <a:rPr lang="en-US" sz="2200" dirty="0">
                <a:solidFill>
                  <a:srgbClr val="58585A"/>
                </a:solidFill>
              </a:rPr>
              <a:t>- each catalog item can now distinguish between the numerous business </a:t>
            </a:r>
            <a:r>
              <a:rPr lang="en-US" sz="2200" dirty="0" smtClean="0">
                <a:solidFill>
                  <a:srgbClr val="58585A"/>
                </a:solidFill>
              </a:rPr>
              <a:t>dates, </a:t>
            </a:r>
            <a:r>
              <a:rPr lang="en-US" sz="2200" dirty="0">
                <a:solidFill>
                  <a:srgbClr val="58585A"/>
                </a:solidFill>
              </a:rPr>
              <a:t>and new </a:t>
            </a:r>
            <a:r>
              <a:rPr lang="en-US" sz="2200" dirty="0" smtClean="0">
                <a:solidFill>
                  <a:srgbClr val="58585A"/>
                </a:solidFill>
              </a:rPr>
              <a:t>ones </a:t>
            </a:r>
            <a:r>
              <a:rPr lang="en-US" sz="2200" dirty="0">
                <a:solidFill>
                  <a:srgbClr val="58585A"/>
                </a:solidFill>
              </a:rPr>
              <a:t>can be added</a:t>
            </a:r>
          </a:p>
          <a:p>
            <a:pPr>
              <a:lnSpc>
                <a:spcPct val="90000"/>
              </a:lnSpc>
              <a:spcBef>
                <a:spcPct val="0"/>
              </a:spcBef>
              <a:spcAft>
                <a:spcPts val="600"/>
              </a:spcAft>
              <a:buClr>
                <a:srgbClr val="00B0F0"/>
              </a:buClr>
              <a:defRPr/>
            </a:pPr>
            <a:r>
              <a:rPr lang="en-US" sz="2200" b="1" dirty="0" smtClean="0">
                <a:solidFill>
                  <a:srgbClr val="58585A"/>
                </a:solidFill>
              </a:rPr>
              <a:t>Rules </a:t>
            </a:r>
            <a:r>
              <a:rPr lang="en-US" sz="2200" b="1" dirty="0">
                <a:solidFill>
                  <a:srgbClr val="58585A"/>
                </a:solidFill>
              </a:rPr>
              <a:t>or </a:t>
            </a:r>
            <a:r>
              <a:rPr lang="en-US" sz="2200" b="1" dirty="0" smtClean="0">
                <a:solidFill>
                  <a:srgbClr val="58585A"/>
                </a:solidFill>
              </a:rPr>
              <a:t>events </a:t>
            </a:r>
            <a:r>
              <a:rPr lang="en-US" sz="2200" dirty="0" smtClean="0">
                <a:solidFill>
                  <a:srgbClr val="58585A"/>
                </a:solidFill>
              </a:rPr>
              <a:t>are contained in a </a:t>
            </a:r>
            <a:r>
              <a:rPr lang="en-US" sz="2200" dirty="0">
                <a:solidFill>
                  <a:srgbClr val="58585A"/>
                </a:solidFill>
              </a:rPr>
              <a:t>new item association object </a:t>
            </a:r>
            <a:r>
              <a:rPr lang="en-US" sz="2200" dirty="0" smtClean="0">
                <a:solidFill>
                  <a:srgbClr val="58585A"/>
                </a:solidFill>
              </a:rPr>
              <a:t>called “Actions”</a:t>
            </a:r>
            <a:endParaRPr lang="en-US" sz="2200" dirty="0">
              <a:solidFill>
                <a:srgbClr val="58585A"/>
              </a:solidFill>
            </a:endParaRPr>
          </a:p>
        </p:txBody>
      </p:sp>
      <p:sp>
        <p:nvSpPr>
          <p:cNvPr id="48131" name="Title 5"/>
          <p:cNvSpPr>
            <a:spLocks noGrp="1"/>
          </p:cNvSpPr>
          <p:nvPr>
            <p:ph type="title"/>
          </p:nvPr>
        </p:nvSpPr>
        <p:spPr>
          <a:xfrm>
            <a:off x="393701" y="239713"/>
            <a:ext cx="8173356" cy="1085371"/>
          </a:xfrm>
        </p:spPr>
        <p:txBody>
          <a:bodyPr/>
          <a:lstStyle/>
          <a:p>
            <a:r>
              <a:rPr lang="en-US" sz="3600" dirty="0" smtClean="0">
                <a:latin typeface="Ericsson Capital TT" pitchFamily="2" charset="0"/>
              </a:rPr>
              <a:t>usability and performance</a:t>
            </a:r>
            <a:endParaRPr lang="en-CA" sz="3600" dirty="0" smtClean="0">
              <a:latin typeface="Ericsson Capital TT" pitchFamily="2" charset="0"/>
            </a:endParaRPr>
          </a:p>
        </p:txBody>
      </p:sp>
      <p:grpSp>
        <p:nvGrpSpPr>
          <p:cNvPr id="3" name="Group 2"/>
          <p:cNvGrpSpPr/>
          <p:nvPr/>
        </p:nvGrpSpPr>
        <p:grpSpPr>
          <a:xfrm>
            <a:off x="146952" y="4326003"/>
            <a:ext cx="8850096" cy="2058701"/>
            <a:chOff x="76190" y="3792589"/>
            <a:chExt cx="8850096" cy="2058701"/>
          </a:xfrm>
        </p:grpSpPr>
        <p:pic>
          <p:nvPicPr>
            <p:cNvPr id="14950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190" y="3792589"/>
              <a:ext cx="2776747" cy="2058701"/>
            </a:xfrm>
            <a:prstGeom prst="rect">
              <a:avLst/>
            </a:prstGeom>
            <a:solidFill>
              <a:srgbClr val="FFFFFF"/>
            </a:solidFill>
            <a:ln w="28575" cap="flat" cmpd="sng" algn="ctr">
              <a:solidFill>
                <a:srgbClr val="00A9D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81744" y="3792589"/>
              <a:ext cx="2988854" cy="2058701"/>
            </a:xfrm>
            <a:prstGeom prst="rect">
              <a:avLst/>
            </a:prstGeom>
            <a:solidFill>
              <a:srgbClr val="FFFFFF"/>
            </a:solidFill>
            <a:ln w="28575" cap="flat" cmpd="sng" algn="ctr">
              <a:solidFill>
                <a:srgbClr val="00A9D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4"/>
            <p:cNvPicPr>
              <a:picLocks noChangeAspect="1" noChangeArrowheads="1"/>
            </p:cNvPicPr>
            <p:nvPr/>
          </p:nvPicPr>
          <p:blipFill rotWithShape="1">
            <a:blip r:embed="rId5"/>
            <a:srcRect r="27785"/>
            <a:stretch/>
          </p:blipFill>
          <p:spPr bwMode="auto">
            <a:xfrm>
              <a:off x="6099405" y="3792589"/>
              <a:ext cx="2826881" cy="2058701"/>
            </a:xfrm>
            <a:prstGeom prst="rect">
              <a:avLst/>
            </a:prstGeom>
            <a:solidFill>
              <a:srgbClr val="FFFFFF"/>
            </a:solidFill>
            <a:ln w="28575" cap="flat" cmpd="sng" algn="ctr">
              <a:solidFill>
                <a:srgbClr val="00A9D4"/>
              </a:solidFill>
              <a:prstDash val="solid"/>
              <a:round/>
              <a:headEnd type="none" w="med" len="med"/>
              <a:tailEnd type="none" w="med" len="med"/>
            </a:ln>
            <a:effectLst/>
            <a:extLst/>
          </p:spPr>
        </p:pic>
      </p:grpSp>
      <p:sp>
        <p:nvSpPr>
          <p:cNvPr id="11" name="Rectangle 51"/>
          <p:cNvSpPr>
            <a:spLocks noChangeArrowheads="1"/>
          </p:cNvSpPr>
          <p:nvPr/>
        </p:nvSpPr>
        <p:spPr bwMode="auto">
          <a:xfrm>
            <a:off x="2514598" y="1180875"/>
            <a:ext cx="3989778"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p>
            <a:pPr>
              <a:lnSpc>
                <a:spcPct val="90000"/>
              </a:lnSpc>
            </a:pPr>
            <a:r>
              <a:rPr lang="en-US" sz="2800" dirty="0" smtClean="0">
                <a:solidFill>
                  <a:srgbClr val="00A9D4"/>
                </a:solidFill>
                <a:ea typeface="MS PGothic" pitchFamily="34" charset="-128"/>
              </a:rPr>
              <a:t>Release 14.0 GA</a:t>
            </a:r>
            <a:endParaRPr lang="en-US" sz="2800" dirty="0">
              <a:solidFill>
                <a:srgbClr val="00A9D4"/>
              </a:solidFill>
              <a:ea typeface="MS PGothic" pitchFamily="34" charset="-128"/>
            </a:endParaRPr>
          </a:p>
        </p:txBody>
      </p:sp>
    </p:spTree>
    <p:extLst>
      <p:ext uri="{BB962C8B-B14F-4D97-AF65-F5344CB8AC3E}">
        <p14:creationId xmlns:p14="http://schemas.microsoft.com/office/powerpoint/2010/main" val="342285286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Content Placeholder 6"/>
          <p:cNvSpPr>
            <a:spLocks noGrp="1"/>
          </p:cNvSpPr>
          <p:nvPr>
            <p:ph idx="1"/>
          </p:nvPr>
        </p:nvSpPr>
        <p:spPr>
          <a:xfrm>
            <a:off x="396876" y="1800000"/>
            <a:ext cx="3772353" cy="3852000"/>
          </a:xfrm>
        </p:spPr>
        <p:txBody>
          <a:bodyPr/>
          <a:lstStyle/>
          <a:p>
            <a:pPr>
              <a:lnSpc>
                <a:spcPct val="90000"/>
              </a:lnSpc>
              <a:spcBef>
                <a:spcPct val="0"/>
              </a:spcBef>
              <a:spcAft>
                <a:spcPts val="600"/>
              </a:spcAft>
              <a:buClr>
                <a:srgbClr val="00B0F0"/>
              </a:buClr>
              <a:defRPr/>
            </a:pPr>
            <a:r>
              <a:rPr lang="en-US" sz="2200" dirty="0">
                <a:solidFill>
                  <a:srgbClr val="58585A"/>
                </a:solidFill>
              </a:rPr>
              <a:t>New User Interface Features</a:t>
            </a:r>
          </a:p>
          <a:p>
            <a:pPr lvl="1">
              <a:lnSpc>
                <a:spcPct val="90000"/>
              </a:lnSpc>
              <a:spcBef>
                <a:spcPct val="0"/>
              </a:spcBef>
              <a:spcAft>
                <a:spcPts val="600"/>
              </a:spcAft>
              <a:buClr>
                <a:srgbClr val="00B0F0"/>
              </a:buClr>
              <a:defRPr/>
            </a:pPr>
            <a:r>
              <a:rPr lang="en-US" dirty="0">
                <a:solidFill>
                  <a:srgbClr val="58585A"/>
                </a:solidFill>
              </a:rPr>
              <a:t>Role-based views</a:t>
            </a:r>
          </a:p>
          <a:p>
            <a:pPr lvl="1">
              <a:lnSpc>
                <a:spcPct val="90000"/>
              </a:lnSpc>
              <a:spcBef>
                <a:spcPct val="0"/>
              </a:spcBef>
              <a:spcAft>
                <a:spcPts val="600"/>
              </a:spcAft>
              <a:buClr>
                <a:srgbClr val="00B0F0"/>
              </a:buClr>
              <a:defRPr/>
            </a:pPr>
            <a:r>
              <a:rPr lang="en-US" dirty="0">
                <a:solidFill>
                  <a:srgbClr val="58585A"/>
                </a:solidFill>
              </a:rPr>
              <a:t>Dashboard</a:t>
            </a:r>
          </a:p>
          <a:p>
            <a:pPr lvl="1">
              <a:lnSpc>
                <a:spcPct val="90000"/>
              </a:lnSpc>
              <a:spcBef>
                <a:spcPct val="0"/>
              </a:spcBef>
              <a:spcAft>
                <a:spcPts val="600"/>
              </a:spcAft>
              <a:buClr>
                <a:srgbClr val="00B0F0"/>
              </a:buClr>
              <a:defRPr/>
            </a:pPr>
            <a:r>
              <a:rPr lang="en-US" dirty="0">
                <a:solidFill>
                  <a:srgbClr val="58585A"/>
                </a:solidFill>
              </a:rPr>
              <a:t>One click navigation</a:t>
            </a:r>
          </a:p>
          <a:p>
            <a:pPr lvl="1">
              <a:lnSpc>
                <a:spcPct val="90000"/>
              </a:lnSpc>
              <a:spcBef>
                <a:spcPct val="0"/>
              </a:spcBef>
              <a:spcAft>
                <a:spcPts val="600"/>
              </a:spcAft>
              <a:buClr>
                <a:srgbClr val="00B0F0"/>
              </a:buClr>
              <a:defRPr/>
            </a:pPr>
            <a:r>
              <a:rPr lang="en-US" dirty="0">
                <a:solidFill>
                  <a:srgbClr val="58585A"/>
                </a:solidFill>
              </a:rPr>
              <a:t>Reduced pop-ups</a:t>
            </a:r>
          </a:p>
          <a:p>
            <a:pPr lvl="1">
              <a:lnSpc>
                <a:spcPct val="90000"/>
              </a:lnSpc>
              <a:spcBef>
                <a:spcPct val="0"/>
              </a:spcBef>
              <a:spcAft>
                <a:spcPts val="600"/>
              </a:spcAft>
              <a:buClr>
                <a:srgbClr val="00B0F0"/>
              </a:buClr>
              <a:defRPr/>
            </a:pPr>
            <a:r>
              <a:rPr lang="en-US" dirty="0">
                <a:solidFill>
                  <a:srgbClr val="58585A"/>
                </a:solidFill>
              </a:rPr>
              <a:t>Editable lists</a:t>
            </a:r>
          </a:p>
          <a:p>
            <a:pPr lvl="1">
              <a:lnSpc>
                <a:spcPct val="90000"/>
              </a:lnSpc>
              <a:spcBef>
                <a:spcPct val="0"/>
              </a:spcBef>
              <a:spcAft>
                <a:spcPts val="600"/>
              </a:spcAft>
              <a:buClr>
                <a:srgbClr val="00B0F0"/>
              </a:buClr>
              <a:defRPr/>
            </a:pPr>
            <a:r>
              <a:rPr lang="en-US" dirty="0">
                <a:solidFill>
                  <a:srgbClr val="58585A"/>
                </a:solidFill>
              </a:rPr>
              <a:t>PLM focused through-out</a:t>
            </a:r>
          </a:p>
          <a:p>
            <a:pPr lvl="1">
              <a:lnSpc>
                <a:spcPct val="90000"/>
              </a:lnSpc>
              <a:spcBef>
                <a:spcPct val="0"/>
              </a:spcBef>
              <a:spcAft>
                <a:spcPts val="600"/>
              </a:spcAft>
              <a:buClr>
                <a:srgbClr val="00B0F0"/>
              </a:buClr>
              <a:defRPr/>
            </a:pPr>
            <a:r>
              <a:rPr lang="en-US" dirty="0">
                <a:solidFill>
                  <a:srgbClr val="58585A"/>
                </a:solidFill>
              </a:rPr>
              <a:t>Drag and drop </a:t>
            </a:r>
            <a:r>
              <a:rPr lang="en-US" dirty="0" smtClean="0">
                <a:solidFill>
                  <a:srgbClr val="58585A"/>
                </a:solidFill>
              </a:rPr>
              <a:t>capability</a:t>
            </a:r>
            <a:endParaRPr lang="en-US" dirty="0">
              <a:solidFill>
                <a:srgbClr val="58585A"/>
              </a:solidFill>
            </a:endParaRPr>
          </a:p>
        </p:txBody>
      </p:sp>
      <p:sp>
        <p:nvSpPr>
          <p:cNvPr id="48131" name="Title 5"/>
          <p:cNvSpPr>
            <a:spLocks noGrp="1"/>
          </p:cNvSpPr>
          <p:nvPr>
            <p:ph type="title"/>
          </p:nvPr>
        </p:nvSpPr>
        <p:spPr>
          <a:xfrm>
            <a:off x="393701" y="239713"/>
            <a:ext cx="8173356" cy="1085371"/>
          </a:xfrm>
        </p:spPr>
        <p:txBody>
          <a:bodyPr/>
          <a:lstStyle/>
          <a:p>
            <a:r>
              <a:rPr lang="en-US" sz="3600" dirty="0" smtClean="0">
                <a:latin typeface="Ericsson Capital TT" pitchFamily="2" charset="0"/>
              </a:rPr>
              <a:t>Role-Based User </a:t>
            </a:r>
            <a:r>
              <a:rPr lang="en-US" sz="3600" dirty="0">
                <a:latin typeface="Ericsson Capital TT" pitchFamily="2" charset="0"/>
              </a:rPr>
              <a:t>Interface</a:t>
            </a:r>
            <a:endParaRPr lang="en-CA" sz="3600" dirty="0" smtClean="0">
              <a:latin typeface="Ericsson Capital TT" pitchFamily="2" charset="0"/>
            </a:endParaRPr>
          </a:p>
        </p:txBody>
      </p:sp>
      <p:sp>
        <p:nvSpPr>
          <p:cNvPr id="11" name="Rectangle 51"/>
          <p:cNvSpPr>
            <a:spLocks noChangeArrowheads="1"/>
          </p:cNvSpPr>
          <p:nvPr/>
        </p:nvSpPr>
        <p:spPr bwMode="auto">
          <a:xfrm>
            <a:off x="2514598" y="1180875"/>
            <a:ext cx="3989778"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p>
            <a:pPr>
              <a:lnSpc>
                <a:spcPct val="90000"/>
              </a:lnSpc>
            </a:pPr>
            <a:r>
              <a:rPr lang="en-US" sz="2800" dirty="0" smtClean="0">
                <a:solidFill>
                  <a:srgbClr val="00A9D4"/>
                </a:solidFill>
                <a:ea typeface="MS PGothic" pitchFamily="34" charset="-128"/>
              </a:rPr>
              <a:t>Release 14.0 GA</a:t>
            </a:r>
            <a:endParaRPr lang="en-US" sz="2800" dirty="0">
              <a:solidFill>
                <a:srgbClr val="00A9D4"/>
              </a:solidFill>
              <a:ea typeface="MS PGothic" pitchFamily="34" charset="-128"/>
            </a:endParaRPr>
          </a:p>
        </p:txBody>
      </p:sp>
      <p:pic>
        <p:nvPicPr>
          <p:cNvPr id="9" name="Picture 5"/>
          <p:cNvPicPr>
            <a:picLocks noChangeAspect="1" noChangeArrowheads="1"/>
          </p:cNvPicPr>
          <p:nvPr/>
        </p:nvPicPr>
        <p:blipFill>
          <a:blip r:embed="rId3"/>
          <a:srcRect/>
          <a:stretch>
            <a:fillRect/>
          </a:stretch>
        </p:blipFill>
        <p:spPr bwMode="auto">
          <a:xfrm>
            <a:off x="3948791" y="1800000"/>
            <a:ext cx="4868638" cy="3679825"/>
          </a:xfrm>
          <a:prstGeom prst="rect">
            <a:avLst/>
          </a:prstGeom>
          <a:solidFill>
            <a:srgbClr val="FFFFFF"/>
          </a:solidFill>
          <a:ln w="28575" cap="flat" cmpd="sng" algn="ctr">
            <a:solidFill>
              <a:srgbClr val="00A9D4"/>
            </a:solidFill>
            <a:prstDash val="solid"/>
            <a:round/>
            <a:headEnd type="none" w="med" len="med"/>
            <a:tailEnd type="none" w="med" len="med"/>
          </a:ln>
          <a:effectLst/>
          <a:extLst/>
        </p:spPr>
      </p:pic>
      <p:sp>
        <p:nvSpPr>
          <p:cNvPr id="10" name="Content Placeholder 6"/>
          <p:cNvSpPr txBox="1">
            <a:spLocks/>
          </p:cNvSpPr>
          <p:nvPr/>
        </p:nvSpPr>
        <p:spPr bwMode="auto">
          <a:xfrm>
            <a:off x="393701" y="5298171"/>
            <a:ext cx="7515848" cy="1091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0" rIns="72000" bIns="0" numCol="1" anchor="t" anchorCtr="0" compatLnSpc="1">
            <a:prstTxWarp prst="textNoShape">
              <a:avLst/>
            </a:prstTxWarp>
          </a:bodyPr>
          <a:lstStyle>
            <a:lvl1pPr marL="176213" indent="-176213" algn="l" rtl="0" eaLnBrk="0" fontAlgn="base" hangingPunct="0">
              <a:spcBef>
                <a:spcPct val="20000"/>
              </a:spcBef>
              <a:spcAft>
                <a:spcPct val="0"/>
              </a:spcAft>
              <a:buClr>
                <a:srgbClr val="00A9D4"/>
              </a:buClr>
              <a:buFont typeface="Arial" pitchFamily="34" charset="0"/>
              <a:buChar char="›"/>
              <a:defRPr sz="2400">
                <a:solidFill>
                  <a:schemeClr val="tx1"/>
                </a:solidFill>
                <a:latin typeface="+mn-lt"/>
                <a:ea typeface="+mn-ea"/>
                <a:cs typeface="+mn-cs"/>
              </a:defRPr>
            </a:lvl1pPr>
            <a:lvl2pPr marL="533400" indent="-177800"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0" fontAlgn="base" hangingPunct="0">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a:lnSpc>
                <a:spcPct val="90000"/>
              </a:lnSpc>
              <a:spcBef>
                <a:spcPct val="0"/>
              </a:spcBef>
              <a:spcAft>
                <a:spcPts val="600"/>
              </a:spcAft>
              <a:buClr>
                <a:srgbClr val="00B0F0"/>
              </a:buClr>
              <a:defRPr/>
            </a:pPr>
            <a:r>
              <a:rPr lang="en-US" sz="2200" dirty="0" smtClean="0">
                <a:solidFill>
                  <a:srgbClr val="58585A"/>
                </a:solidFill>
              </a:rPr>
              <a:t>Result</a:t>
            </a:r>
          </a:p>
          <a:p>
            <a:pPr lvl="1">
              <a:lnSpc>
                <a:spcPct val="90000"/>
              </a:lnSpc>
              <a:spcBef>
                <a:spcPct val="0"/>
              </a:spcBef>
              <a:spcAft>
                <a:spcPts val="600"/>
              </a:spcAft>
              <a:buClr>
                <a:srgbClr val="00B0F0"/>
              </a:buClr>
              <a:defRPr/>
            </a:pPr>
            <a:r>
              <a:rPr lang="en-US" dirty="0" smtClean="0">
                <a:solidFill>
                  <a:srgbClr val="58585A"/>
                </a:solidFill>
              </a:rPr>
              <a:t>More intuitive user interface better suited for non-technical user while keeping proven tool power intact</a:t>
            </a:r>
            <a:endParaRPr lang="en-US" dirty="0">
              <a:solidFill>
                <a:srgbClr val="58585A"/>
              </a:solidFill>
            </a:endParaRPr>
          </a:p>
        </p:txBody>
      </p:sp>
      <p:sp>
        <p:nvSpPr>
          <p:cNvPr id="7" name="Right Arrow 6"/>
          <p:cNvSpPr/>
          <p:nvPr/>
        </p:nvSpPr>
        <p:spPr bwMode="auto">
          <a:xfrm>
            <a:off x="8523513" y="6429375"/>
            <a:ext cx="504825" cy="352425"/>
          </a:xfrm>
          <a:prstGeom prst="rightArrow">
            <a:avLst/>
          </a:prstGeom>
          <a:solidFill>
            <a:srgbClr val="B1B3B4"/>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kumimoji="0" lang="en-US" sz="1100" b="1" i="0" u="none" strike="noStrike" cap="none" normalizeH="0" baseline="0" dirty="0" smtClean="0">
                <a:ln>
                  <a:noFill/>
                </a:ln>
                <a:solidFill>
                  <a:schemeClr val="tx1"/>
                </a:solidFill>
                <a:effectLst/>
                <a:latin typeface="Arial" charset="0"/>
              </a:rPr>
              <a:t>P2</a:t>
            </a:r>
          </a:p>
        </p:txBody>
      </p:sp>
    </p:spTree>
    <p:extLst>
      <p:ext uri="{BB962C8B-B14F-4D97-AF65-F5344CB8AC3E}">
        <p14:creationId xmlns:p14="http://schemas.microsoft.com/office/powerpoint/2010/main" val="218535008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Title 1"/>
          <p:cNvSpPr>
            <a:spLocks noGrp="1"/>
          </p:cNvSpPr>
          <p:nvPr>
            <p:ph type="title"/>
          </p:nvPr>
        </p:nvSpPr>
        <p:spPr/>
        <p:txBody>
          <a:bodyPr/>
          <a:lstStyle/>
          <a:p>
            <a:r>
              <a:rPr lang="en-US" smtClean="0">
                <a:latin typeface="Ericsson Capital TT" pitchFamily="2" charset="0"/>
              </a:rPr>
              <a:t>Today’s Agenda</a:t>
            </a:r>
          </a:p>
        </p:txBody>
      </p:sp>
      <p:sp>
        <p:nvSpPr>
          <p:cNvPr id="6" name="Freeform 4"/>
          <p:cNvSpPr>
            <a:spLocks noChangeAspect="1" noEditPoints="1"/>
          </p:cNvSpPr>
          <p:nvPr/>
        </p:nvSpPr>
        <p:spPr bwMode="auto">
          <a:xfrm>
            <a:off x="527050" y="2150905"/>
            <a:ext cx="4741636" cy="3497800"/>
          </a:xfrm>
          <a:custGeom>
            <a:avLst/>
            <a:gdLst>
              <a:gd name="T0" fmla="*/ 2147483647 w 305"/>
              <a:gd name="T1" fmla="*/ 2147483647 h 300"/>
              <a:gd name="T2" fmla="*/ 2147483647 w 305"/>
              <a:gd name="T3" fmla="*/ 2147483647 h 300"/>
              <a:gd name="T4" fmla="*/ 2147483647 w 305"/>
              <a:gd name="T5" fmla="*/ 0 h 300"/>
              <a:gd name="T6" fmla="*/ 2147483647 w 305"/>
              <a:gd name="T7" fmla="*/ 2147483647 h 300"/>
              <a:gd name="T8" fmla="*/ 2147483647 w 305"/>
              <a:gd name="T9" fmla="*/ 2147483647 h 300"/>
              <a:gd name="T10" fmla="*/ 2147483647 w 305"/>
              <a:gd name="T11" fmla="*/ 2147483647 h 300"/>
              <a:gd name="T12" fmla="*/ 2147483647 w 305"/>
              <a:gd name="T13" fmla="*/ 2147483647 h 300"/>
              <a:gd name="T14" fmla="*/ 2147483647 w 305"/>
              <a:gd name="T15" fmla="*/ 2147483647 h 300"/>
              <a:gd name="T16" fmla="*/ 2147483647 w 305"/>
              <a:gd name="T17" fmla="*/ 2147483647 h 300"/>
              <a:gd name="T18" fmla="*/ 2147483647 w 305"/>
              <a:gd name="T19" fmla="*/ 2147483647 h 300"/>
              <a:gd name="T20" fmla="*/ 2147483647 w 305"/>
              <a:gd name="T21" fmla="*/ 2147483647 h 300"/>
              <a:gd name="T22" fmla="*/ 2147483647 w 305"/>
              <a:gd name="T23" fmla="*/ 2147483647 h 300"/>
              <a:gd name="T24" fmla="*/ 2147483647 w 305"/>
              <a:gd name="T25" fmla="*/ 2147483647 h 300"/>
              <a:gd name="T26" fmla="*/ 2147483647 w 305"/>
              <a:gd name="T27" fmla="*/ 2147483647 h 300"/>
              <a:gd name="T28" fmla="*/ 2147483647 w 305"/>
              <a:gd name="T29" fmla="*/ 2147483647 h 300"/>
              <a:gd name="T30" fmla="*/ 2147483647 w 305"/>
              <a:gd name="T31" fmla="*/ 2147483647 h 300"/>
              <a:gd name="T32" fmla="*/ 2147483647 w 305"/>
              <a:gd name="T33" fmla="*/ 2147483647 h 300"/>
              <a:gd name="T34" fmla="*/ 2147483647 w 305"/>
              <a:gd name="T35" fmla="*/ 2147483647 h 300"/>
              <a:gd name="T36" fmla="*/ 2147483647 w 305"/>
              <a:gd name="T37" fmla="*/ 2147483647 h 300"/>
              <a:gd name="T38" fmla="*/ 2147483647 w 305"/>
              <a:gd name="T39" fmla="*/ 2147483647 h 300"/>
              <a:gd name="T40" fmla="*/ 2147483647 w 305"/>
              <a:gd name="T41" fmla="*/ 2147483647 h 300"/>
              <a:gd name="T42" fmla="*/ 2147483647 w 305"/>
              <a:gd name="T43" fmla="*/ 2147483647 h 300"/>
              <a:gd name="T44" fmla="*/ 2147483647 w 305"/>
              <a:gd name="T45" fmla="*/ 2147483647 h 300"/>
              <a:gd name="T46" fmla="*/ 2147483647 w 305"/>
              <a:gd name="T47" fmla="*/ 2147483647 h 300"/>
              <a:gd name="T48" fmla="*/ 2147483647 w 305"/>
              <a:gd name="T49" fmla="*/ 2147483647 h 300"/>
              <a:gd name="T50" fmla="*/ 2147483647 w 305"/>
              <a:gd name="T51" fmla="*/ 2147483647 h 300"/>
              <a:gd name="T52" fmla="*/ 2147483647 w 305"/>
              <a:gd name="T53" fmla="*/ 2147483647 h 300"/>
              <a:gd name="T54" fmla="*/ 2147483647 w 305"/>
              <a:gd name="T55" fmla="*/ 2147483647 h 300"/>
              <a:gd name="T56" fmla="*/ 2147483647 w 305"/>
              <a:gd name="T57" fmla="*/ 2147483647 h 300"/>
              <a:gd name="T58" fmla="*/ 2147483647 w 305"/>
              <a:gd name="T59" fmla="*/ 2147483647 h 300"/>
              <a:gd name="T60" fmla="*/ 2147483647 w 305"/>
              <a:gd name="T61" fmla="*/ 2147483647 h 300"/>
              <a:gd name="T62" fmla="*/ 2147483647 w 305"/>
              <a:gd name="T63" fmla="*/ 2147483647 h 300"/>
              <a:gd name="T64" fmla="*/ 2147483647 w 305"/>
              <a:gd name="T65" fmla="*/ 2147483647 h 300"/>
              <a:gd name="T66" fmla="*/ 2147483647 w 305"/>
              <a:gd name="T67" fmla="*/ 2147483647 h 300"/>
              <a:gd name="T68" fmla="*/ 2147483647 w 305"/>
              <a:gd name="T69" fmla="*/ 2147483647 h 300"/>
              <a:gd name="T70" fmla="*/ 2147483647 w 305"/>
              <a:gd name="T71" fmla="*/ 2147483647 h 300"/>
              <a:gd name="T72" fmla="*/ 2147483647 w 305"/>
              <a:gd name="T73" fmla="*/ 2147483647 h 300"/>
              <a:gd name="T74" fmla="*/ 2147483647 w 305"/>
              <a:gd name="T75" fmla="*/ 2147483647 h 300"/>
              <a:gd name="T76" fmla="*/ 2147483647 w 305"/>
              <a:gd name="T77" fmla="*/ 2147483647 h 300"/>
              <a:gd name="T78" fmla="*/ 2147483647 w 305"/>
              <a:gd name="T79" fmla="*/ 2147483647 h 300"/>
              <a:gd name="T80" fmla="*/ 2147483647 w 305"/>
              <a:gd name="T81" fmla="*/ 2147483647 h 300"/>
              <a:gd name="T82" fmla="*/ 2147483647 w 305"/>
              <a:gd name="T83" fmla="*/ 2147483647 h 300"/>
              <a:gd name="T84" fmla="*/ 2147483647 w 305"/>
              <a:gd name="T85" fmla="*/ 2147483647 h 300"/>
              <a:gd name="T86" fmla="*/ 2147483647 w 305"/>
              <a:gd name="T87" fmla="*/ 2147483647 h 300"/>
              <a:gd name="T88" fmla="*/ 2147483647 w 305"/>
              <a:gd name="T89" fmla="*/ 2147483647 h 300"/>
              <a:gd name="T90" fmla="*/ 2147483647 w 305"/>
              <a:gd name="T91" fmla="*/ 2147483647 h 300"/>
              <a:gd name="T92" fmla="*/ 2147483647 w 305"/>
              <a:gd name="T93" fmla="*/ 2147483647 h 3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05"/>
              <a:gd name="T142" fmla="*/ 0 h 300"/>
              <a:gd name="T143" fmla="*/ 305 w 305"/>
              <a:gd name="T144" fmla="*/ 300 h 3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05" h="300">
                <a:moveTo>
                  <a:pt x="289" y="26"/>
                </a:moveTo>
                <a:cubicBezTo>
                  <a:pt x="287" y="26"/>
                  <a:pt x="286" y="27"/>
                  <a:pt x="284" y="27"/>
                </a:cubicBezTo>
                <a:cubicBezTo>
                  <a:pt x="284" y="27"/>
                  <a:pt x="267" y="34"/>
                  <a:pt x="243" y="43"/>
                </a:cubicBezTo>
                <a:cubicBezTo>
                  <a:pt x="240" y="18"/>
                  <a:pt x="240" y="18"/>
                  <a:pt x="240" y="18"/>
                </a:cubicBezTo>
                <a:cubicBezTo>
                  <a:pt x="240" y="13"/>
                  <a:pt x="238" y="10"/>
                  <a:pt x="236" y="6"/>
                </a:cubicBezTo>
                <a:cubicBezTo>
                  <a:pt x="233" y="3"/>
                  <a:pt x="229" y="0"/>
                  <a:pt x="224" y="0"/>
                </a:cubicBezTo>
                <a:cubicBezTo>
                  <a:pt x="222" y="0"/>
                  <a:pt x="221" y="0"/>
                  <a:pt x="219" y="1"/>
                </a:cubicBezTo>
                <a:cubicBezTo>
                  <a:pt x="219" y="1"/>
                  <a:pt x="196" y="9"/>
                  <a:pt x="171" y="19"/>
                </a:cubicBezTo>
                <a:cubicBezTo>
                  <a:pt x="147" y="28"/>
                  <a:pt x="121" y="38"/>
                  <a:pt x="114" y="40"/>
                </a:cubicBezTo>
                <a:cubicBezTo>
                  <a:pt x="114" y="40"/>
                  <a:pt x="114" y="40"/>
                  <a:pt x="114" y="40"/>
                </a:cubicBezTo>
                <a:cubicBezTo>
                  <a:pt x="113" y="39"/>
                  <a:pt x="112" y="35"/>
                  <a:pt x="110" y="31"/>
                </a:cubicBezTo>
                <a:cubicBezTo>
                  <a:pt x="109" y="29"/>
                  <a:pt x="108" y="27"/>
                  <a:pt x="105" y="25"/>
                </a:cubicBezTo>
                <a:cubicBezTo>
                  <a:pt x="103" y="22"/>
                  <a:pt x="99" y="21"/>
                  <a:pt x="96" y="21"/>
                </a:cubicBezTo>
                <a:cubicBezTo>
                  <a:pt x="93" y="21"/>
                  <a:pt x="90" y="22"/>
                  <a:pt x="88" y="23"/>
                </a:cubicBezTo>
                <a:cubicBezTo>
                  <a:pt x="69" y="30"/>
                  <a:pt x="18" y="49"/>
                  <a:pt x="18" y="49"/>
                </a:cubicBezTo>
                <a:cubicBezTo>
                  <a:pt x="13" y="50"/>
                  <a:pt x="9" y="52"/>
                  <a:pt x="5" y="56"/>
                </a:cubicBezTo>
                <a:cubicBezTo>
                  <a:pt x="2" y="60"/>
                  <a:pt x="0" y="66"/>
                  <a:pt x="0" y="72"/>
                </a:cubicBezTo>
                <a:cubicBezTo>
                  <a:pt x="0" y="73"/>
                  <a:pt x="0" y="75"/>
                  <a:pt x="1" y="77"/>
                </a:cubicBezTo>
                <a:cubicBezTo>
                  <a:pt x="1" y="77"/>
                  <a:pt x="1" y="77"/>
                  <a:pt x="1" y="77"/>
                </a:cubicBezTo>
                <a:cubicBezTo>
                  <a:pt x="30" y="285"/>
                  <a:pt x="30" y="285"/>
                  <a:pt x="30" y="285"/>
                </a:cubicBezTo>
                <a:cubicBezTo>
                  <a:pt x="30" y="285"/>
                  <a:pt x="30" y="285"/>
                  <a:pt x="30" y="285"/>
                </a:cubicBezTo>
                <a:cubicBezTo>
                  <a:pt x="30" y="286"/>
                  <a:pt x="31" y="287"/>
                  <a:pt x="31" y="288"/>
                </a:cubicBezTo>
                <a:cubicBezTo>
                  <a:pt x="32" y="291"/>
                  <a:pt x="34" y="294"/>
                  <a:pt x="36" y="296"/>
                </a:cubicBezTo>
                <a:cubicBezTo>
                  <a:pt x="39" y="299"/>
                  <a:pt x="44" y="300"/>
                  <a:pt x="48" y="300"/>
                </a:cubicBezTo>
                <a:cubicBezTo>
                  <a:pt x="51" y="300"/>
                  <a:pt x="54" y="300"/>
                  <a:pt x="56" y="299"/>
                </a:cubicBezTo>
                <a:cubicBezTo>
                  <a:pt x="204" y="243"/>
                  <a:pt x="204" y="243"/>
                  <a:pt x="204" y="243"/>
                </a:cubicBezTo>
                <a:cubicBezTo>
                  <a:pt x="208" y="241"/>
                  <a:pt x="210" y="237"/>
                  <a:pt x="209" y="233"/>
                </a:cubicBezTo>
                <a:cubicBezTo>
                  <a:pt x="207" y="228"/>
                  <a:pt x="202" y="226"/>
                  <a:pt x="198" y="228"/>
                </a:cubicBezTo>
                <a:cubicBezTo>
                  <a:pt x="51" y="284"/>
                  <a:pt x="51" y="284"/>
                  <a:pt x="51" y="284"/>
                </a:cubicBezTo>
                <a:cubicBezTo>
                  <a:pt x="50" y="284"/>
                  <a:pt x="49" y="284"/>
                  <a:pt x="48" y="284"/>
                </a:cubicBezTo>
                <a:cubicBezTo>
                  <a:pt x="47" y="284"/>
                  <a:pt x="47" y="284"/>
                  <a:pt x="46" y="284"/>
                </a:cubicBezTo>
                <a:cubicBezTo>
                  <a:pt x="46" y="284"/>
                  <a:pt x="46" y="284"/>
                  <a:pt x="46" y="284"/>
                </a:cubicBezTo>
                <a:cubicBezTo>
                  <a:pt x="46" y="283"/>
                  <a:pt x="46" y="283"/>
                  <a:pt x="46" y="283"/>
                </a:cubicBezTo>
                <a:cubicBezTo>
                  <a:pt x="46" y="283"/>
                  <a:pt x="46" y="283"/>
                  <a:pt x="46" y="283"/>
                </a:cubicBezTo>
                <a:cubicBezTo>
                  <a:pt x="46" y="283"/>
                  <a:pt x="46" y="283"/>
                  <a:pt x="46" y="283"/>
                </a:cubicBezTo>
                <a:cubicBezTo>
                  <a:pt x="46" y="283"/>
                  <a:pt x="46" y="283"/>
                  <a:pt x="46" y="283"/>
                </a:cubicBezTo>
                <a:cubicBezTo>
                  <a:pt x="79" y="123"/>
                  <a:pt x="79" y="123"/>
                  <a:pt x="79" y="123"/>
                </a:cubicBezTo>
                <a:cubicBezTo>
                  <a:pt x="79" y="123"/>
                  <a:pt x="80" y="123"/>
                  <a:pt x="80" y="122"/>
                </a:cubicBezTo>
                <a:cubicBezTo>
                  <a:pt x="80" y="122"/>
                  <a:pt x="80" y="122"/>
                  <a:pt x="80" y="122"/>
                </a:cubicBezTo>
                <a:cubicBezTo>
                  <a:pt x="80" y="122"/>
                  <a:pt x="80" y="121"/>
                  <a:pt x="81" y="121"/>
                </a:cubicBezTo>
                <a:cubicBezTo>
                  <a:pt x="81" y="121"/>
                  <a:pt x="81" y="121"/>
                  <a:pt x="81" y="121"/>
                </a:cubicBezTo>
                <a:cubicBezTo>
                  <a:pt x="81" y="120"/>
                  <a:pt x="82" y="120"/>
                  <a:pt x="84" y="119"/>
                </a:cubicBezTo>
                <a:cubicBezTo>
                  <a:pt x="84" y="119"/>
                  <a:pt x="84" y="119"/>
                  <a:pt x="84" y="119"/>
                </a:cubicBezTo>
                <a:cubicBezTo>
                  <a:pt x="84" y="119"/>
                  <a:pt x="84" y="119"/>
                  <a:pt x="84" y="119"/>
                </a:cubicBezTo>
                <a:cubicBezTo>
                  <a:pt x="84" y="119"/>
                  <a:pt x="123" y="104"/>
                  <a:pt x="163" y="89"/>
                </a:cubicBezTo>
                <a:cubicBezTo>
                  <a:pt x="211" y="72"/>
                  <a:pt x="282" y="45"/>
                  <a:pt x="289" y="43"/>
                </a:cubicBezTo>
                <a:cubicBezTo>
                  <a:pt x="289" y="43"/>
                  <a:pt x="289" y="43"/>
                  <a:pt x="289" y="43"/>
                </a:cubicBezTo>
                <a:cubicBezTo>
                  <a:pt x="289" y="43"/>
                  <a:pt x="289" y="43"/>
                  <a:pt x="289" y="43"/>
                </a:cubicBezTo>
                <a:cubicBezTo>
                  <a:pt x="253" y="203"/>
                  <a:pt x="253" y="203"/>
                  <a:pt x="253" y="203"/>
                </a:cubicBezTo>
                <a:cubicBezTo>
                  <a:pt x="252" y="205"/>
                  <a:pt x="251" y="207"/>
                  <a:pt x="251" y="207"/>
                </a:cubicBezTo>
                <a:cubicBezTo>
                  <a:pt x="250" y="208"/>
                  <a:pt x="250" y="208"/>
                  <a:pt x="248" y="209"/>
                </a:cubicBezTo>
                <a:cubicBezTo>
                  <a:pt x="248" y="209"/>
                  <a:pt x="248" y="209"/>
                  <a:pt x="248" y="209"/>
                </a:cubicBezTo>
                <a:cubicBezTo>
                  <a:pt x="226" y="217"/>
                  <a:pt x="226" y="217"/>
                  <a:pt x="226" y="217"/>
                </a:cubicBezTo>
                <a:cubicBezTo>
                  <a:pt x="222" y="219"/>
                  <a:pt x="219" y="224"/>
                  <a:pt x="221" y="228"/>
                </a:cubicBezTo>
                <a:cubicBezTo>
                  <a:pt x="223" y="232"/>
                  <a:pt x="227" y="234"/>
                  <a:pt x="231" y="232"/>
                </a:cubicBezTo>
                <a:cubicBezTo>
                  <a:pt x="231" y="232"/>
                  <a:pt x="231" y="232"/>
                  <a:pt x="231" y="232"/>
                </a:cubicBezTo>
                <a:cubicBezTo>
                  <a:pt x="253" y="224"/>
                  <a:pt x="253" y="224"/>
                  <a:pt x="253" y="224"/>
                </a:cubicBezTo>
                <a:cubicBezTo>
                  <a:pt x="257" y="223"/>
                  <a:pt x="261" y="220"/>
                  <a:pt x="263" y="217"/>
                </a:cubicBezTo>
                <a:cubicBezTo>
                  <a:pt x="266" y="214"/>
                  <a:pt x="267" y="211"/>
                  <a:pt x="268" y="208"/>
                </a:cubicBezTo>
                <a:cubicBezTo>
                  <a:pt x="268" y="208"/>
                  <a:pt x="268" y="208"/>
                  <a:pt x="268" y="208"/>
                </a:cubicBezTo>
                <a:cubicBezTo>
                  <a:pt x="305" y="47"/>
                  <a:pt x="305" y="47"/>
                  <a:pt x="305" y="47"/>
                </a:cubicBezTo>
                <a:cubicBezTo>
                  <a:pt x="305" y="45"/>
                  <a:pt x="305" y="44"/>
                  <a:pt x="305" y="43"/>
                </a:cubicBezTo>
                <a:cubicBezTo>
                  <a:pt x="305" y="34"/>
                  <a:pt x="298" y="27"/>
                  <a:pt x="289" y="26"/>
                </a:cubicBezTo>
                <a:close/>
                <a:moveTo>
                  <a:pt x="16" y="75"/>
                </a:moveTo>
                <a:cubicBezTo>
                  <a:pt x="16" y="74"/>
                  <a:pt x="16" y="73"/>
                  <a:pt x="16" y="72"/>
                </a:cubicBezTo>
                <a:cubicBezTo>
                  <a:pt x="16" y="68"/>
                  <a:pt x="17" y="67"/>
                  <a:pt x="17" y="67"/>
                </a:cubicBezTo>
                <a:cubicBezTo>
                  <a:pt x="18" y="66"/>
                  <a:pt x="19" y="65"/>
                  <a:pt x="23" y="64"/>
                </a:cubicBezTo>
                <a:cubicBezTo>
                  <a:pt x="23" y="64"/>
                  <a:pt x="23" y="64"/>
                  <a:pt x="23" y="64"/>
                </a:cubicBezTo>
                <a:cubicBezTo>
                  <a:pt x="23" y="64"/>
                  <a:pt x="23" y="64"/>
                  <a:pt x="23" y="64"/>
                </a:cubicBezTo>
                <a:cubicBezTo>
                  <a:pt x="23" y="64"/>
                  <a:pt x="75" y="44"/>
                  <a:pt x="93" y="38"/>
                </a:cubicBezTo>
                <a:cubicBezTo>
                  <a:pt x="94" y="37"/>
                  <a:pt x="95" y="37"/>
                  <a:pt x="95" y="37"/>
                </a:cubicBezTo>
                <a:cubicBezTo>
                  <a:pt x="96" y="37"/>
                  <a:pt x="96" y="38"/>
                  <a:pt x="96" y="39"/>
                </a:cubicBezTo>
                <a:cubicBezTo>
                  <a:pt x="97" y="41"/>
                  <a:pt x="98" y="44"/>
                  <a:pt x="100" y="48"/>
                </a:cubicBezTo>
                <a:cubicBezTo>
                  <a:pt x="102" y="51"/>
                  <a:pt x="107" y="56"/>
                  <a:pt x="114" y="56"/>
                </a:cubicBezTo>
                <a:cubicBezTo>
                  <a:pt x="116" y="56"/>
                  <a:pt x="118" y="56"/>
                  <a:pt x="119" y="55"/>
                </a:cubicBezTo>
                <a:cubicBezTo>
                  <a:pt x="132" y="51"/>
                  <a:pt x="211" y="21"/>
                  <a:pt x="223" y="16"/>
                </a:cubicBezTo>
                <a:cubicBezTo>
                  <a:pt x="223" y="17"/>
                  <a:pt x="224" y="18"/>
                  <a:pt x="224" y="18"/>
                </a:cubicBezTo>
                <a:cubicBezTo>
                  <a:pt x="224" y="19"/>
                  <a:pt x="224" y="19"/>
                  <a:pt x="224" y="19"/>
                </a:cubicBezTo>
                <a:cubicBezTo>
                  <a:pt x="224" y="19"/>
                  <a:pt x="224" y="19"/>
                  <a:pt x="224" y="19"/>
                </a:cubicBezTo>
                <a:cubicBezTo>
                  <a:pt x="228" y="48"/>
                  <a:pt x="228" y="48"/>
                  <a:pt x="228" y="48"/>
                </a:cubicBezTo>
                <a:cubicBezTo>
                  <a:pt x="195" y="61"/>
                  <a:pt x="155" y="75"/>
                  <a:pt x="133" y="84"/>
                </a:cubicBezTo>
                <a:cubicBezTo>
                  <a:pt x="113" y="91"/>
                  <a:pt x="113" y="91"/>
                  <a:pt x="113" y="91"/>
                </a:cubicBezTo>
                <a:cubicBezTo>
                  <a:pt x="100" y="96"/>
                  <a:pt x="100" y="96"/>
                  <a:pt x="100" y="96"/>
                </a:cubicBezTo>
                <a:cubicBezTo>
                  <a:pt x="88" y="100"/>
                  <a:pt x="81" y="103"/>
                  <a:pt x="79" y="104"/>
                </a:cubicBezTo>
                <a:cubicBezTo>
                  <a:pt x="74" y="105"/>
                  <a:pt x="70" y="108"/>
                  <a:pt x="67" y="112"/>
                </a:cubicBezTo>
                <a:cubicBezTo>
                  <a:pt x="67" y="113"/>
                  <a:pt x="67" y="113"/>
                  <a:pt x="66" y="114"/>
                </a:cubicBezTo>
                <a:cubicBezTo>
                  <a:pt x="66" y="114"/>
                  <a:pt x="66" y="114"/>
                  <a:pt x="66" y="114"/>
                </a:cubicBezTo>
                <a:cubicBezTo>
                  <a:pt x="66" y="115"/>
                  <a:pt x="65" y="115"/>
                  <a:pt x="65" y="116"/>
                </a:cubicBezTo>
                <a:cubicBezTo>
                  <a:pt x="65" y="116"/>
                  <a:pt x="65" y="116"/>
                  <a:pt x="65" y="117"/>
                </a:cubicBezTo>
                <a:cubicBezTo>
                  <a:pt x="65" y="117"/>
                  <a:pt x="65" y="117"/>
                  <a:pt x="65" y="117"/>
                </a:cubicBezTo>
                <a:cubicBezTo>
                  <a:pt x="64" y="118"/>
                  <a:pt x="64" y="119"/>
                  <a:pt x="64" y="119"/>
                </a:cubicBezTo>
                <a:cubicBezTo>
                  <a:pt x="64" y="119"/>
                  <a:pt x="64" y="119"/>
                  <a:pt x="64" y="119"/>
                </a:cubicBezTo>
                <a:cubicBezTo>
                  <a:pt x="64" y="120"/>
                  <a:pt x="64" y="120"/>
                  <a:pt x="64" y="120"/>
                </a:cubicBezTo>
                <a:cubicBezTo>
                  <a:pt x="39" y="237"/>
                  <a:pt x="39" y="237"/>
                  <a:pt x="39" y="237"/>
                </a:cubicBezTo>
                <a:lnTo>
                  <a:pt x="16" y="75"/>
                </a:lnTo>
                <a:close/>
              </a:path>
            </a:pathLst>
          </a:custGeom>
          <a:solidFill>
            <a:srgbClr val="E1E2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 name="Rectangle 4"/>
          <p:cNvSpPr>
            <a:spLocks noChangeArrowheads="1"/>
          </p:cNvSpPr>
          <p:nvPr/>
        </p:nvSpPr>
        <p:spPr bwMode="gray">
          <a:xfrm>
            <a:off x="2971799" y="1716311"/>
            <a:ext cx="5827373" cy="705404"/>
          </a:xfrm>
          <a:prstGeom prst="roundRect">
            <a:avLst>
              <a:gd name="adj" fmla="val 16667"/>
            </a:avLst>
          </a:prstGeom>
          <a:blipFill dpi="0" rotWithShape="1">
            <a:blip r:embed="rId3"/>
            <a:srcRect/>
            <a:stretch>
              <a:fillRect/>
            </a:stretch>
          </a:blipFill>
          <a:ln>
            <a:noFill/>
          </a:ln>
          <a:extLst>
            <a:ext uri="{91240B29-F687-4F45-9708-019B960494DF}">
              <a14:hiddenLine xmlns:a14="http://schemas.microsoft.com/office/drawing/2010/main" w="9525" algn="ctr">
                <a:solidFill>
                  <a:srgbClr val="000000"/>
                </a:solidFill>
                <a:round/>
                <a:headEnd/>
                <a:tailEnd/>
              </a14:hiddenLine>
            </a:ext>
          </a:extLst>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pPr>
            <a:r>
              <a:rPr lang="en-US" sz="1800" dirty="0" smtClean="0">
                <a:solidFill>
                  <a:schemeClr val="bg1"/>
                </a:solidFill>
              </a:rPr>
              <a:t>ERICSSON VISION AND STRATEGY</a:t>
            </a:r>
            <a:endParaRPr lang="en-US" sz="1800" dirty="0">
              <a:solidFill>
                <a:schemeClr val="bg1"/>
              </a:solidFill>
            </a:endParaRPr>
          </a:p>
        </p:txBody>
      </p:sp>
      <p:sp>
        <p:nvSpPr>
          <p:cNvPr id="8" name="Rectangle 4"/>
          <p:cNvSpPr>
            <a:spLocks noChangeArrowheads="1"/>
          </p:cNvSpPr>
          <p:nvPr/>
        </p:nvSpPr>
        <p:spPr bwMode="gray">
          <a:xfrm>
            <a:off x="2971799" y="2596328"/>
            <a:ext cx="5827373" cy="705404"/>
          </a:xfrm>
          <a:prstGeom prst="roundRect">
            <a:avLst>
              <a:gd name="adj" fmla="val 16667"/>
            </a:avLst>
          </a:prstGeom>
          <a:blipFill>
            <a:blip r:embed="rId4" cstate="print"/>
            <a:stretch>
              <a:fillRect/>
            </a:stretch>
          </a:blipFill>
          <a:ln>
            <a:noFill/>
          </a:ln>
          <a:extLst/>
        </p:spPr>
        <p:txBody>
          <a:bodyPr lIns="72009" tIns="72009" rIns="72009" bIns="72009" anchor="ctr"/>
          <a:lstStyle/>
          <a:p>
            <a:pPr marL="228600" indent="-228600" algn="l" eaLnBrk="0" hangingPunct="0">
              <a:lnSpc>
                <a:spcPct val="90000"/>
              </a:lnSpc>
              <a:spcAft>
                <a:spcPct val="70000"/>
              </a:spcAft>
              <a:buClr>
                <a:schemeClr val="hlink"/>
              </a:buClr>
              <a:buFont typeface="Ericsson Capital TT" pitchFamily="2" charset="0"/>
              <a:buNone/>
              <a:tabLst>
                <a:tab pos="1701800" algn="l"/>
              </a:tabLst>
            </a:pPr>
            <a:r>
              <a:rPr lang="en-US" sz="1800" dirty="0" smtClean="0">
                <a:solidFill>
                  <a:schemeClr val="bg1"/>
                </a:solidFill>
                <a:cs typeface="Arial" charset="0"/>
              </a:rPr>
              <a:t>ERICSSON CATALOG MANAGER</a:t>
            </a:r>
            <a:br>
              <a:rPr lang="en-US" sz="1800" dirty="0" smtClean="0">
                <a:solidFill>
                  <a:schemeClr val="bg1"/>
                </a:solidFill>
                <a:cs typeface="Arial" charset="0"/>
              </a:rPr>
            </a:br>
            <a:r>
              <a:rPr lang="en-US" sz="1800" dirty="0" smtClean="0">
                <a:solidFill>
                  <a:schemeClr val="bg1"/>
                </a:solidFill>
                <a:cs typeface="Arial" charset="0"/>
              </a:rPr>
              <a:t>RELEASE 14 ENHANCEMENTS AND ROADMAP</a:t>
            </a:r>
            <a:endParaRPr lang="en-US" sz="1800" dirty="0">
              <a:solidFill>
                <a:schemeClr val="bg1"/>
              </a:solidFill>
              <a:cs typeface="Arial" charset="0"/>
            </a:endParaRPr>
          </a:p>
        </p:txBody>
      </p:sp>
      <p:sp>
        <p:nvSpPr>
          <p:cNvPr id="9" name="Rectangle 4"/>
          <p:cNvSpPr>
            <a:spLocks noChangeArrowheads="1"/>
          </p:cNvSpPr>
          <p:nvPr/>
        </p:nvSpPr>
        <p:spPr bwMode="gray">
          <a:xfrm>
            <a:off x="2971799" y="3476345"/>
            <a:ext cx="5827373" cy="705404"/>
          </a:xfrm>
          <a:prstGeom prst="roundRect">
            <a:avLst>
              <a:gd name="adj" fmla="val 16667"/>
            </a:avLst>
          </a:prstGeom>
          <a:blipFill dpi="0" rotWithShape="1">
            <a:blip r:embed="rId5"/>
            <a:srcRect/>
            <a:stretch>
              <a:fillRect/>
            </a:stretch>
          </a:blipFill>
          <a:ln>
            <a:noFill/>
          </a:ln>
          <a:extLst>
            <a:ext uri="{91240B29-F687-4F45-9708-019B960494DF}">
              <a14:hiddenLine xmlns:a14="http://schemas.microsoft.com/office/drawing/2010/main" w="9525" algn="ctr">
                <a:solidFill>
                  <a:srgbClr val="000000"/>
                </a:solidFill>
                <a:round/>
                <a:headEnd/>
                <a:tailEnd/>
              </a14:hiddenLine>
            </a:ext>
          </a:extLst>
        </p:spPr>
        <p:txBody>
          <a:bodyPr lIns="72009" tIns="72009" rIns="72009" bIns="72009" anchor="ctr"/>
          <a:lstStyle/>
          <a:p>
            <a:pPr marL="228600" indent="-228600" algn="l" eaLnBrk="0" hangingPunct="0">
              <a:lnSpc>
                <a:spcPct val="90000"/>
              </a:lnSpc>
              <a:spcAft>
                <a:spcPct val="70000"/>
              </a:spcAft>
              <a:buClr>
                <a:schemeClr val="hlink"/>
              </a:buClr>
              <a:buFont typeface="Ericsson Capital TT" pitchFamily="2" charset="0"/>
              <a:buNone/>
              <a:tabLst>
                <a:tab pos="1701800" algn="l"/>
              </a:tabLst>
            </a:pPr>
            <a:r>
              <a:rPr lang="en-US" sz="1800" dirty="0" smtClean="0">
                <a:solidFill>
                  <a:schemeClr val="bg1"/>
                </a:solidFill>
              </a:rPr>
              <a:t>ERICSSON ORDER CARE</a:t>
            </a:r>
            <a:br>
              <a:rPr lang="en-US" sz="1800" dirty="0" smtClean="0">
                <a:solidFill>
                  <a:schemeClr val="bg1"/>
                </a:solidFill>
              </a:rPr>
            </a:br>
            <a:r>
              <a:rPr lang="en-US" sz="1800" dirty="0" smtClean="0">
                <a:solidFill>
                  <a:schemeClr val="bg1"/>
                </a:solidFill>
              </a:rPr>
              <a:t>RELEASE 14 ENHANCEMENTS AND ROADMAP</a:t>
            </a:r>
            <a:endParaRPr lang="en-US" sz="1800" dirty="0">
              <a:solidFill>
                <a:schemeClr val="bg1"/>
              </a:solidFill>
            </a:endParaRPr>
          </a:p>
        </p:txBody>
      </p:sp>
      <p:sp>
        <p:nvSpPr>
          <p:cNvPr id="10" name="Rectangle 4"/>
          <p:cNvSpPr>
            <a:spLocks noChangeArrowheads="1"/>
          </p:cNvSpPr>
          <p:nvPr/>
        </p:nvSpPr>
        <p:spPr bwMode="gray">
          <a:xfrm>
            <a:off x="2971799" y="4356362"/>
            <a:ext cx="5827373" cy="705404"/>
          </a:xfrm>
          <a:prstGeom prst="roundRect">
            <a:avLst>
              <a:gd name="adj" fmla="val 16667"/>
            </a:avLst>
          </a:prstGeom>
          <a:blipFill dpi="0" rotWithShape="1">
            <a:blip r:embed="rId6"/>
            <a:srcRect/>
            <a:stretch>
              <a:fillRect/>
            </a:stretch>
          </a:blipFill>
          <a:ln>
            <a:noFill/>
          </a:ln>
          <a:extLst/>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defRPr/>
            </a:pPr>
            <a:r>
              <a:rPr lang="en-US" sz="1800" dirty="0" smtClean="0">
                <a:solidFill>
                  <a:schemeClr val="bg1"/>
                </a:solidFill>
                <a:latin typeface="Arial" charset="0"/>
                <a:cs typeface="Arial" charset="0"/>
              </a:rPr>
              <a:t>BEST PRACTICES FOR UPGRADING TO 14.X</a:t>
            </a:r>
            <a:endParaRPr lang="en-US" sz="1800" dirty="0">
              <a:solidFill>
                <a:schemeClr val="bg1"/>
              </a:solidFill>
              <a:latin typeface="Arial" charset="0"/>
              <a:cs typeface="Arial" charset="0"/>
            </a:endParaRPr>
          </a:p>
        </p:txBody>
      </p:sp>
      <p:sp>
        <p:nvSpPr>
          <p:cNvPr id="19" name="Rectangle 4"/>
          <p:cNvSpPr>
            <a:spLocks noChangeArrowheads="1"/>
          </p:cNvSpPr>
          <p:nvPr/>
        </p:nvSpPr>
        <p:spPr bwMode="gray">
          <a:xfrm>
            <a:off x="2971799" y="5236378"/>
            <a:ext cx="5827373" cy="705404"/>
          </a:xfrm>
          <a:prstGeom prst="roundRect">
            <a:avLst>
              <a:gd name="adj" fmla="val 16667"/>
            </a:avLst>
          </a:prstGeom>
          <a:blipFill dpi="0" rotWithShape="1">
            <a:blip r:embed="rId7"/>
            <a:srcRect/>
            <a:stretch>
              <a:fillRect/>
            </a:stretch>
          </a:blipFill>
          <a:ln>
            <a:noFill/>
          </a:ln>
          <a:extLst/>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defRPr/>
            </a:pPr>
            <a:r>
              <a:rPr lang="en-US" sz="1800" dirty="0" smtClean="0">
                <a:solidFill>
                  <a:schemeClr val="bg1"/>
                </a:solidFill>
                <a:latin typeface="Arial" charset="0"/>
                <a:cs typeface="Arial" charset="0"/>
              </a:rPr>
              <a:t>WRAP-UP AND Q&amp;A</a:t>
            </a:r>
            <a:endParaRPr lang="en-US" sz="1800" dirty="0">
              <a:solidFill>
                <a:schemeClr val="bg1"/>
              </a:solidFill>
              <a:latin typeface="Arial" charset="0"/>
              <a:cs typeface="Arial" charset="0"/>
            </a:endParaRPr>
          </a:p>
        </p:txBody>
      </p:sp>
      <p:sp>
        <p:nvSpPr>
          <p:cNvPr id="12" name="Freeform 8"/>
          <p:cNvSpPr>
            <a:spLocks noChangeAspect="1"/>
          </p:cNvSpPr>
          <p:nvPr/>
        </p:nvSpPr>
        <p:spPr bwMode="auto">
          <a:xfrm>
            <a:off x="1901819" y="3397799"/>
            <a:ext cx="996049" cy="847719"/>
          </a:xfrm>
          <a:custGeom>
            <a:avLst/>
            <a:gdLst>
              <a:gd name="T0" fmla="*/ 2147483647 w 529"/>
              <a:gd name="T1" fmla="*/ 2147483647 h 450"/>
              <a:gd name="T2" fmla="*/ 2147483647 w 529"/>
              <a:gd name="T3" fmla="*/ 2147483647 h 450"/>
              <a:gd name="T4" fmla="*/ 2147483647 w 529"/>
              <a:gd name="T5" fmla="*/ 2147483647 h 450"/>
              <a:gd name="T6" fmla="*/ 2147483647 w 529"/>
              <a:gd name="T7" fmla="*/ 2147483647 h 450"/>
              <a:gd name="T8" fmla="*/ 2147483647 w 529"/>
              <a:gd name="T9" fmla="*/ 2147483647 h 450"/>
              <a:gd name="T10" fmla="*/ 2147483647 w 529"/>
              <a:gd name="T11" fmla="*/ 2147483647 h 450"/>
              <a:gd name="T12" fmla="*/ 2147483647 w 529"/>
              <a:gd name="T13" fmla="*/ 2147483647 h 450"/>
              <a:gd name="T14" fmla="*/ 0 w 529"/>
              <a:gd name="T15" fmla="*/ 2147483647 h 450"/>
              <a:gd name="T16" fmla="*/ 0 w 529"/>
              <a:gd name="T17" fmla="*/ 2147483647 h 450"/>
              <a:gd name="T18" fmla="*/ 2147483647 w 529"/>
              <a:gd name="T19" fmla="*/ 2147483647 h 450"/>
              <a:gd name="T20" fmla="*/ 2147483647 w 529"/>
              <a:gd name="T21" fmla="*/ 2147483647 h 450"/>
              <a:gd name="T22" fmla="*/ 2147483647 w 529"/>
              <a:gd name="T23" fmla="*/ 2147483647 h 450"/>
              <a:gd name="T24" fmla="*/ 2147483647 w 529"/>
              <a:gd name="T25" fmla="*/ 2147483647 h 450"/>
              <a:gd name="T26" fmla="*/ 2147483647 w 529"/>
              <a:gd name="T27" fmla="*/ 2147483647 h 4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9"/>
              <a:gd name="T43" fmla="*/ 0 h 450"/>
              <a:gd name="T44" fmla="*/ 529 w 529"/>
              <a:gd name="T45" fmla="*/ 450 h 4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9" h="450">
                <a:moveTo>
                  <a:pt x="524" y="241"/>
                </a:moveTo>
                <a:cubicBezTo>
                  <a:pt x="528" y="232"/>
                  <a:pt x="529" y="231"/>
                  <a:pt x="529" y="225"/>
                </a:cubicBezTo>
                <a:cubicBezTo>
                  <a:pt x="529" y="218"/>
                  <a:pt x="529" y="217"/>
                  <a:pt x="524" y="208"/>
                </a:cubicBezTo>
                <a:cubicBezTo>
                  <a:pt x="519" y="198"/>
                  <a:pt x="425" y="27"/>
                  <a:pt x="418" y="14"/>
                </a:cubicBezTo>
                <a:cubicBezTo>
                  <a:pt x="410" y="0"/>
                  <a:pt x="391" y="3"/>
                  <a:pt x="390" y="23"/>
                </a:cubicBezTo>
                <a:cubicBezTo>
                  <a:pt x="390" y="27"/>
                  <a:pt x="390" y="33"/>
                  <a:pt x="390" y="40"/>
                </a:cubicBezTo>
                <a:cubicBezTo>
                  <a:pt x="14" y="40"/>
                  <a:pt x="14" y="40"/>
                  <a:pt x="14" y="40"/>
                </a:cubicBezTo>
                <a:cubicBezTo>
                  <a:pt x="6" y="40"/>
                  <a:pt x="0" y="46"/>
                  <a:pt x="0" y="54"/>
                </a:cubicBezTo>
                <a:cubicBezTo>
                  <a:pt x="0" y="396"/>
                  <a:pt x="0" y="396"/>
                  <a:pt x="0" y="396"/>
                </a:cubicBezTo>
                <a:cubicBezTo>
                  <a:pt x="0" y="403"/>
                  <a:pt x="6" y="409"/>
                  <a:pt x="14" y="409"/>
                </a:cubicBezTo>
                <a:cubicBezTo>
                  <a:pt x="390" y="409"/>
                  <a:pt x="390" y="409"/>
                  <a:pt x="390" y="409"/>
                </a:cubicBezTo>
                <a:cubicBezTo>
                  <a:pt x="390" y="416"/>
                  <a:pt x="390" y="422"/>
                  <a:pt x="390" y="426"/>
                </a:cubicBezTo>
                <a:cubicBezTo>
                  <a:pt x="391" y="446"/>
                  <a:pt x="409" y="450"/>
                  <a:pt x="417" y="437"/>
                </a:cubicBezTo>
                <a:cubicBezTo>
                  <a:pt x="429" y="415"/>
                  <a:pt x="521" y="248"/>
                  <a:pt x="524" y="241"/>
                </a:cubicBezTo>
                <a:close/>
              </a:path>
            </a:pathLst>
          </a:custGeom>
          <a:blipFill dpi="0" rotWithShape="1">
            <a:blip r:embed="rId5"/>
            <a:srcRect/>
            <a:stretch>
              <a:fillRect/>
            </a:stretch>
          </a:blipFill>
          <a:ln>
            <a:noFill/>
          </a:ln>
          <a:extLst>
            <a:ext uri="{91240B29-F687-4F45-9708-019B960494DF}">
              <a14:hiddenLine xmlns:a14="http://schemas.microsoft.com/office/drawing/2010/main" w="9525" algn="ctr">
                <a:solidFill>
                  <a:srgbClr val="000000"/>
                </a:solidFill>
                <a:round/>
                <a:headEnd/>
                <a:tailEnd/>
              </a14:hiddenLine>
            </a:ext>
          </a:extLst>
        </p:spPr>
        <p:txBody>
          <a:bodyPr lIns="72009" tIns="72009" rIns="72009" bIns="72009" anchor="ctr"/>
          <a:lstStyle/>
          <a:p>
            <a:pPr marL="228600" indent="-228600" algn="l" eaLnBrk="0" hangingPunct="0">
              <a:lnSpc>
                <a:spcPct val="90000"/>
              </a:lnSpc>
              <a:spcAft>
                <a:spcPct val="70000"/>
              </a:spcAft>
              <a:buClr>
                <a:schemeClr val="hlink"/>
              </a:buClr>
              <a:buFont typeface="Ericsson Capital TT" pitchFamily="2" charset="0"/>
              <a:buNone/>
              <a:tabLst>
                <a:tab pos="1701800" algn="l"/>
              </a:tabLst>
            </a:pPr>
            <a:endParaRPr lang="en-US" sz="1800" dirty="0">
              <a:solidFill>
                <a:schemeClr val="bg1"/>
              </a:solidFill>
            </a:endParaRPr>
          </a:p>
        </p:txBody>
      </p:sp>
    </p:spTree>
    <p:extLst>
      <p:ext uri="{BB962C8B-B14F-4D97-AF65-F5344CB8AC3E}">
        <p14:creationId xmlns:p14="http://schemas.microsoft.com/office/powerpoint/2010/main" val="329593930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295276" y="239713"/>
            <a:ext cx="8012906" cy="1085850"/>
          </a:xfrm>
        </p:spPr>
        <p:txBody>
          <a:bodyPr/>
          <a:lstStyle/>
          <a:p>
            <a:r>
              <a:rPr lang="en-CA" dirty="0" smtClean="0">
                <a:solidFill>
                  <a:srgbClr val="7B0663"/>
                </a:solidFill>
              </a:rPr>
              <a:t>Ericsson</a:t>
            </a:r>
            <a:r>
              <a:rPr lang="en-CA" dirty="0">
                <a:solidFill>
                  <a:srgbClr val="7B0663"/>
                </a:solidFill>
              </a:rPr>
              <a:t> </a:t>
            </a:r>
            <a:r>
              <a:rPr lang="en-CA" dirty="0" smtClean="0">
                <a:solidFill>
                  <a:srgbClr val="7B0663"/>
                </a:solidFill>
              </a:rPr>
              <a:t>Order Care</a:t>
            </a:r>
            <a:br>
              <a:rPr lang="en-CA" dirty="0" smtClean="0">
                <a:solidFill>
                  <a:srgbClr val="7B0663"/>
                </a:solidFill>
              </a:rPr>
            </a:br>
            <a:r>
              <a:rPr lang="en-CA" dirty="0" smtClean="0">
                <a:solidFill>
                  <a:srgbClr val="7B0663"/>
                </a:solidFill>
              </a:rPr>
              <a:t>Portfolio</a:t>
            </a:r>
            <a:endParaRPr lang="en-US" dirty="0" smtClean="0">
              <a:latin typeface="Ericsson Capital TT" pitchFamily="2" charset="0"/>
              <a:ea typeface="ＭＳ Ｐゴシック" pitchFamily="34" charset="-128"/>
            </a:endParaRPr>
          </a:p>
        </p:txBody>
      </p:sp>
      <p:sp>
        <p:nvSpPr>
          <p:cNvPr id="31" name="Content Placeholder 3"/>
          <p:cNvSpPr txBox="1">
            <a:spLocks/>
          </p:cNvSpPr>
          <p:nvPr/>
        </p:nvSpPr>
        <p:spPr>
          <a:xfrm>
            <a:off x="5073650" y="1627824"/>
            <a:ext cx="3663157" cy="4284662"/>
          </a:xfrm>
          <a:prstGeom prst="rect">
            <a:avLst/>
          </a:prstGeom>
        </p:spPr>
        <p:txBody>
          <a:bodyPr/>
          <a:lstStyle>
            <a:lvl1pPr marL="176213" indent="-176213" algn="l" rtl="0" eaLnBrk="0" fontAlgn="base" hangingPunct="0">
              <a:spcBef>
                <a:spcPct val="20000"/>
              </a:spcBef>
              <a:spcAft>
                <a:spcPct val="0"/>
              </a:spcAft>
              <a:buClr>
                <a:srgbClr val="00A9D4"/>
              </a:buClr>
              <a:buFont typeface="Arial" pitchFamily="34" charset="0"/>
              <a:buChar char="›"/>
              <a:defRPr sz="2400">
                <a:solidFill>
                  <a:schemeClr val="tx1"/>
                </a:solidFill>
                <a:latin typeface="+mn-lt"/>
                <a:ea typeface="+mn-ea"/>
                <a:cs typeface="+mn-cs"/>
              </a:defRPr>
            </a:lvl1pPr>
            <a:lvl2pPr marL="533400" indent="-177800"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0" fontAlgn="base" hangingPunct="0">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dirty="0" smtClean="0"/>
              <a:t>Supported Solutions</a:t>
            </a:r>
          </a:p>
          <a:p>
            <a:pPr lvl="1"/>
            <a:r>
              <a:rPr lang="en-US" dirty="0" smtClean="0"/>
              <a:t>Ericsson Service Innovation Framework</a:t>
            </a:r>
          </a:p>
          <a:p>
            <a:pPr lvl="1"/>
            <a:r>
              <a:rPr lang="en-US" dirty="0" smtClean="0"/>
              <a:t>Ericsson Mobile Order Management</a:t>
            </a:r>
            <a:endParaRPr lang="it-IT" dirty="0"/>
          </a:p>
          <a:p>
            <a:pPr lvl="1"/>
            <a:endParaRPr lang="en-US" dirty="0" smtClean="0"/>
          </a:p>
          <a:p>
            <a:pPr lvl="1"/>
            <a:endParaRPr lang="en-US" dirty="0"/>
          </a:p>
        </p:txBody>
      </p:sp>
      <p:sp>
        <p:nvSpPr>
          <p:cNvPr id="32" name="Content Placeholder 2"/>
          <p:cNvSpPr txBox="1">
            <a:spLocks/>
          </p:cNvSpPr>
          <p:nvPr/>
        </p:nvSpPr>
        <p:spPr>
          <a:xfrm>
            <a:off x="393700" y="1627823"/>
            <a:ext cx="4098925" cy="4284662"/>
          </a:xfrm>
          <a:prstGeom prst="rect">
            <a:avLst/>
          </a:prstGeom>
        </p:spPr>
        <p:txBody>
          <a:bodyPr/>
          <a:lstStyle>
            <a:lvl1pPr marL="176213" indent="-176213" algn="l" rtl="0" eaLnBrk="0" fontAlgn="base" hangingPunct="0">
              <a:spcBef>
                <a:spcPct val="20000"/>
              </a:spcBef>
              <a:spcAft>
                <a:spcPct val="0"/>
              </a:spcAft>
              <a:buClr>
                <a:srgbClr val="00A9D4"/>
              </a:buClr>
              <a:buFont typeface="Arial" pitchFamily="34" charset="0"/>
              <a:buChar char="›"/>
              <a:defRPr sz="2400">
                <a:solidFill>
                  <a:schemeClr val="tx1"/>
                </a:solidFill>
                <a:latin typeface="+mn-lt"/>
                <a:ea typeface="+mn-ea"/>
                <a:cs typeface="+mn-cs"/>
              </a:defRPr>
            </a:lvl1pPr>
            <a:lvl2pPr marL="533400" indent="-177800"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0" fontAlgn="base" hangingPunct="0">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dirty="0" smtClean="0"/>
              <a:t>Product Components</a:t>
            </a:r>
            <a:endParaRPr lang="en-US" dirty="0"/>
          </a:p>
        </p:txBody>
      </p:sp>
      <p:pic>
        <p:nvPicPr>
          <p:cNvPr id="64" name="Picture 63"/>
          <p:cNvPicPr>
            <a:picLocks noChangeAspect="1"/>
          </p:cNvPicPr>
          <p:nvPr/>
        </p:nvPicPr>
        <p:blipFill>
          <a:blip r:embed="rId3"/>
          <a:stretch>
            <a:fillRect/>
          </a:stretch>
        </p:blipFill>
        <p:spPr>
          <a:xfrm>
            <a:off x="-6786337" y="1068520"/>
            <a:ext cx="903873" cy="562072"/>
          </a:xfrm>
          <a:prstGeom prst="rect">
            <a:avLst/>
          </a:prstGeom>
        </p:spPr>
      </p:pic>
      <p:pic>
        <p:nvPicPr>
          <p:cNvPr id="67" name="Picture 66"/>
          <p:cNvPicPr>
            <a:picLocks noChangeAspect="1"/>
          </p:cNvPicPr>
          <p:nvPr/>
        </p:nvPicPr>
        <p:blipFill>
          <a:blip r:embed="rId4"/>
          <a:stretch>
            <a:fillRect/>
          </a:stretch>
        </p:blipFill>
        <p:spPr>
          <a:xfrm>
            <a:off x="-6525986" y="3197016"/>
            <a:ext cx="592454" cy="554476"/>
          </a:xfrm>
          <a:prstGeom prst="rect">
            <a:avLst/>
          </a:prstGeom>
        </p:spPr>
      </p:pic>
      <p:sp>
        <p:nvSpPr>
          <p:cNvPr id="71" name="TextBox 70"/>
          <p:cNvSpPr txBox="1"/>
          <p:nvPr/>
        </p:nvSpPr>
        <p:spPr>
          <a:xfrm>
            <a:off x="-6983187" y="1916571"/>
            <a:ext cx="1139335" cy="523220"/>
          </a:xfrm>
          <a:prstGeom prst="rect">
            <a:avLst/>
          </a:prstGeom>
          <a:noFill/>
        </p:spPr>
        <p:txBody>
          <a:bodyPr wrap="square" rtlCol="0">
            <a:spAutoFit/>
          </a:bodyPr>
          <a:lstStyle/>
          <a:p>
            <a:pPr algn="ctr"/>
            <a:r>
              <a:rPr lang="en-US" sz="1400" dirty="0" smtClean="0">
                <a:latin typeface="Ericsson Sans Regular"/>
                <a:cs typeface="Ericsson Sans Regular"/>
              </a:rPr>
              <a:t>Product</a:t>
            </a:r>
            <a:br>
              <a:rPr lang="en-US" sz="1400" dirty="0" smtClean="0">
                <a:latin typeface="Ericsson Sans Regular"/>
                <a:cs typeface="Ericsson Sans Regular"/>
              </a:rPr>
            </a:br>
            <a:r>
              <a:rPr lang="en-US" sz="1400" dirty="0" smtClean="0">
                <a:latin typeface="Ericsson Sans Regular"/>
                <a:cs typeface="Ericsson Sans Regular"/>
              </a:rPr>
              <a:t>Catalog</a:t>
            </a:r>
            <a:endParaRPr lang="en-US" sz="1400" dirty="0">
              <a:latin typeface="Ericsson Sans Regular"/>
              <a:cs typeface="Ericsson Sans Regular"/>
            </a:endParaRPr>
          </a:p>
        </p:txBody>
      </p:sp>
      <p:sp>
        <p:nvSpPr>
          <p:cNvPr id="74" name="TextBox 73"/>
          <p:cNvSpPr txBox="1"/>
          <p:nvPr/>
        </p:nvSpPr>
        <p:spPr>
          <a:xfrm>
            <a:off x="-6983186" y="4115633"/>
            <a:ext cx="1139336" cy="738664"/>
          </a:xfrm>
          <a:prstGeom prst="rect">
            <a:avLst/>
          </a:prstGeom>
          <a:noFill/>
        </p:spPr>
        <p:txBody>
          <a:bodyPr wrap="square" rtlCol="0">
            <a:spAutoFit/>
          </a:bodyPr>
          <a:lstStyle/>
          <a:p>
            <a:pPr algn="ctr"/>
            <a:r>
              <a:rPr lang="en-US" sz="1400" dirty="0" smtClean="0">
                <a:latin typeface="Ericsson Sans Regular"/>
                <a:cs typeface="Ericsson Sans Regular"/>
              </a:rPr>
              <a:t>Product</a:t>
            </a:r>
          </a:p>
          <a:p>
            <a:pPr algn="ctr"/>
            <a:r>
              <a:rPr lang="en-US" sz="1400" dirty="0" smtClean="0">
                <a:latin typeface="Ericsson Sans Regular"/>
                <a:cs typeface="Ericsson Sans Regular"/>
              </a:rPr>
              <a:t>Lifecycle</a:t>
            </a:r>
          </a:p>
          <a:p>
            <a:pPr algn="ctr"/>
            <a:r>
              <a:rPr lang="en-US" sz="1400" dirty="0" smtClean="0">
                <a:latin typeface="Ericsson Sans Regular"/>
                <a:cs typeface="Ericsson Sans Regular"/>
              </a:rPr>
              <a:t>Designer</a:t>
            </a:r>
            <a:endParaRPr lang="en-US" sz="1400" dirty="0">
              <a:latin typeface="Ericsson Sans Regular"/>
              <a:cs typeface="Ericsson Sans Regular"/>
            </a:endParaRPr>
          </a:p>
        </p:txBody>
      </p:sp>
      <p:sp>
        <p:nvSpPr>
          <p:cNvPr id="96" name="TextBox 1"/>
          <p:cNvSpPr txBox="1">
            <a:spLocks noChangeArrowheads="1"/>
          </p:cNvSpPr>
          <p:nvPr/>
        </p:nvSpPr>
        <p:spPr bwMode="auto">
          <a:xfrm>
            <a:off x="5364446" y="6135500"/>
            <a:ext cx="360810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marL="114300" indent="-114300" algn="l" eaLnBrk="1" hangingPunct="1"/>
            <a:r>
              <a:rPr lang="en-US" sz="1200" dirty="0">
                <a:cs typeface="Arial" charset="0"/>
              </a:rPr>
              <a:t>* Roadmap item; not available for tendering</a:t>
            </a:r>
          </a:p>
        </p:txBody>
      </p:sp>
      <p:pic>
        <p:nvPicPr>
          <p:cNvPr id="3993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1000" y="2146577"/>
            <a:ext cx="4829175" cy="4371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9015391"/>
      </p:ext>
    </p:extLst>
  </p:cSld>
  <p:clrMapOvr>
    <a:masterClrMapping/>
  </p:clrMapOvr>
  <p:transition spd="slow"/>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2"/>
          <p:cNvSpPr>
            <a:spLocks noGrp="1"/>
          </p:cNvSpPr>
          <p:nvPr>
            <p:ph type="title"/>
          </p:nvPr>
        </p:nvSpPr>
        <p:spPr>
          <a:xfrm>
            <a:off x="393700" y="239713"/>
            <a:ext cx="7494588" cy="1085850"/>
          </a:xfrm>
        </p:spPr>
        <p:txBody>
          <a:bodyPr/>
          <a:lstStyle/>
          <a:p>
            <a:pPr>
              <a:defRPr/>
            </a:pPr>
            <a:r>
              <a:rPr lang="en-US" kern="1200" dirty="0" smtClean="0">
                <a:solidFill>
                  <a:srgbClr val="7B0663"/>
                </a:solidFill>
                <a:latin typeface="Ericsson Capital TT" pitchFamily="2" charset="0"/>
                <a:ea typeface="+mn-ea"/>
                <a:cs typeface="Arial" charset="0"/>
              </a:rPr>
              <a:t>Ericsson Order Care</a:t>
            </a:r>
            <a:endParaRPr lang="en-US" sz="2800" dirty="0">
              <a:latin typeface="Ericsson Capital TT" pitchFamily="2" charset="0"/>
              <a:ea typeface="ＭＳ Ｐゴシック" pitchFamily="34" charset="-128"/>
            </a:endParaRPr>
          </a:p>
        </p:txBody>
      </p:sp>
      <p:grpSp>
        <p:nvGrpSpPr>
          <p:cNvPr id="2" name="Group 1"/>
          <p:cNvGrpSpPr/>
          <p:nvPr/>
        </p:nvGrpSpPr>
        <p:grpSpPr>
          <a:xfrm>
            <a:off x="414338" y="1228725"/>
            <a:ext cx="8238435" cy="5324475"/>
            <a:chOff x="403088" y="1358900"/>
            <a:chExt cx="7589975" cy="4905375"/>
          </a:xfrm>
        </p:grpSpPr>
        <p:sp>
          <p:nvSpPr>
            <p:cNvPr id="20" name="Freeform 14"/>
            <p:cNvSpPr>
              <a:spLocks noChangeAspect="1"/>
            </p:cNvSpPr>
            <p:nvPr/>
          </p:nvSpPr>
          <p:spPr bwMode="auto">
            <a:xfrm>
              <a:off x="3683000" y="1358900"/>
              <a:ext cx="1801813" cy="1585913"/>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00A9D4"/>
            </a:solidFill>
            <a:ln>
              <a:noFill/>
            </a:ln>
            <a:extLst/>
          </p:spPr>
          <p:txBody>
            <a:bodyPr anchor="ctr"/>
            <a:lstStyle/>
            <a:p>
              <a:pPr fontAlgn="auto">
                <a:lnSpc>
                  <a:spcPct val="85000"/>
                </a:lnSpc>
                <a:spcBef>
                  <a:spcPts val="0"/>
                </a:spcBef>
                <a:spcAft>
                  <a:spcPts val="0"/>
                </a:spcAft>
                <a:defRPr/>
              </a:pPr>
              <a:r>
                <a:rPr lang="en-US" sz="1600" kern="0" dirty="0">
                  <a:solidFill>
                    <a:srgbClr val="FFFFFF"/>
                  </a:solidFill>
                  <a:latin typeface="Arial" charset="0"/>
                  <a:cs typeface="Arial" charset="0"/>
                </a:rPr>
                <a:t>I</a:t>
              </a:r>
              <a:r>
                <a:rPr lang="en-US" sz="1600" kern="0" dirty="0" smtClean="0">
                  <a:solidFill>
                    <a:srgbClr val="FFFFFF"/>
                  </a:solidFill>
                  <a:latin typeface="Arial" charset="0"/>
                  <a:cs typeface="Arial" charset="0"/>
                </a:rPr>
                <a:t>ntegration</a:t>
              </a:r>
            </a:p>
            <a:p>
              <a:pPr fontAlgn="auto">
                <a:lnSpc>
                  <a:spcPct val="85000"/>
                </a:lnSpc>
                <a:spcBef>
                  <a:spcPts val="0"/>
                </a:spcBef>
                <a:spcAft>
                  <a:spcPts val="0"/>
                </a:spcAft>
                <a:defRPr/>
              </a:pPr>
              <a:r>
                <a:rPr lang="en-US" sz="1600" kern="0" dirty="0" smtClean="0">
                  <a:solidFill>
                    <a:srgbClr val="FFFFFF"/>
                  </a:solidFill>
                  <a:latin typeface="Arial" charset="0"/>
                  <a:cs typeface="Arial" charset="0"/>
                </a:rPr>
                <a:t>with Ericsson</a:t>
              </a:r>
            </a:p>
            <a:p>
              <a:pPr fontAlgn="auto">
                <a:lnSpc>
                  <a:spcPct val="85000"/>
                </a:lnSpc>
                <a:spcBef>
                  <a:spcPts val="0"/>
                </a:spcBef>
                <a:spcAft>
                  <a:spcPts val="0"/>
                </a:spcAft>
                <a:defRPr/>
              </a:pPr>
              <a:r>
                <a:rPr lang="en-US" sz="1600" kern="0" dirty="0" smtClean="0">
                  <a:solidFill>
                    <a:srgbClr val="FFFFFF"/>
                  </a:solidFill>
                  <a:latin typeface="Arial" charset="0"/>
                  <a:cs typeface="Arial" charset="0"/>
                </a:rPr>
                <a:t>Lead-to-Service</a:t>
              </a:r>
            </a:p>
            <a:p>
              <a:pPr fontAlgn="auto">
                <a:lnSpc>
                  <a:spcPct val="85000"/>
                </a:lnSpc>
                <a:spcBef>
                  <a:spcPts val="0"/>
                </a:spcBef>
                <a:spcAft>
                  <a:spcPts val="0"/>
                </a:spcAft>
                <a:defRPr/>
              </a:pPr>
              <a:r>
                <a:rPr lang="en-US" sz="1600" kern="0" dirty="0" smtClean="0">
                  <a:solidFill>
                    <a:srgbClr val="FFFFFF"/>
                  </a:solidFill>
                  <a:latin typeface="Arial" charset="0"/>
                  <a:cs typeface="Arial" charset="0"/>
                </a:rPr>
                <a:t>Products</a:t>
              </a:r>
              <a:endParaRPr lang="en-US" sz="1600" kern="0" dirty="0">
                <a:solidFill>
                  <a:srgbClr val="FFFFFF"/>
                </a:solidFill>
                <a:latin typeface="Arial" charset="0"/>
                <a:cs typeface="Arial" charset="0"/>
              </a:endParaRPr>
            </a:p>
          </p:txBody>
        </p:sp>
        <p:sp>
          <p:nvSpPr>
            <p:cNvPr id="14" name="Freeform 14"/>
            <p:cNvSpPr>
              <a:spLocks noChangeAspect="1"/>
            </p:cNvSpPr>
            <p:nvPr/>
          </p:nvSpPr>
          <p:spPr bwMode="auto">
            <a:xfrm>
              <a:off x="5122863" y="2192338"/>
              <a:ext cx="1801812" cy="1585912"/>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00A9D4"/>
            </a:solidFill>
            <a:ln>
              <a:noFill/>
            </a:ln>
            <a:extLst/>
          </p:spPr>
          <p:txBody>
            <a:bodyPr anchor="ctr"/>
            <a:lstStyle/>
            <a:p>
              <a:pPr fontAlgn="auto">
                <a:lnSpc>
                  <a:spcPct val="85000"/>
                </a:lnSpc>
                <a:spcBef>
                  <a:spcPts val="0"/>
                </a:spcBef>
                <a:spcAft>
                  <a:spcPts val="0"/>
                </a:spcAft>
                <a:defRPr/>
              </a:pPr>
              <a:r>
                <a:rPr lang="en-US" sz="1600" kern="0" dirty="0" smtClean="0">
                  <a:solidFill>
                    <a:srgbClr val="FFFFFF"/>
                  </a:solidFill>
                  <a:latin typeface="Arial" charset="0"/>
                  <a:cs typeface="Arial" charset="0"/>
                </a:rPr>
                <a:t>Compliance</a:t>
              </a:r>
              <a:br>
                <a:rPr lang="en-US" sz="1600" kern="0" dirty="0" smtClean="0">
                  <a:solidFill>
                    <a:srgbClr val="FFFFFF"/>
                  </a:solidFill>
                  <a:latin typeface="Arial" charset="0"/>
                  <a:cs typeface="Arial" charset="0"/>
                </a:rPr>
              </a:br>
              <a:r>
                <a:rPr lang="en-US" sz="1600" kern="0" dirty="0" smtClean="0">
                  <a:solidFill>
                    <a:srgbClr val="FFFFFF"/>
                  </a:solidFill>
                  <a:latin typeface="Arial" charset="0"/>
                  <a:cs typeface="Arial" charset="0"/>
                </a:rPr>
                <a:t>to TM Forum Processes</a:t>
              </a:r>
              <a:br>
                <a:rPr lang="en-US" sz="1600" kern="0" dirty="0" smtClean="0">
                  <a:solidFill>
                    <a:srgbClr val="FFFFFF"/>
                  </a:solidFill>
                  <a:latin typeface="Arial" charset="0"/>
                  <a:cs typeface="Arial" charset="0"/>
                </a:rPr>
              </a:br>
              <a:r>
                <a:rPr lang="en-US" sz="1600" kern="0" dirty="0" smtClean="0">
                  <a:solidFill>
                    <a:srgbClr val="FFFFFF"/>
                  </a:solidFill>
                  <a:latin typeface="Arial" charset="0"/>
                  <a:cs typeface="Arial" charset="0"/>
                </a:rPr>
                <a:t>and APIs</a:t>
              </a:r>
              <a:endParaRPr lang="en-US" sz="1600" kern="0" dirty="0">
                <a:solidFill>
                  <a:srgbClr val="FFFFFF"/>
                </a:solidFill>
                <a:latin typeface="Arial" charset="0"/>
                <a:cs typeface="Arial" charset="0"/>
              </a:endParaRPr>
            </a:p>
          </p:txBody>
        </p:sp>
        <p:sp>
          <p:nvSpPr>
            <p:cNvPr id="15" name="Freeform 14"/>
            <p:cNvSpPr>
              <a:spLocks noChangeAspect="1"/>
            </p:cNvSpPr>
            <p:nvPr/>
          </p:nvSpPr>
          <p:spPr bwMode="auto">
            <a:xfrm>
              <a:off x="2239963" y="2192338"/>
              <a:ext cx="1803400" cy="1584325"/>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89BA17"/>
            </a:solidFill>
            <a:ln>
              <a:noFill/>
            </a:ln>
            <a:extLst/>
          </p:spPr>
          <p:txBody>
            <a:bodyPr anchor="ctr"/>
            <a:lstStyle/>
            <a:p>
              <a:pPr fontAlgn="auto">
                <a:lnSpc>
                  <a:spcPct val="85000"/>
                </a:lnSpc>
                <a:spcBef>
                  <a:spcPts val="0"/>
                </a:spcBef>
                <a:spcAft>
                  <a:spcPts val="0"/>
                </a:spcAft>
                <a:defRPr/>
              </a:pPr>
              <a:r>
                <a:rPr lang="en-US" sz="1600" dirty="0">
                  <a:solidFill>
                    <a:schemeClr val="bg1"/>
                  </a:solidFill>
                  <a:latin typeface="Arial" charset="0"/>
                </a:rPr>
                <a:t> </a:t>
              </a:r>
              <a:r>
                <a:rPr lang="en-US" sz="1600" dirty="0" smtClean="0">
                  <a:solidFill>
                    <a:schemeClr val="bg1"/>
                  </a:solidFill>
                  <a:latin typeface="Arial" charset="0"/>
                </a:rPr>
                <a:t>User Interface Evolution</a:t>
              </a:r>
              <a:endParaRPr lang="en-US" sz="1600" kern="0" dirty="0">
                <a:solidFill>
                  <a:srgbClr val="FFFFFF"/>
                </a:solidFill>
                <a:latin typeface="Arial" charset="0"/>
                <a:cs typeface="Arial" charset="0"/>
              </a:endParaRPr>
            </a:p>
          </p:txBody>
        </p:sp>
        <p:sp>
          <p:nvSpPr>
            <p:cNvPr id="16" name="Freeform 14"/>
            <p:cNvSpPr>
              <a:spLocks noChangeAspect="1"/>
            </p:cNvSpPr>
            <p:nvPr/>
          </p:nvSpPr>
          <p:spPr bwMode="auto">
            <a:xfrm>
              <a:off x="2239963" y="3860800"/>
              <a:ext cx="1803400" cy="1585913"/>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89BA17"/>
            </a:solidFill>
            <a:ln>
              <a:noFill/>
            </a:ln>
            <a:extLst/>
          </p:spPr>
          <p:txBody>
            <a:bodyPr anchor="ctr"/>
            <a:lstStyle/>
            <a:p>
              <a:pPr fontAlgn="auto">
                <a:lnSpc>
                  <a:spcPct val="85000"/>
                </a:lnSpc>
                <a:spcBef>
                  <a:spcPts val="0"/>
                </a:spcBef>
                <a:spcAft>
                  <a:spcPts val="0"/>
                </a:spcAft>
                <a:defRPr/>
              </a:pPr>
              <a:r>
                <a:rPr lang="en-US" sz="1600" dirty="0">
                  <a:solidFill>
                    <a:schemeClr val="bg1"/>
                  </a:solidFill>
                  <a:latin typeface="Arial" charset="0"/>
                </a:rPr>
                <a:t> </a:t>
              </a:r>
              <a:r>
                <a:rPr lang="en-US" sz="1600" dirty="0" smtClean="0">
                  <a:solidFill>
                    <a:schemeClr val="bg1"/>
                  </a:solidFill>
                  <a:latin typeface="Arial" charset="0"/>
                </a:rPr>
                <a:t>Out-of-</a:t>
              </a:r>
              <a:br>
                <a:rPr lang="en-US" sz="1600" dirty="0" smtClean="0">
                  <a:solidFill>
                    <a:schemeClr val="bg1"/>
                  </a:solidFill>
                  <a:latin typeface="Arial" charset="0"/>
                </a:rPr>
              </a:br>
              <a:r>
                <a:rPr lang="en-US" sz="1600" dirty="0" smtClean="0">
                  <a:solidFill>
                    <a:schemeClr val="bg1"/>
                  </a:solidFill>
                  <a:latin typeface="Arial" charset="0"/>
                </a:rPr>
                <a:t>the-Box User Dashboards and Operational Workflows</a:t>
              </a:r>
              <a:endParaRPr lang="en-US" sz="1600" kern="0" dirty="0">
                <a:solidFill>
                  <a:srgbClr val="FFFFFF"/>
                </a:solidFill>
                <a:latin typeface="Arial" charset="0"/>
                <a:cs typeface="Arial" charset="0"/>
              </a:endParaRPr>
            </a:p>
          </p:txBody>
        </p:sp>
        <p:sp>
          <p:nvSpPr>
            <p:cNvPr id="17" name="Freeform 16"/>
            <p:cNvSpPr>
              <a:spLocks noChangeAspect="1"/>
            </p:cNvSpPr>
            <p:nvPr/>
          </p:nvSpPr>
          <p:spPr bwMode="auto">
            <a:xfrm>
              <a:off x="3683000" y="4678363"/>
              <a:ext cx="1803400" cy="1585912"/>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8F3F7B"/>
            </a:solidFill>
            <a:ln>
              <a:noFill/>
            </a:ln>
            <a:extLst/>
          </p:spPr>
          <p:txBody>
            <a:bodyPr anchor="ctr"/>
            <a:lstStyle/>
            <a:p>
              <a:pPr fontAlgn="auto">
                <a:lnSpc>
                  <a:spcPct val="85000"/>
                </a:lnSpc>
                <a:spcBef>
                  <a:spcPts val="0"/>
                </a:spcBef>
                <a:spcAft>
                  <a:spcPts val="0"/>
                </a:spcAft>
                <a:defRPr/>
              </a:pPr>
              <a:r>
                <a:rPr lang="en-US" sz="1600" kern="0" dirty="0" smtClean="0">
                  <a:solidFill>
                    <a:srgbClr val="FFFFFF"/>
                  </a:solidFill>
                  <a:latin typeface="Arial" charset="0"/>
                  <a:cs typeface="Arial" charset="0"/>
                </a:rPr>
                <a:t>Scalable, Integrated, Modular Applications</a:t>
              </a:r>
              <a:endParaRPr lang="en-US" sz="1600" kern="0" dirty="0">
                <a:solidFill>
                  <a:srgbClr val="FFFFFF"/>
                </a:solidFill>
                <a:latin typeface="Arial" charset="0"/>
                <a:cs typeface="Arial" charset="0"/>
              </a:endParaRPr>
            </a:p>
          </p:txBody>
        </p:sp>
        <p:sp>
          <p:nvSpPr>
            <p:cNvPr id="18" name="Freeform 14"/>
            <p:cNvSpPr>
              <a:spLocks noChangeAspect="1"/>
            </p:cNvSpPr>
            <p:nvPr/>
          </p:nvSpPr>
          <p:spPr bwMode="auto">
            <a:xfrm>
              <a:off x="5121275" y="3860800"/>
              <a:ext cx="1803400" cy="1585913"/>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8F3F7B"/>
            </a:solidFill>
            <a:ln>
              <a:noFill/>
            </a:ln>
            <a:extLst/>
          </p:spPr>
          <p:txBody>
            <a:bodyPr anchor="ctr"/>
            <a:lstStyle/>
            <a:p>
              <a:pPr fontAlgn="auto">
                <a:lnSpc>
                  <a:spcPct val="85000"/>
                </a:lnSpc>
                <a:spcBef>
                  <a:spcPts val="0"/>
                </a:spcBef>
                <a:spcAft>
                  <a:spcPts val="0"/>
                </a:spcAft>
                <a:defRPr/>
              </a:pPr>
              <a:r>
                <a:rPr lang="en-US" sz="1600" kern="0" dirty="0" smtClean="0">
                  <a:solidFill>
                    <a:srgbClr val="FFFFFF"/>
                  </a:solidFill>
                  <a:latin typeface="Arial" charset="0"/>
                  <a:cs typeface="Arial" charset="0"/>
                </a:rPr>
                <a:t>Productized</a:t>
              </a:r>
            </a:p>
            <a:p>
              <a:pPr fontAlgn="auto">
                <a:lnSpc>
                  <a:spcPct val="85000"/>
                </a:lnSpc>
                <a:spcBef>
                  <a:spcPts val="0"/>
                </a:spcBef>
                <a:spcAft>
                  <a:spcPts val="0"/>
                </a:spcAft>
                <a:defRPr/>
              </a:pPr>
              <a:r>
                <a:rPr lang="en-US" sz="1600" kern="0" dirty="0" smtClean="0">
                  <a:solidFill>
                    <a:srgbClr val="FFFFFF"/>
                  </a:solidFill>
                  <a:latin typeface="Arial" charset="0"/>
                  <a:cs typeface="Arial" charset="0"/>
                </a:rPr>
                <a:t>Industry</a:t>
              </a:r>
              <a:br>
                <a:rPr lang="en-US" sz="1600" kern="0" dirty="0" smtClean="0">
                  <a:solidFill>
                    <a:srgbClr val="FFFFFF"/>
                  </a:solidFill>
                  <a:latin typeface="Arial" charset="0"/>
                  <a:cs typeface="Arial" charset="0"/>
                </a:rPr>
              </a:br>
              <a:r>
                <a:rPr lang="en-US" sz="1600" kern="0" dirty="0" smtClean="0">
                  <a:solidFill>
                    <a:srgbClr val="FFFFFF"/>
                  </a:solidFill>
                  <a:latin typeface="Arial" charset="0"/>
                  <a:cs typeface="Arial" charset="0"/>
                </a:rPr>
                <a:t>Best</a:t>
              </a:r>
              <a:r>
                <a:rPr lang="en-US" sz="1600" kern="0" dirty="0">
                  <a:solidFill>
                    <a:srgbClr val="FFFFFF"/>
                  </a:solidFill>
                  <a:latin typeface="Arial" charset="0"/>
                  <a:cs typeface="Arial" charset="0"/>
                </a:rPr>
                <a:t> </a:t>
              </a:r>
              <a:r>
                <a:rPr lang="en-US" sz="1600" kern="0" dirty="0" smtClean="0">
                  <a:solidFill>
                    <a:srgbClr val="FFFFFF"/>
                  </a:solidFill>
                  <a:latin typeface="Arial" charset="0"/>
                  <a:cs typeface="Arial" charset="0"/>
                </a:rPr>
                <a:t>Practices</a:t>
              </a:r>
              <a:br>
                <a:rPr lang="en-US" sz="1600" kern="0" dirty="0" smtClean="0">
                  <a:solidFill>
                    <a:srgbClr val="FFFFFF"/>
                  </a:solidFill>
                  <a:latin typeface="Arial" charset="0"/>
                  <a:cs typeface="Arial" charset="0"/>
                </a:rPr>
              </a:br>
              <a:r>
                <a:rPr lang="en-US" sz="1600" kern="0" dirty="0" smtClean="0">
                  <a:solidFill>
                    <a:srgbClr val="FFFFFF"/>
                  </a:solidFill>
                  <a:latin typeface="Arial" charset="0"/>
                  <a:cs typeface="Arial" charset="0"/>
                </a:rPr>
                <a:t>Metadata</a:t>
              </a:r>
              <a:br>
                <a:rPr lang="en-US" sz="1600" kern="0" dirty="0" smtClean="0">
                  <a:solidFill>
                    <a:srgbClr val="FFFFFF"/>
                  </a:solidFill>
                  <a:latin typeface="Arial" charset="0"/>
                  <a:cs typeface="Arial" charset="0"/>
                </a:rPr>
              </a:br>
              <a:r>
                <a:rPr lang="en-US" sz="1600" kern="0" dirty="0" smtClean="0">
                  <a:solidFill>
                    <a:srgbClr val="FFFFFF"/>
                  </a:solidFill>
                  <a:latin typeface="Arial" charset="0"/>
                  <a:cs typeface="Arial" charset="0"/>
                </a:rPr>
                <a:t>Implementations</a:t>
              </a:r>
            </a:p>
            <a:p>
              <a:pPr fontAlgn="auto">
                <a:lnSpc>
                  <a:spcPct val="85000"/>
                </a:lnSpc>
                <a:spcBef>
                  <a:spcPts val="0"/>
                </a:spcBef>
                <a:spcAft>
                  <a:spcPts val="0"/>
                </a:spcAft>
                <a:defRPr/>
              </a:pPr>
              <a:endParaRPr lang="en-US" sz="1600" kern="0" dirty="0">
                <a:solidFill>
                  <a:srgbClr val="FFFFFF"/>
                </a:solidFill>
                <a:latin typeface="Arial" charset="0"/>
                <a:cs typeface="Arial" charset="0"/>
              </a:endParaRPr>
            </a:p>
          </p:txBody>
        </p:sp>
        <p:sp>
          <p:nvSpPr>
            <p:cNvPr id="15368" name="Freeform 14"/>
            <p:cNvSpPr>
              <a:spLocks noChangeAspect="1"/>
            </p:cNvSpPr>
            <p:nvPr/>
          </p:nvSpPr>
          <p:spPr bwMode="auto">
            <a:xfrm>
              <a:off x="3681413" y="3022600"/>
              <a:ext cx="1803400" cy="1584325"/>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nSpc>
                  <a:spcPct val="95000"/>
                </a:lnSpc>
              </a:pPr>
              <a:r>
                <a:rPr lang="en-US" b="1" dirty="0">
                  <a:solidFill>
                    <a:srgbClr val="00285F"/>
                  </a:solidFill>
                </a:rPr>
                <a:t>ERICSSON </a:t>
              </a:r>
              <a:r>
                <a:rPr lang="en-US" b="1" dirty="0" smtClean="0">
                  <a:solidFill>
                    <a:srgbClr val="00285F"/>
                  </a:solidFill>
                </a:rPr>
                <a:t>ORDER CARE</a:t>
              </a:r>
              <a:endParaRPr lang="en-US" b="1" dirty="0">
                <a:solidFill>
                  <a:srgbClr val="00285F"/>
                </a:solidFill>
              </a:endParaRPr>
            </a:p>
          </p:txBody>
        </p:sp>
        <p:sp>
          <p:nvSpPr>
            <p:cNvPr id="15370" name="Rectangle 51"/>
            <p:cNvSpPr>
              <a:spLocks noChangeArrowheads="1"/>
            </p:cNvSpPr>
            <p:nvPr/>
          </p:nvSpPr>
          <p:spPr bwMode="auto">
            <a:xfrm>
              <a:off x="5503863" y="5619750"/>
              <a:ext cx="2468562"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p>
              <a:pPr>
                <a:lnSpc>
                  <a:spcPct val="90000"/>
                </a:lnSpc>
              </a:pPr>
              <a:r>
                <a:rPr lang="en-US" dirty="0" smtClean="0">
                  <a:solidFill>
                    <a:srgbClr val="7B0663"/>
                  </a:solidFill>
                  <a:ea typeface="MS PGothic" pitchFamily="34" charset="-128"/>
                </a:rPr>
                <a:t>PLATFORM</a:t>
              </a:r>
              <a:endParaRPr lang="en-US" dirty="0">
                <a:solidFill>
                  <a:srgbClr val="7B0663"/>
                </a:solidFill>
                <a:ea typeface="MS PGothic" pitchFamily="34" charset="-128"/>
              </a:endParaRPr>
            </a:p>
          </p:txBody>
        </p:sp>
        <p:sp>
          <p:nvSpPr>
            <p:cNvPr id="15371" name="Rectangle 51"/>
            <p:cNvSpPr>
              <a:spLocks noChangeArrowheads="1"/>
            </p:cNvSpPr>
            <p:nvPr/>
          </p:nvSpPr>
          <p:spPr bwMode="auto">
            <a:xfrm>
              <a:off x="403088" y="3551238"/>
              <a:ext cx="2471737" cy="619125"/>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89BA17"/>
                  </a:solidFill>
                  <a:prstDash val="solid"/>
                  <a:miter lim="800000"/>
                  <a:headEnd type="none" w="med" len="med"/>
                  <a:tailEnd type="none" w="med" len="med"/>
                </a14:hiddenLine>
              </a:ext>
            </a:extLst>
          </p:spPr>
          <p:txBody>
            <a:bodyPr lIns="36000" tIns="36000" rIns="36000" bIns="36000"/>
            <a:lstStyle/>
            <a:p>
              <a:pPr>
                <a:lnSpc>
                  <a:spcPct val="90000"/>
                </a:lnSpc>
              </a:pPr>
              <a:r>
                <a:rPr lang="en-US" dirty="0" smtClean="0">
                  <a:solidFill>
                    <a:srgbClr val="89BA17"/>
                  </a:solidFill>
                  <a:ea typeface="MS PGothic" pitchFamily="34" charset="-128"/>
                </a:rPr>
                <a:t>USER</a:t>
              </a:r>
              <a:br>
                <a:rPr lang="en-US" dirty="0" smtClean="0">
                  <a:solidFill>
                    <a:srgbClr val="89BA17"/>
                  </a:solidFill>
                  <a:ea typeface="MS PGothic" pitchFamily="34" charset="-128"/>
                </a:rPr>
              </a:br>
              <a:r>
                <a:rPr lang="en-US" dirty="0" smtClean="0">
                  <a:solidFill>
                    <a:srgbClr val="89BA17"/>
                  </a:solidFill>
                  <a:ea typeface="MS PGothic" pitchFamily="34" charset="-128"/>
                </a:rPr>
                <a:t>EXPERIENCE</a:t>
              </a:r>
              <a:endParaRPr lang="en-US" dirty="0">
                <a:solidFill>
                  <a:srgbClr val="89BA17"/>
                </a:solidFill>
                <a:ea typeface="MS PGothic" pitchFamily="34" charset="-128"/>
              </a:endParaRPr>
            </a:p>
          </p:txBody>
        </p:sp>
        <p:sp>
          <p:nvSpPr>
            <p:cNvPr id="15372" name="Rectangle 51"/>
            <p:cNvSpPr>
              <a:spLocks noChangeArrowheads="1"/>
            </p:cNvSpPr>
            <p:nvPr/>
          </p:nvSpPr>
          <p:spPr bwMode="auto">
            <a:xfrm>
              <a:off x="5484813" y="1493838"/>
              <a:ext cx="2508250" cy="619125"/>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9D4"/>
                  </a:solidFill>
                  <a:prstDash val="solid"/>
                  <a:miter lim="800000"/>
                  <a:headEnd type="none" w="med" len="med"/>
                  <a:tailEnd type="none" w="med" len="med"/>
                </a14:hiddenLine>
              </a:ext>
            </a:extLst>
          </p:spPr>
          <p:txBody>
            <a:bodyPr lIns="36000" tIns="36000" rIns="36000" bIns="36000"/>
            <a:lstStyle/>
            <a:p>
              <a:pPr>
                <a:lnSpc>
                  <a:spcPct val="90000"/>
                </a:lnSpc>
              </a:pPr>
              <a:r>
                <a:rPr lang="en-US" dirty="0" smtClean="0">
                  <a:solidFill>
                    <a:srgbClr val="00A9D4"/>
                  </a:solidFill>
                  <a:ea typeface="MS PGothic" pitchFamily="34" charset="-128"/>
                </a:rPr>
                <a:t>ARCHITECTURE</a:t>
              </a:r>
              <a:endParaRPr lang="en-US" dirty="0">
                <a:solidFill>
                  <a:srgbClr val="00A9D4"/>
                </a:solidFill>
                <a:ea typeface="MS PGothic" pitchFamily="34" charset="-128"/>
              </a:endParaRPr>
            </a:p>
          </p:txBody>
        </p:sp>
      </p:grpSp>
      <p:sp>
        <p:nvSpPr>
          <p:cNvPr id="4" name="Rectangle 3"/>
          <p:cNvSpPr/>
          <p:nvPr/>
        </p:nvSpPr>
        <p:spPr>
          <a:xfrm>
            <a:off x="331592" y="1228725"/>
            <a:ext cx="3317575" cy="461665"/>
          </a:xfrm>
          <a:prstGeom prst="rect">
            <a:avLst/>
          </a:prstGeom>
        </p:spPr>
        <p:txBody>
          <a:bodyPr wrap="none">
            <a:spAutoFit/>
          </a:bodyPr>
          <a:lstStyle/>
          <a:p>
            <a:r>
              <a:rPr lang="en-US" sz="2400" dirty="0"/>
              <a:t>Roadmap Focus Areas</a:t>
            </a:r>
          </a:p>
        </p:txBody>
      </p:sp>
    </p:spTree>
    <p:extLst>
      <p:ext uri="{BB962C8B-B14F-4D97-AF65-F5344CB8AC3E}">
        <p14:creationId xmlns:p14="http://schemas.microsoft.com/office/powerpoint/2010/main" val="33665962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394098" y="239713"/>
            <a:ext cx="7493794" cy="1085850"/>
          </a:xfrm>
        </p:spPr>
        <p:txBody>
          <a:bodyPr/>
          <a:lstStyle/>
          <a:p>
            <a:pPr eaLnBrk="1" hangingPunct="1"/>
            <a:r>
              <a:rPr lang="en-US" dirty="0" smtClean="0">
                <a:latin typeface="Ericsson Capital TT" pitchFamily="2" charset="0"/>
                <a:cs typeface="Geneva"/>
              </a:rPr>
              <a:t>Investment DRIVERS in</a:t>
            </a:r>
            <a:br>
              <a:rPr lang="en-US" dirty="0" smtClean="0">
                <a:latin typeface="Ericsson Capital TT" pitchFamily="2" charset="0"/>
                <a:cs typeface="Geneva"/>
              </a:rPr>
            </a:br>
            <a:r>
              <a:rPr lang="en-US" dirty="0" smtClean="0">
                <a:latin typeface="Ericsson Capital TT" pitchFamily="2" charset="0"/>
                <a:cs typeface="Geneva"/>
              </a:rPr>
              <a:t>Lead-to-Service</a:t>
            </a:r>
          </a:p>
        </p:txBody>
      </p:sp>
      <p:sp>
        <p:nvSpPr>
          <p:cNvPr id="6147" name="TextBox 3"/>
          <p:cNvSpPr txBox="1">
            <a:spLocks noChangeArrowheads="1"/>
          </p:cNvSpPr>
          <p:nvPr/>
        </p:nvSpPr>
        <p:spPr bwMode="auto">
          <a:xfrm>
            <a:off x="6531925" y="6263143"/>
            <a:ext cx="2454334"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100" dirty="0">
                <a:solidFill>
                  <a:srgbClr val="58585A"/>
                </a:solidFill>
                <a:cs typeface="Arial" pitchFamily="34" charset="0"/>
              </a:rPr>
              <a:t>Source: </a:t>
            </a:r>
            <a:r>
              <a:rPr lang="en-US" sz="1100" dirty="0" err="1">
                <a:solidFill>
                  <a:srgbClr val="58585A"/>
                </a:solidFill>
                <a:cs typeface="Arial" pitchFamily="34" charset="0"/>
              </a:rPr>
              <a:t>Analysys</a:t>
            </a:r>
            <a:r>
              <a:rPr lang="en-US" sz="1100" dirty="0">
                <a:solidFill>
                  <a:srgbClr val="58585A"/>
                </a:solidFill>
                <a:cs typeface="Arial" pitchFamily="34" charset="0"/>
              </a:rPr>
              <a:t> Mason 2014 Fulfillment Market Drivers</a:t>
            </a:r>
          </a:p>
        </p:txBody>
      </p:sp>
      <p:grpSp>
        <p:nvGrpSpPr>
          <p:cNvPr id="26" name="Group 36"/>
          <p:cNvGrpSpPr>
            <a:grpSpLocks/>
          </p:cNvGrpSpPr>
          <p:nvPr/>
        </p:nvGrpSpPr>
        <p:grpSpPr bwMode="auto">
          <a:xfrm>
            <a:off x="601663" y="1999101"/>
            <a:ext cx="6219059" cy="3992213"/>
            <a:chOff x="525464" y="2008168"/>
            <a:chExt cx="6931520" cy="4449782"/>
          </a:xfrm>
        </p:grpSpPr>
        <p:sp>
          <p:nvSpPr>
            <p:cNvPr id="34" name="Rounded Rectangle 33"/>
            <p:cNvSpPr/>
            <p:nvPr/>
          </p:nvSpPr>
          <p:spPr bwMode="auto">
            <a:xfrm>
              <a:off x="525464" y="2008168"/>
              <a:ext cx="6905874" cy="1372123"/>
            </a:xfrm>
            <a:prstGeom prst="roundRect">
              <a:avLst>
                <a:gd name="adj" fmla="val 8378"/>
              </a:avLst>
            </a:prstGeom>
            <a:solidFill>
              <a:srgbClr val="BADEEE"/>
            </a:solidFill>
            <a:ln w="9525" cap="flat" cmpd="sng" algn="ctr">
              <a:noFill/>
              <a:prstDash val="solid"/>
              <a:round/>
              <a:headEnd type="none" w="med" len="med"/>
              <a:tailEnd type="none" w="med" len="med"/>
            </a:ln>
            <a:effectLst/>
          </p:spPr>
          <p:txBody>
            <a:bodyPr anchor="ctr"/>
            <a:lstStyle/>
            <a:p>
              <a:pPr algn="ctr" defTabSz="915267">
                <a:spcBef>
                  <a:spcPct val="50000"/>
                </a:spcBef>
                <a:defRPr/>
              </a:pPr>
              <a:endParaRPr lang="en-US" sz="1800" b="1" kern="0" cap="all">
                <a:solidFill>
                  <a:srgbClr val="E32219"/>
                </a:solidFill>
                <a:latin typeface="Arial"/>
                <a:cs typeface="Times New Roman" pitchFamily="18" charset="0"/>
              </a:endParaRPr>
            </a:p>
          </p:txBody>
        </p:sp>
        <p:sp>
          <p:nvSpPr>
            <p:cNvPr id="35" name="Rounded Rectangle 34"/>
            <p:cNvSpPr/>
            <p:nvPr/>
          </p:nvSpPr>
          <p:spPr bwMode="auto">
            <a:xfrm>
              <a:off x="3497540" y="2008168"/>
              <a:ext cx="3959444" cy="1372123"/>
            </a:xfrm>
            <a:prstGeom prst="roundRect">
              <a:avLst>
                <a:gd name="adj" fmla="val 11141"/>
              </a:avLst>
            </a:prstGeom>
            <a:solidFill>
              <a:srgbClr val="5FBADD"/>
            </a:solidFill>
            <a:ln w="9525" cap="flat" cmpd="sng" algn="ctr">
              <a:noFill/>
              <a:prstDash val="solid"/>
              <a:round/>
              <a:headEnd type="none" w="med" len="med"/>
              <a:tailEnd type="none" w="med" len="med"/>
            </a:ln>
            <a:effectLst/>
          </p:spPr>
          <p:txBody>
            <a:bodyPr anchor="ctr"/>
            <a:lstStyle/>
            <a:p>
              <a:pPr algn="ctr" defTabSz="915267">
                <a:spcBef>
                  <a:spcPct val="50000"/>
                </a:spcBef>
                <a:defRPr/>
              </a:pPr>
              <a:endParaRPr lang="en-US" sz="1800" b="1" kern="0" cap="all">
                <a:solidFill>
                  <a:srgbClr val="E32219"/>
                </a:solidFill>
                <a:latin typeface="Arial"/>
                <a:cs typeface="Times New Roman" pitchFamily="18" charset="0"/>
              </a:endParaRPr>
            </a:p>
          </p:txBody>
        </p:sp>
        <p:sp>
          <p:nvSpPr>
            <p:cNvPr id="36" name="TextBox 23"/>
            <p:cNvSpPr txBox="1">
              <a:spLocks noChangeArrowheads="1"/>
            </p:cNvSpPr>
            <p:nvPr/>
          </p:nvSpPr>
          <p:spPr bwMode="auto">
            <a:xfrm>
              <a:off x="3676066" y="2344167"/>
              <a:ext cx="3514340" cy="700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lang="en-US">
                  <a:solidFill>
                    <a:srgbClr val="FFFFFF"/>
                  </a:solidFill>
                  <a:cs typeface="Arial" pitchFamily="34" charset="0"/>
                </a:rPr>
                <a:t>IMPROVING FINANCIAL EFFICIENCY</a:t>
              </a:r>
            </a:p>
          </p:txBody>
        </p:sp>
        <p:sp>
          <p:nvSpPr>
            <p:cNvPr id="37" name="Rounded Rectangle 36"/>
            <p:cNvSpPr/>
            <p:nvPr/>
          </p:nvSpPr>
          <p:spPr bwMode="auto">
            <a:xfrm>
              <a:off x="525464" y="3548422"/>
              <a:ext cx="6905874" cy="1372124"/>
            </a:xfrm>
            <a:prstGeom prst="roundRect">
              <a:avLst>
                <a:gd name="adj" fmla="val 10399"/>
              </a:avLst>
            </a:prstGeom>
            <a:solidFill>
              <a:srgbClr val="90B9B6"/>
            </a:solidFill>
            <a:ln w="9525" cap="flat" cmpd="sng" algn="ctr">
              <a:noFill/>
              <a:prstDash val="solid"/>
              <a:round/>
              <a:headEnd type="none" w="med" len="med"/>
              <a:tailEnd type="none" w="med" len="med"/>
            </a:ln>
            <a:effectLst/>
          </p:spPr>
          <p:txBody>
            <a:bodyPr anchor="ctr"/>
            <a:lstStyle/>
            <a:p>
              <a:pPr algn="ctr" defTabSz="915267">
                <a:spcBef>
                  <a:spcPct val="50000"/>
                </a:spcBef>
                <a:defRPr/>
              </a:pPr>
              <a:endParaRPr lang="en-US" sz="1800" b="1" kern="0" cap="all">
                <a:solidFill>
                  <a:srgbClr val="E32219"/>
                </a:solidFill>
                <a:latin typeface="Arial"/>
                <a:cs typeface="Times New Roman" pitchFamily="18" charset="0"/>
              </a:endParaRPr>
            </a:p>
          </p:txBody>
        </p:sp>
        <p:sp>
          <p:nvSpPr>
            <p:cNvPr id="40" name="Rounded Rectangle 39"/>
            <p:cNvSpPr/>
            <p:nvPr/>
          </p:nvSpPr>
          <p:spPr bwMode="auto">
            <a:xfrm>
              <a:off x="3497540" y="3548422"/>
              <a:ext cx="3959444" cy="1372124"/>
            </a:xfrm>
            <a:prstGeom prst="roundRect">
              <a:avLst>
                <a:gd name="adj" fmla="val 11141"/>
              </a:avLst>
            </a:prstGeom>
            <a:solidFill>
              <a:srgbClr val="007B78"/>
            </a:solidFill>
            <a:ln w="9525" cap="flat" cmpd="sng" algn="ctr">
              <a:noFill/>
              <a:prstDash val="solid"/>
              <a:round/>
              <a:headEnd type="none" w="med" len="med"/>
              <a:tailEnd type="none" w="med" len="med"/>
            </a:ln>
            <a:effectLst/>
          </p:spPr>
          <p:txBody>
            <a:bodyPr anchor="ctr"/>
            <a:lstStyle/>
            <a:p>
              <a:pPr algn="ctr" defTabSz="915267">
                <a:spcBef>
                  <a:spcPct val="50000"/>
                </a:spcBef>
                <a:defRPr/>
              </a:pPr>
              <a:endParaRPr lang="en-US" sz="1800" b="1" kern="0" cap="all">
                <a:solidFill>
                  <a:srgbClr val="F08A00"/>
                </a:solidFill>
                <a:latin typeface="Arial"/>
                <a:cs typeface="Times New Roman" pitchFamily="18" charset="0"/>
              </a:endParaRPr>
            </a:p>
          </p:txBody>
        </p:sp>
        <p:sp>
          <p:nvSpPr>
            <p:cNvPr id="43" name="TextBox 23"/>
            <p:cNvSpPr txBox="1">
              <a:spLocks noChangeArrowheads="1"/>
            </p:cNvSpPr>
            <p:nvPr/>
          </p:nvSpPr>
          <p:spPr bwMode="auto">
            <a:xfrm>
              <a:off x="3676066" y="3880018"/>
              <a:ext cx="353326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lang="en-US">
                  <a:solidFill>
                    <a:srgbClr val="FFFFFF"/>
                  </a:solidFill>
                  <a:cs typeface="Arial" pitchFamily="34" charset="0"/>
                </a:rPr>
                <a:t>ENHANCING CUSTOMER EXPERIENCE</a:t>
              </a:r>
            </a:p>
          </p:txBody>
        </p:sp>
        <p:sp>
          <p:nvSpPr>
            <p:cNvPr id="46" name="Rounded Rectangle 45"/>
            <p:cNvSpPr/>
            <p:nvPr/>
          </p:nvSpPr>
          <p:spPr bwMode="auto">
            <a:xfrm>
              <a:off x="525464" y="5085827"/>
              <a:ext cx="6905874" cy="1372123"/>
            </a:xfrm>
            <a:prstGeom prst="roundRect">
              <a:avLst>
                <a:gd name="adj" fmla="val 9299"/>
              </a:avLst>
            </a:prstGeom>
            <a:solidFill>
              <a:srgbClr val="C19CBB"/>
            </a:solidFill>
            <a:ln w="9525" cap="flat" cmpd="sng" algn="ctr">
              <a:noFill/>
              <a:prstDash val="solid"/>
              <a:round/>
              <a:headEnd type="none" w="med" len="med"/>
              <a:tailEnd type="none" w="med" len="med"/>
            </a:ln>
            <a:effectLst/>
          </p:spPr>
          <p:txBody>
            <a:bodyPr anchor="ctr"/>
            <a:lstStyle/>
            <a:p>
              <a:pPr algn="ctr" defTabSz="915267">
                <a:spcBef>
                  <a:spcPct val="50000"/>
                </a:spcBef>
                <a:defRPr/>
              </a:pPr>
              <a:endParaRPr lang="en-US" sz="1800" b="1" kern="0" cap="all">
                <a:solidFill>
                  <a:srgbClr val="E32219"/>
                </a:solidFill>
                <a:latin typeface="Arial"/>
                <a:cs typeface="Times New Roman" pitchFamily="18" charset="0"/>
              </a:endParaRPr>
            </a:p>
          </p:txBody>
        </p:sp>
        <p:sp>
          <p:nvSpPr>
            <p:cNvPr id="47" name="Rounded Rectangle 46"/>
            <p:cNvSpPr/>
            <p:nvPr/>
          </p:nvSpPr>
          <p:spPr bwMode="auto">
            <a:xfrm>
              <a:off x="3497540" y="5085827"/>
              <a:ext cx="3959444" cy="1372123"/>
            </a:xfrm>
            <a:prstGeom prst="roundRect">
              <a:avLst>
                <a:gd name="adj" fmla="val 10220"/>
              </a:avLst>
            </a:prstGeom>
            <a:solidFill>
              <a:srgbClr val="8F3F7B"/>
            </a:solidFill>
            <a:ln w="9525" cap="flat" cmpd="sng" algn="ctr">
              <a:noFill/>
              <a:prstDash val="solid"/>
              <a:round/>
              <a:headEnd type="none" w="med" len="med"/>
              <a:tailEnd type="none" w="med" len="med"/>
            </a:ln>
            <a:effectLst/>
          </p:spPr>
          <p:txBody>
            <a:bodyPr anchor="ctr"/>
            <a:lstStyle/>
            <a:p>
              <a:pPr algn="ctr" defTabSz="915267">
                <a:spcBef>
                  <a:spcPct val="50000"/>
                </a:spcBef>
                <a:defRPr/>
              </a:pPr>
              <a:endParaRPr lang="en-US" sz="1800" b="1" kern="0" cap="all">
                <a:solidFill>
                  <a:srgbClr val="E32219"/>
                </a:solidFill>
                <a:latin typeface="Arial"/>
                <a:cs typeface="Times New Roman" pitchFamily="18" charset="0"/>
              </a:endParaRPr>
            </a:p>
          </p:txBody>
        </p:sp>
        <p:sp>
          <p:nvSpPr>
            <p:cNvPr id="48" name="TextBox 23"/>
            <p:cNvSpPr txBox="1">
              <a:spLocks noChangeArrowheads="1"/>
            </p:cNvSpPr>
            <p:nvPr/>
          </p:nvSpPr>
          <p:spPr bwMode="auto">
            <a:xfrm>
              <a:off x="3651366" y="5417901"/>
              <a:ext cx="353325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lang="en-US">
                  <a:solidFill>
                    <a:srgbClr val="FFFFFF"/>
                  </a:solidFill>
                  <a:cs typeface="Arial" pitchFamily="34" charset="0"/>
                </a:rPr>
                <a:t>INCREASING AND </a:t>
              </a:r>
              <a:br>
                <a:rPr lang="en-US">
                  <a:solidFill>
                    <a:srgbClr val="FFFFFF"/>
                  </a:solidFill>
                  <a:cs typeface="Arial" pitchFamily="34" charset="0"/>
                </a:rPr>
              </a:br>
              <a:r>
                <a:rPr lang="en-US">
                  <a:solidFill>
                    <a:srgbClr val="FFFFFF"/>
                  </a:solidFill>
                  <a:cs typeface="Arial" pitchFamily="34" charset="0"/>
                </a:rPr>
                <a:t>ACCELERATING REVENUE</a:t>
              </a:r>
            </a:p>
          </p:txBody>
        </p:sp>
        <p:sp>
          <p:nvSpPr>
            <p:cNvPr id="49" name="Freeform 3"/>
            <p:cNvSpPr>
              <a:spLocks noChangeAspect="1" noEditPoints="1"/>
            </p:cNvSpPr>
            <p:nvPr/>
          </p:nvSpPr>
          <p:spPr bwMode="auto">
            <a:xfrm>
              <a:off x="1661222" y="2268724"/>
              <a:ext cx="1507429" cy="851102"/>
            </a:xfrm>
            <a:custGeom>
              <a:avLst/>
              <a:gdLst>
                <a:gd name="T0" fmla="*/ 2147483647 w 477"/>
                <a:gd name="T1" fmla="*/ 2147483647 h 269"/>
                <a:gd name="T2" fmla="*/ 2147483647 w 477"/>
                <a:gd name="T3" fmla="*/ 2147483647 h 269"/>
                <a:gd name="T4" fmla="*/ 2147483647 w 477"/>
                <a:gd name="T5" fmla="*/ 2147483647 h 269"/>
                <a:gd name="T6" fmla="*/ 2147483647 w 477"/>
                <a:gd name="T7" fmla="*/ 2147483647 h 269"/>
                <a:gd name="T8" fmla="*/ 2147483647 w 477"/>
                <a:gd name="T9" fmla="*/ 2147483647 h 269"/>
                <a:gd name="T10" fmla="*/ 2147483647 w 477"/>
                <a:gd name="T11" fmla="*/ 2147483647 h 269"/>
                <a:gd name="T12" fmla="*/ 2147483647 w 477"/>
                <a:gd name="T13" fmla="*/ 2147483647 h 269"/>
                <a:gd name="T14" fmla="*/ 2147483647 w 477"/>
                <a:gd name="T15" fmla="*/ 2147483647 h 269"/>
                <a:gd name="T16" fmla="*/ 2147483647 w 477"/>
                <a:gd name="T17" fmla="*/ 2147483647 h 269"/>
                <a:gd name="T18" fmla="*/ 2147483647 w 477"/>
                <a:gd name="T19" fmla="*/ 2147483647 h 269"/>
                <a:gd name="T20" fmla="*/ 2147483647 w 477"/>
                <a:gd name="T21" fmla="*/ 2147483647 h 269"/>
                <a:gd name="T22" fmla="*/ 2147483647 w 477"/>
                <a:gd name="T23" fmla="*/ 2147483647 h 269"/>
                <a:gd name="T24" fmla="*/ 2147483647 w 477"/>
                <a:gd name="T25" fmla="*/ 2147483647 h 269"/>
                <a:gd name="T26" fmla="*/ 2147483647 w 477"/>
                <a:gd name="T27" fmla="*/ 2147483647 h 269"/>
                <a:gd name="T28" fmla="*/ 2147483647 w 477"/>
                <a:gd name="T29" fmla="*/ 2147483647 h 269"/>
                <a:gd name="T30" fmla="*/ 2147483647 w 477"/>
                <a:gd name="T31" fmla="*/ 2147483647 h 269"/>
                <a:gd name="T32" fmla="*/ 2147483647 w 477"/>
                <a:gd name="T33" fmla="*/ 2147483647 h 269"/>
                <a:gd name="T34" fmla="*/ 2147483647 w 477"/>
                <a:gd name="T35" fmla="*/ 2147483647 h 269"/>
                <a:gd name="T36" fmla="*/ 2147483647 w 477"/>
                <a:gd name="T37" fmla="*/ 2147483647 h 269"/>
                <a:gd name="T38" fmla="*/ 2147483647 w 477"/>
                <a:gd name="T39" fmla="*/ 2147483647 h 269"/>
                <a:gd name="T40" fmla="*/ 2147483647 w 477"/>
                <a:gd name="T41" fmla="*/ 2147483647 h 269"/>
                <a:gd name="T42" fmla="*/ 2147483647 w 477"/>
                <a:gd name="T43" fmla="*/ 2147483647 h 269"/>
                <a:gd name="T44" fmla="*/ 2147483647 w 477"/>
                <a:gd name="T45" fmla="*/ 2147483647 h 269"/>
                <a:gd name="T46" fmla="*/ 2147483647 w 477"/>
                <a:gd name="T47" fmla="*/ 2147483647 h 269"/>
                <a:gd name="T48" fmla="*/ 2147483647 w 477"/>
                <a:gd name="T49" fmla="*/ 2147483647 h 269"/>
                <a:gd name="T50" fmla="*/ 2147483647 w 477"/>
                <a:gd name="T51" fmla="*/ 2147483647 h 269"/>
                <a:gd name="T52" fmla="*/ 2147483647 w 477"/>
                <a:gd name="T53" fmla="*/ 2147483647 h 269"/>
                <a:gd name="T54" fmla="*/ 2147483647 w 477"/>
                <a:gd name="T55" fmla="*/ 2147483647 h 269"/>
                <a:gd name="T56" fmla="*/ 2147483647 w 477"/>
                <a:gd name="T57" fmla="*/ 2147483647 h 269"/>
                <a:gd name="T58" fmla="*/ 2147483647 w 477"/>
                <a:gd name="T59" fmla="*/ 2147483647 h 269"/>
                <a:gd name="T60" fmla="*/ 2147483647 w 477"/>
                <a:gd name="T61" fmla="*/ 2147483647 h 269"/>
                <a:gd name="T62" fmla="*/ 2147483647 w 477"/>
                <a:gd name="T63" fmla="*/ 2147483647 h 269"/>
                <a:gd name="T64" fmla="*/ 2147483647 w 477"/>
                <a:gd name="T65" fmla="*/ 2147483647 h 269"/>
                <a:gd name="T66" fmla="*/ 2147483647 w 477"/>
                <a:gd name="T67" fmla="*/ 2147483647 h 269"/>
                <a:gd name="T68" fmla="*/ 2147483647 w 477"/>
                <a:gd name="T69" fmla="*/ 2147483647 h 269"/>
                <a:gd name="T70" fmla="*/ 2147483647 w 477"/>
                <a:gd name="T71" fmla="*/ 2147483647 h 269"/>
                <a:gd name="T72" fmla="*/ 2147483647 w 477"/>
                <a:gd name="T73" fmla="*/ 2147483647 h 269"/>
                <a:gd name="T74" fmla="*/ 2147483647 w 477"/>
                <a:gd name="T75" fmla="*/ 2147483647 h 269"/>
                <a:gd name="T76" fmla="*/ 2147483647 w 477"/>
                <a:gd name="T77" fmla="*/ 2147483647 h 269"/>
                <a:gd name="T78" fmla="*/ 2147483647 w 477"/>
                <a:gd name="T79" fmla="*/ 2147483647 h 269"/>
                <a:gd name="T80" fmla="*/ 2147483647 w 477"/>
                <a:gd name="T81" fmla="*/ 2147483647 h 269"/>
                <a:gd name="T82" fmla="*/ 2147483647 w 477"/>
                <a:gd name="T83" fmla="*/ 2147483647 h 269"/>
                <a:gd name="T84" fmla="*/ 2147483647 w 477"/>
                <a:gd name="T85" fmla="*/ 2147483647 h 269"/>
                <a:gd name="T86" fmla="*/ 2147483647 w 477"/>
                <a:gd name="T87" fmla="*/ 2147483647 h 269"/>
                <a:gd name="T88" fmla="*/ 0 w 477"/>
                <a:gd name="T89" fmla="*/ 2147483647 h 269"/>
                <a:gd name="T90" fmla="*/ 2147483647 w 477"/>
                <a:gd name="T91" fmla="*/ 2147483647 h 269"/>
                <a:gd name="T92" fmla="*/ 2147483647 w 477"/>
                <a:gd name="T93" fmla="*/ 2147483647 h 269"/>
                <a:gd name="T94" fmla="*/ 2147483647 w 477"/>
                <a:gd name="T95" fmla="*/ 2147483647 h 269"/>
                <a:gd name="T96" fmla="*/ 2147483647 w 477"/>
                <a:gd name="T97" fmla="*/ 2147483647 h 269"/>
                <a:gd name="T98" fmla="*/ 2147483647 w 477"/>
                <a:gd name="T99" fmla="*/ 2147483647 h 269"/>
                <a:gd name="T100" fmla="*/ 2147483647 w 477"/>
                <a:gd name="T101" fmla="*/ 2147483647 h 269"/>
                <a:gd name="T102" fmla="*/ 2147483647 w 477"/>
                <a:gd name="T103" fmla="*/ 2147483647 h 269"/>
                <a:gd name="T104" fmla="*/ 2147483647 w 477"/>
                <a:gd name="T105" fmla="*/ 2147483647 h 269"/>
                <a:gd name="T106" fmla="*/ 2147483647 w 477"/>
                <a:gd name="T107" fmla="*/ 2147483647 h 269"/>
                <a:gd name="T108" fmla="*/ 2147483647 w 477"/>
                <a:gd name="T109" fmla="*/ 2147483647 h 269"/>
                <a:gd name="T110" fmla="*/ 2147483647 w 477"/>
                <a:gd name="T111" fmla="*/ 2147483647 h 269"/>
                <a:gd name="T112" fmla="*/ 2147483647 w 477"/>
                <a:gd name="T113" fmla="*/ 2147483647 h 269"/>
                <a:gd name="T114" fmla="*/ 2147483647 w 477"/>
                <a:gd name="T115" fmla="*/ 2147483647 h 269"/>
                <a:gd name="T116" fmla="*/ 2147483647 w 477"/>
                <a:gd name="T117" fmla="*/ 2147483647 h 269"/>
                <a:gd name="T118" fmla="*/ 2147483647 w 477"/>
                <a:gd name="T119" fmla="*/ 2147483647 h 269"/>
                <a:gd name="T120" fmla="*/ 2147483647 w 477"/>
                <a:gd name="T121" fmla="*/ 2147483647 h 269"/>
                <a:gd name="T122" fmla="*/ 2147483647 w 477"/>
                <a:gd name="T123" fmla="*/ 2147483647 h 26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7"/>
                <a:gd name="T187" fmla="*/ 0 h 269"/>
                <a:gd name="T188" fmla="*/ 477 w 477"/>
                <a:gd name="T189" fmla="*/ 269 h 26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7" h="269">
                  <a:moveTo>
                    <a:pt x="464" y="108"/>
                  </a:moveTo>
                  <a:cubicBezTo>
                    <a:pt x="450" y="97"/>
                    <a:pt x="398" y="57"/>
                    <a:pt x="398" y="57"/>
                  </a:cubicBezTo>
                  <a:cubicBezTo>
                    <a:pt x="398" y="57"/>
                    <a:pt x="394" y="53"/>
                    <a:pt x="387" y="48"/>
                  </a:cubicBezTo>
                  <a:cubicBezTo>
                    <a:pt x="383" y="45"/>
                    <a:pt x="378" y="45"/>
                    <a:pt x="376" y="49"/>
                  </a:cubicBezTo>
                  <a:cubicBezTo>
                    <a:pt x="373" y="52"/>
                    <a:pt x="374" y="57"/>
                    <a:pt x="377" y="60"/>
                  </a:cubicBezTo>
                  <a:cubicBezTo>
                    <a:pt x="377" y="60"/>
                    <a:pt x="377" y="60"/>
                    <a:pt x="377" y="60"/>
                  </a:cubicBezTo>
                  <a:cubicBezTo>
                    <a:pt x="384" y="66"/>
                    <a:pt x="388" y="69"/>
                    <a:pt x="389" y="69"/>
                  </a:cubicBezTo>
                  <a:cubicBezTo>
                    <a:pt x="389" y="69"/>
                    <a:pt x="440" y="110"/>
                    <a:pt x="453" y="121"/>
                  </a:cubicBezTo>
                  <a:cubicBezTo>
                    <a:pt x="459" y="126"/>
                    <a:pt x="461" y="129"/>
                    <a:pt x="461" y="134"/>
                  </a:cubicBezTo>
                  <a:cubicBezTo>
                    <a:pt x="461" y="140"/>
                    <a:pt x="459" y="143"/>
                    <a:pt x="453" y="148"/>
                  </a:cubicBezTo>
                  <a:cubicBezTo>
                    <a:pt x="440" y="159"/>
                    <a:pt x="389" y="200"/>
                    <a:pt x="388" y="200"/>
                  </a:cubicBezTo>
                  <a:cubicBezTo>
                    <a:pt x="388" y="200"/>
                    <a:pt x="344" y="235"/>
                    <a:pt x="328" y="248"/>
                  </a:cubicBezTo>
                  <a:cubicBezTo>
                    <a:pt x="324" y="251"/>
                    <a:pt x="320" y="253"/>
                    <a:pt x="318" y="253"/>
                  </a:cubicBezTo>
                  <a:cubicBezTo>
                    <a:pt x="316" y="253"/>
                    <a:pt x="315" y="252"/>
                    <a:pt x="314" y="251"/>
                  </a:cubicBezTo>
                  <a:cubicBezTo>
                    <a:pt x="313" y="249"/>
                    <a:pt x="311" y="245"/>
                    <a:pt x="311" y="238"/>
                  </a:cubicBezTo>
                  <a:cubicBezTo>
                    <a:pt x="311" y="233"/>
                    <a:pt x="311" y="226"/>
                    <a:pt x="311" y="218"/>
                  </a:cubicBezTo>
                  <a:cubicBezTo>
                    <a:pt x="311" y="214"/>
                    <a:pt x="307" y="210"/>
                    <a:pt x="303" y="210"/>
                  </a:cubicBezTo>
                  <a:cubicBezTo>
                    <a:pt x="175" y="210"/>
                    <a:pt x="175" y="210"/>
                    <a:pt x="175" y="210"/>
                  </a:cubicBezTo>
                  <a:cubicBezTo>
                    <a:pt x="171" y="210"/>
                    <a:pt x="167" y="214"/>
                    <a:pt x="167" y="218"/>
                  </a:cubicBezTo>
                  <a:cubicBezTo>
                    <a:pt x="167" y="223"/>
                    <a:pt x="171" y="226"/>
                    <a:pt x="175" y="226"/>
                  </a:cubicBezTo>
                  <a:cubicBezTo>
                    <a:pt x="295" y="226"/>
                    <a:pt x="295" y="226"/>
                    <a:pt x="295" y="226"/>
                  </a:cubicBezTo>
                  <a:cubicBezTo>
                    <a:pt x="295" y="231"/>
                    <a:pt x="295" y="235"/>
                    <a:pt x="295" y="238"/>
                  </a:cubicBezTo>
                  <a:cubicBezTo>
                    <a:pt x="295" y="247"/>
                    <a:pt x="297" y="254"/>
                    <a:pt x="301" y="260"/>
                  </a:cubicBezTo>
                  <a:cubicBezTo>
                    <a:pt x="304" y="265"/>
                    <a:pt x="311" y="269"/>
                    <a:pt x="317" y="269"/>
                  </a:cubicBezTo>
                  <a:cubicBezTo>
                    <a:pt x="317" y="269"/>
                    <a:pt x="317" y="269"/>
                    <a:pt x="318" y="269"/>
                  </a:cubicBezTo>
                  <a:cubicBezTo>
                    <a:pt x="325" y="269"/>
                    <a:pt x="332" y="265"/>
                    <a:pt x="338" y="260"/>
                  </a:cubicBezTo>
                  <a:cubicBezTo>
                    <a:pt x="353" y="247"/>
                    <a:pt x="398" y="212"/>
                    <a:pt x="398" y="212"/>
                  </a:cubicBezTo>
                  <a:cubicBezTo>
                    <a:pt x="398" y="212"/>
                    <a:pt x="450" y="172"/>
                    <a:pt x="464" y="161"/>
                  </a:cubicBezTo>
                  <a:cubicBezTo>
                    <a:pt x="472" y="154"/>
                    <a:pt x="477" y="145"/>
                    <a:pt x="477" y="134"/>
                  </a:cubicBezTo>
                  <a:cubicBezTo>
                    <a:pt x="477" y="124"/>
                    <a:pt x="472" y="115"/>
                    <a:pt x="464" y="108"/>
                  </a:cubicBezTo>
                  <a:close/>
                  <a:moveTo>
                    <a:pt x="311" y="51"/>
                  </a:moveTo>
                  <a:cubicBezTo>
                    <a:pt x="311" y="43"/>
                    <a:pt x="311" y="36"/>
                    <a:pt x="311" y="31"/>
                  </a:cubicBezTo>
                  <a:cubicBezTo>
                    <a:pt x="311" y="24"/>
                    <a:pt x="313" y="20"/>
                    <a:pt x="314" y="19"/>
                  </a:cubicBezTo>
                  <a:cubicBezTo>
                    <a:pt x="315" y="17"/>
                    <a:pt x="316" y="17"/>
                    <a:pt x="318" y="17"/>
                  </a:cubicBezTo>
                  <a:cubicBezTo>
                    <a:pt x="320" y="17"/>
                    <a:pt x="324" y="18"/>
                    <a:pt x="328" y="21"/>
                  </a:cubicBezTo>
                  <a:cubicBezTo>
                    <a:pt x="333" y="26"/>
                    <a:pt x="342" y="33"/>
                    <a:pt x="352" y="40"/>
                  </a:cubicBezTo>
                  <a:cubicBezTo>
                    <a:pt x="355" y="43"/>
                    <a:pt x="360" y="42"/>
                    <a:pt x="363" y="39"/>
                  </a:cubicBezTo>
                  <a:cubicBezTo>
                    <a:pt x="366" y="35"/>
                    <a:pt x="365" y="30"/>
                    <a:pt x="361" y="28"/>
                  </a:cubicBezTo>
                  <a:cubicBezTo>
                    <a:pt x="352" y="20"/>
                    <a:pt x="343" y="13"/>
                    <a:pt x="338" y="9"/>
                  </a:cubicBezTo>
                  <a:cubicBezTo>
                    <a:pt x="332" y="4"/>
                    <a:pt x="325" y="1"/>
                    <a:pt x="318" y="1"/>
                  </a:cubicBezTo>
                  <a:cubicBezTo>
                    <a:pt x="311" y="0"/>
                    <a:pt x="305" y="4"/>
                    <a:pt x="301" y="9"/>
                  </a:cubicBezTo>
                  <a:cubicBezTo>
                    <a:pt x="297" y="15"/>
                    <a:pt x="295" y="22"/>
                    <a:pt x="295" y="31"/>
                  </a:cubicBezTo>
                  <a:cubicBezTo>
                    <a:pt x="295" y="34"/>
                    <a:pt x="295" y="38"/>
                    <a:pt x="295" y="43"/>
                  </a:cubicBezTo>
                  <a:cubicBezTo>
                    <a:pt x="8" y="43"/>
                    <a:pt x="8" y="43"/>
                    <a:pt x="8" y="43"/>
                  </a:cubicBezTo>
                  <a:cubicBezTo>
                    <a:pt x="3" y="43"/>
                    <a:pt x="0" y="46"/>
                    <a:pt x="0" y="51"/>
                  </a:cubicBezTo>
                  <a:cubicBezTo>
                    <a:pt x="0" y="55"/>
                    <a:pt x="3" y="59"/>
                    <a:pt x="8" y="59"/>
                  </a:cubicBezTo>
                  <a:cubicBezTo>
                    <a:pt x="303" y="59"/>
                    <a:pt x="303" y="59"/>
                    <a:pt x="303" y="59"/>
                  </a:cubicBezTo>
                  <a:cubicBezTo>
                    <a:pt x="307" y="59"/>
                    <a:pt x="311" y="55"/>
                    <a:pt x="311" y="51"/>
                  </a:cubicBezTo>
                  <a:close/>
                  <a:moveTo>
                    <a:pt x="311" y="163"/>
                  </a:moveTo>
                  <a:cubicBezTo>
                    <a:pt x="311" y="158"/>
                    <a:pt x="307" y="155"/>
                    <a:pt x="303" y="155"/>
                  </a:cubicBezTo>
                  <a:cubicBezTo>
                    <a:pt x="129" y="155"/>
                    <a:pt x="129" y="155"/>
                    <a:pt x="129" y="155"/>
                  </a:cubicBezTo>
                  <a:cubicBezTo>
                    <a:pt x="125" y="155"/>
                    <a:pt x="121" y="158"/>
                    <a:pt x="121" y="163"/>
                  </a:cubicBezTo>
                  <a:cubicBezTo>
                    <a:pt x="121" y="167"/>
                    <a:pt x="125" y="171"/>
                    <a:pt x="129" y="171"/>
                  </a:cubicBezTo>
                  <a:cubicBezTo>
                    <a:pt x="303" y="171"/>
                    <a:pt x="303" y="171"/>
                    <a:pt x="303" y="171"/>
                  </a:cubicBezTo>
                  <a:cubicBezTo>
                    <a:pt x="307" y="171"/>
                    <a:pt x="311" y="167"/>
                    <a:pt x="311" y="163"/>
                  </a:cubicBezTo>
                  <a:close/>
                  <a:moveTo>
                    <a:pt x="311" y="107"/>
                  </a:moveTo>
                  <a:cubicBezTo>
                    <a:pt x="311" y="102"/>
                    <a:pt x="307" y="99"/>
                    <a:pt x="303" y="99"/>
                  </a:cubicBezTo>
                  <a:cubicBezTo>
                    <a:pt x="67" y="99"/>
                    <a:pt x="67" y="99"/>
                    <a:pt x="67" y="99"/>
                  </a:cubicBezTo>
                  <a:cubicBezTo>
                    <a:pt x="63" y="99"/>
                    <a:pt x="59" y="102"/>
                    <a:pt x="59" y="107"/>
                  </a:cubicBezTo>
                  <a:cubicBezTo>
                    <a:pt x="59" y="111"/>
                    <a:pt x="63" y="115"/>
                    <a:pt x="67" y="115"/>
                  </a:cubicBezTo>
                  <a:cubicBezTo>
                    <a:pt x="303" y="115"/>
                    <a:pt x="303" y="115"/>
                    <a:pt x="303" y="115"/>
                  </a:cubicBezTo>
                  <a:cubicBezTo>
                    <a:pt x="307" y="115"/>
                    <a:pt x="311" y="111"/>
                    <a:pt x="311" y="10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50" name="Freeform 3"/>
            <p:cNvSpPr>
              <a:spLocks noChangeAspect="1" noEditPoints="1"/>
            </p:cNvSpPr>
            <p:nvPr/>
          </p:nvSpPr>
          <p:spPr bwMode="auto">
            <a:xfrm>
              <a:off x="1740518" y="5315672"/>
              <a:ext cx="1348836" cy="912344"/>
            </a:xfrm>
            <a:custGeom>
              <a:avLst/>
              <a:gdLst>
                <a:gd name="T0" fmla="*/ 2147483647 w 526"/>
                <a:gd name="T1" fmla="*/ 2147483647 h 374"/>
                <a:gd name="T2" fmla="*/ 2147483647 w 526"/>
                <a:gd name="T3" fmla="*/ 2147483647 h 374"/>
                <a:gd name="T4" fmla="*/ 2147483647 w 526"/>
                <a:gd name="T5" fmla="*/ 2147483647 h 374"/>
                <a:gd name="T6" fmla="*/ 2147483647 w 526"/>
                <a:gd name="T7" fmla="*/ 2147483647 h 374"/>
                <a:gd name="T8" fmla="*/ 2147483647 w 526"/>
                <a:gd name="T9" fmla="*/ 2147483647 h 374"/>
                <a:gd name="T10" fmla="*/ 2147483647 w 526"/>
                <a:gd name="T11" fmla="*/ 2147483647 h 374"/>
                <a:gd name="T12" fmla="*/ 2147483647 w 526"/>
                <a:gd name="T13" fmla="*/ 2147483647 h 374"/>
                <a:gd name="T14" fmla="*/ 2147483647 w 526"/>
                <a:gd name="T15" fmla="*/ 2147483647 h 374"/>
                <a:gd name="T16" fmla="*/ 2147483647 w 526"/>
                <a:gd name="T17" fmla="*/ 2147483647 h 374"/>
                <a:gd name="T18" fmla="*/ 2147483647 w 526"/>
                <a:gd name="T19" fmla="*/ 2147483647 h 374"/>
                <a:gd name="T20" fmla="*/ 2147483647 w 526"/>
                <a:gd name="T21" fmla="*/ 0 h 374"/>
                <a:gd name="T22" fmla="*/ 2147483647 w 526"/>
                <a:gd name="T23" fmla="*/ 2147483647 h 374"/>
                <a:gd name="T24" fmla="*/ 2147483647 w 526"/>
                <a:gd name="T25" fmla="*/ 2147483647 h 374"/>
                <a:gd name="T26" fmla="*/ 2147483647 w 526"/>
                <a:gd name="T27" fmla="*/ 2147483647 h 374"/>
                <a:gd name="T28" fmla="*/ 2147483647 w 526"/>
                <a:gd name="T29" fmla="*/ 2147483647 h 374"/>
                <a:gd name="T30" fmla="*/ 2147483647 w 526"/>
                <a:gd name="T31" fmla="*/ 2147483647 h 374"/>
                <a:gd name="T32" fmla="*/ 2147483647 w 526"/>
                <a:gd name="T33" fmla="*/ 2147483647 h 374"/>
                <a:gd name="T34" fmla="*/ 2147483647 w 526"/>
                <a:gd name="T35" fmla="*/ 2147483647 h 374"/>
                <a:gd name="T36" fmla="*/ 2147483647 w 526"/>
                <a:gd name="T37" fmla="*/ 2147483647 h 374"/>
                <a:gd name="T38" fmla="*/ 2147483647 w 526"/>
                <a:gd name="T39" fmla="*/ 2147483647 h 374"/>
                <a:gd name="T40" fmla="*/ 0 w 526"/>
                <a:gd name="T41" fmla="*/ 2147483647 h 374"/>
                <a:gd name="T42" fmla="*/ 2147483647 w 526"/>
                <a:gd name="T43" fmla="*/ 2147483647 h 374"/>
                <a:gd name="T44" fmla="*/ 2147483647 w 526"/>
                <a:gd name="T45" fmla="*/ 2147483647 h 374"/>
                <a:gd name="T46" fmla="*/ 2147483647 w 526"/>
                <a:gd name="T47" fmla="*/ 2147483647 h 374"/>
                <a:gd name="T48" fmla="*/ 2147483647 w 526"/>
                <a:gd name="T49" fmla="*/ 2147483647 h 374"/>
                <a:gd name="T50" fmla="*/ 2147483647 w 526"/>
                <a:gd name="T51" fmla="*/ 2147483647 h 374"/>
                <a:gd name="T52" fmla="*/ 2147483647 w 526"/>
                <a:gd name="T53" fmla="*/ 2147483647 h 374"/>
                <a:gd name="T54" fmla="*/ 2147483647 w 526"/>
                <a:gd name="T55" fmla="*/ 2147483647 h 374"/>
                <a:gd name="T56" fmla="*/ 2147483647 w 526"/>
                <a:gd name="T57" fmla="*/ 2147483647 h 374"/>
                <a:gd name="T58" fmla="*/ 2147483647 w 526"/>
                <a:gd name="T59" fmla="*/ 2147483647 h 374"/>
                <a:gd name="T60" fmla="*/ 2147483647 w 526"/>
                <a:gd name="T61" fmla="*/ 2147483647 h 374"/>
                <a:gd name="T62" fmla="*/ 2147483647 w 526"/>
                <a:gd name="T63" fmla="*/ 2147483647 h 374"/>
                <a:gd name="T64" fmla="*/ 2147483647 w 526"/>
                <a:gd name="T65" fmla="*/ 2147483647 h 374"/>
                <a:gd name="T66" fmla="*/ 2147483647 w 526"/>
                <a:gd name="T67" fmla="*/ 2147483647 h 374"/>
                <a:gd name="T68" fmla="*/ 2147483647 w 526"/>
                <a:gd name="T69" fmla="*/ 2147483647 h 374"/>
                <a:gd name="T70" fmla="*/ 2147483647 w 526"/>
                <a:gd name="T71" fmla="*/ 2147483647 h 374"/>
                <a:gd name="T72" fmla="*/ 2147483647 w 526"/>
                <a:gd name="T73" fmla="*/ 2147483647 h 374"/>
                <a:gd name="T74" fmla="*/ 2147483647 w 526"/>
                <a:gd name="T75" fmla="*/ 2147483647 h 374"/>
                <a:gd name="T76" fmla="*/ 2147483647 w 526"/>
                <a:gd name="T77" fmla="*/ 2147483647 h 374"/>
                <a:gd name="T78" fmla="*/ 2147483647 w 526"/>
                <a:gd name="T79" fmla="*/ 2147483647 h 374"/>
                <a:gd name="T80" fmla="*/ 2147483647 w 526"/>
                <a:gd name="T81" fmla="*/ 2147483647 h 374"/>
                <a:gd name="T82" fmla="*/ 2147483647 w 526"/>
                <a:gd name="T83" fmla="*/ 2147483647 h 374"/>
                <a:gd name="T84" fmla="*/ 2147483647 w 526"/>
                <a:gd name="T85" fmla="*/ 2147483647 h 374"/>
                <a:gd name="T86" fmla="*/ 2147483647 w 526"/>
                <a:gd name="T87" fmla="*/ 2147483647 h 374"/>
                <a:gd name="T88" fmla="*/ 2147483647 w 526"/>
                <a:gd name="T89" fmla="*/ 2147483647 h 374"/>
                <a:gd name="T90" fmla="*/ 2147483647 w 526"/>
                <a:gd name="T91" fmla="*/ 2147483647 h 374"/>
                <a:gd name="T92" fmla="*/ 2147483647 w 526"/>
                <a:gd name="T93" fmla="*/ 2147483647 h 374"/>
                <a:gd name="T94" fmla="*/ 2147483647 w 526"/>
                <a:gd name="T95" fmla="*/ 2147483647 h 374"/>
                <a:gd name="T96" fmla="*/ 2147483647 w 526"/>
                <a:gd name="T97" fmla="*/ 2147483647 h 374"/>
                <a:gd name="T98" fmla="*/ 2147483647 w 526"/>
                <a:gd name="T99" fmla="*/ 2147483647 h 374"/>
                <a:gd name="T100" fmla="*/ 2147483647 w 526"/>
                <a:gd name="T101" fmla="*/ 2147483647 h 374"/>
                <a:gd name="T102" fmla="*/ 2147483647 w 526"/>
                <a:gd name="T103" fmla="*/ 2147483647 h 374"/>
                <a:gd name="T104" fmla="*/ 2147483647 w 526"/>
                <a:gd name="T105" fmla="*/ 2147483647 h 374"/>
                <a:gd name="T106" fmla="*/ 2147483647 w 526"/>
                <a:gd name="T107" fmla="*/ 2147483647 h 374"/>
                <a:gd name="T108" fmla="*/ 2147483647 w 526"/>
                <a:gd name="T109" fmla="*/ 2147483647 h 374"/>
                <a:gd name="T110" fmla="*/ 2147483647 w 526"/>
                <a:gd name="T111" fmla="*/ 2147483647 h 374"/>
                <a:gd name="T112" fmla="*/ 2147483647 w 526"/>
                <a:gd name="T113" fmla="*/ 2147483647 h 37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26"/>
                <a:gd name="T172" fmla="*/ 0 h 374"/>
                <a:gd name="T173" fmla="*/ 526 w 526"/>
                <a:gd name="T174" fmla="*/ 374 h 37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26" h="374">
                  <a:moveTo>
                    <a:pt x="525" y="68"/>
                  </a:moveTo>
                  <a:cubicBezTo>
                    <a:pt x="525" y="65"/>
                    <a:pt x="523" y="63"/>
                    <a:pt x="521" y="61"/>
                  </a:cubicBezTo>
                  <a:cubicBezTo>
                    <a:pt x="519" y="60"/>
                    <a:pt x="516" y="59"/>
                    <a:pt x="514" y="61"/>
                  </a:cubicBezTo>
                  <a:cubicBezTo>
                    <a:pt x="435" y="95"/>
                    <a:pt x="435" y="95"/>
                    <a:pt x="435" y="95"/>
                  </a:cubicBezTo>
                  <a:cubicBezTo>
                    <a:pt x="432" y="97"/>
                    <a:pt x="430" y="99"/>
                    <a:pt x="430" y="102"/>
                  </a:cubicBezTo>
                  <a:cubicBezTo>
                    <a:pt x="430" y="105"/>
                    <a:pt x="431" y="108"/>
                    <a:pt x="434" y="110"/>
                  </a:cubicBezTo>
                  <a:cubicBezTo>
                    <a:pt x="452" y="120"/>
                    <a:pt x="452" y="120"/>
                    <a:pt x="452" y="120"/>
                  </a:cubicBezTo>
                  <a:cubicBezTo>
                    <a:pt x="443" y="139"/>
                    <a:pt x="428" y="161"/>
                    <a:pt x="411" y="182"/>
                  </a:cubicBezTo>
                  <a:cubicBezTo>
                    <a:pt x="411" y="67"/>
                    <a:pt x="411" y="67"/>
                    <a:pt x="411" y="67"/>
                  </a:cubicBezTo>
                  <a:cubicBezTo>
                    <a:pt x="411" y="63"/>
                    <a:pt x="408" y="59"/>
                    <a:pt x="403" y="59"/>
                  </a:cubicBezTo>
                  <a:cubicBezTo>
                    <a:pt x="399" y="59"/>
                    <a:pt x="395" y="63"/>
                    <a:pt x="395" y="67"/>
                  </a:cubicBezTo>
                  <a:cubicBezTo>
                    <a:pt x="395" y="201"/>
                    <a:pt x="395" y="201"/>
                    <a:pt x="395" y="201"/>
                  </a:cubicBezTo>
                  <a:cubicBezTo>
                    <a:pt x="376" y="223"/>
                    <a:pt x="353" y="245"/>
                    <a:pt x="331" y="262"/>
                  </a:cubicBezTo>
                  <a:cubicBezTo>
                    <a:pt x="331" y="17"/>
                    <a:pt x="331" y="17"/>
                    <a:pt x="331" y="17"/>
                  </a:cubicBezTo>
                  <a:cubicBezTo>
                    <a:pt x="331" y="16"/>
                    <a:pt x="332" y="16"/>
                    <a:pt x="332" y="16"/>
                  </a:cubicBezTo>
                  <a:cubicBezTo>
                    <a:pt x="394" y="16"/>
                    <a:pt x="394" y="16"/>
                    <a:pt x="394" y="16"/>
                  </a:cubicBezTo>
                  <a:cubicBezTo>
                    <a:pt x="395" y="16"/>
                    <a:pt x="395" y="16"/>
                    <a:pt x="395" y="17"/>
                  </a:cubicBezTo>
                  <a:cubicBezTo>
                    <a:pt x="395" y="31"/>
                    <a:pt x="395" y="31"/>
                    <a:pt x="395" y="31"/>
                  </a:cubicBezTo>
                  <a:cubicBezTo>
                    <a:pt x="395" y="35"/>
                    <a:pt x="399" y="39"/>
                    <a:pt x="403" y="39"/>
                  </a:cubicBezTo>
                  <a:cubicBezTo>
                    <a:pt x="408" y="39"/>
                    <a:pt x="411" y="35"/>
                    <a:pt x="411" y="31"/>
                  </a:cubicBezTo>
                  <a:cubicBezTo>
                    <a:pt x="411" y="17"/>
                    <a:pt x="411" y="17"/>
                    <a:pt x="411" y="17"/>
                  </a:cubicBezTo>
                  <a:cubicBezTo>
                    <a:pt x="411" y="7"/>
                    <a:pt x="404" y="0"/>
                    <a:pt x="394" y="0"/>
                  </a:cubicBezTo>
                  <a:cubicBezTo>
                    <a:pt x="332" y="0"/>
                    <a:pt x="332" y="0"/>
                    <a:pt x="332" y="0"/>
                  </a:cubicBezTo>
                  <a:cubicBezTo>
                    <a:pt x="323" y="0"/>
                    <a:pt x="315" y="7"/>
                    <a:pt x="315" y="17"/>
                  </a:cubicBezTo>
                  <a:cubicBezTo>
                    <a:pt x="315" y="274"/>
                    <a:pt x="315" y="274"/>
                    <a:pt x="315" y="274"/>
                  </a:cubicBezTo>
                  <a:cubicBezTo>
                    <a:pt x="312" y="276"/>
                    <a:pt x="309" y="278"/>
                    <a:pt x="306" y="280"/>
                  </a:cubicBezTo>
                  <a:cubicBezTo>
                    <a:pt x="307" y="73"/>
                    <a:pt x="307" y="73"/>
                    <a:pt x="307" y="73"/>
                  </a:cubicBezTo>
                  <a:cubicBezTo>
                    <a:pt x="306" y="64"/>
                    <a:pt x="299" y="56"/>
                    <a:pt x="289" y="56"/>
                  </a:cubicBezTo>
                  <a:cubicBezTo>
                    <a:pt x="227" y="56"/>
                    <a:pt x="227" y="56"/>
                    <a:pt x="227" y="56"/>
                  </a:cubicBezTo>
                  <a:cubicBezTo>
                    <a:pt x="218" y="56"/>
                    <a:pt x="210" y="64"/>
                    <a:pt x="210" y="73"/>
                  </a:cubicBezTo>
                  <a:cubicBezTo>
                    <a:pt x="210" y="323"/>
                    <a:pt x="210" y="323"/>
                    <a:pt x="210" y="323"/>
                  </a:cubicBezTo>
                  <a:cubicBezTo>
                    <a:pt x="207" y="324"/>
                    <a:pt x="204" y="325"/>
                    <a:pt x="202" y="326"/>
                  </a:cubicBezTo>
                  <a:cubicBezTo>
                    <a:pt x="202" y="130"/>
                    <a:pt x="202" y="130"/>
                    <a:pt x="202" y="130"/>
                  </a:cubicBezTo>
                  <a:cubicBezTo>
                    <a:pt x="202" y="120"/>
                    <a:pt x="194" y="112"/>
                    <a:pt x="184" y="112"/>
                  </a:cubicBezTo>
                  <a:cubicBezTo>
                    <a:pt x="123" y="112"/>
                    <a:pt x="123" y="112"/>
                    <a:pt x="123" y="112"/>
                  </a:cubicBezTo>
                  <a:cubicBezTo>
                    <a:pt x="113" y="112"/>
                    <a:pt x="105" y="120"/>
                    <a:pt x="105" y="130"/>
                  </a:cubicBezTo>
                  <a:cubicBezTo>
                    <a:pt x="105" y="347"/>
                    <a:pt x="105" y="347"/>
                    <a:pt x="105" y="347"/>
                  </a:cubicBezTo>
                  <a:cubicBezTo>
                    <a:pt x="102" y="347"/>
                    <a:pt x="99" y="348"/>
                    <a:pt x="97" y="348"/>
                  </a:cubicBezTo>
                  <a:cubicBezTo>
                    <a:pt x="97" y="186"/>
                    <a:pt x="97" y="186"/>
                    <a:pt x="97" y="186"/>
                  </a:cubicBezTo>
                  <a:cubicBezTo>
                    <a:pt x="97" y="177"/>
                    <a:pt x="89" y="169"/>
                    <a:pt x="79" y="169"/>
                  </a:cubicBezTo>
                  <a:cubicBezTo>
                    <a:pt x="18" y="169"/>
                    <a:pt x="18" y="169"/>
                    <a:pt x="18" y="169"/>
                  </a:cubicBezTo>
                  <a:cubicBezTo>
                    <a:pt x="8" y="169"/>
                    <a:pt x="0" y="177"/>
                    <a:pt x="0" y="186"/>
                  </a:cubicBezTo>
                  <a:cubicBezTo>
                    <a:pt x="0" y="355"/>
                    <a:pt x="0" y="355"/>
                    <a:pt x="0" y="355"/>
                  </a:cubicBezTo>
                  <a:cubicBezTo>
                    <a:pt x="0" y="365"/>
                    <a:pt x="7" y="372"/>
                    <a:pt x="16" y="373"/>
                  </a:cubicBezTo>
                  <a:cubicBezTo>
                    <a:pt x="17" y="373"/>
                    <a:pt x="17" y="373"/>
                    <a:pt x="17" y="373"/>
                  </a:cubicBezTo>
                  <a:cubicBezTo>
                    <a:pt x="17" y="373"/>
                    <a:pt x="34" y="374"/>
                    <a:pt x="60" y="374"/>
                  </a:cubicBezTo>
                  <a:cubicBezTo>
                    <a:pt x="76" y="374"/>
                    <a:pt x="96" y="373"/>
                    <a:pt x="118" y="372"/>
                  </a:cubicBezTo>
                  <a:cubicBezTo>
                    <a:pt x="119" y="372"/>
                    <a:pt x="121" y="373"/>
                    <a:pt x="123" y="373"/>
                  </a:cubicBezTo>
                  <a:cubicBezTo>
                    <a:pt x="184" y="373"/>
                    <a:pt x="184" y="373"/>
                    <a:pt x="184" y="373"/>
                  </a:cubicBezTo>
                  <a:cubicBezTo>
                    <a:pt x="191" y="373"/>
                    <a:pt x="197" y="369"/>
                    <a:pt x="200" y="363"/>
                  </a:cubicBezTo>
                  <a:cubicBezTo>
                    <a:pt x="203" y="363"/>
                    <a:pt x="207" y="362"/>
                    <a:pt x="211" y="361"/>
                  </a:cubicBezTo>
                  <a:cubicBezTo>
                    <a:pt x="214" y="368"/>
                    <a:pt x="220" y="373"/>
                    <a:pt x="227" y="373"/>
                  </a:cubicBezTo>
                  <a:cubicBezTo>
                    <a:pt x="289" y="373"/>
                    <a:pt x="289" y="373"/>
                    <a:pt x="289" y="373"/>
                  </a:cubicBezTo>
                  <a:cubicBezTo>
                    <a:pt x="299" y="373"/>
                    <a:pt x="306" y="365"/>
                    <a:pt x="306" y="355"/>
                  </a:cubicBezTo>
                  <a:cubicBezTo>
                    <a:pt x="306" y="335"/>
                    <a:pt x="306" y="335"/>
                    <a:pt x="306" y="335"/>
                  </a:cubicBezTo>
                  <a:cubicBezTo>
                    <a:pt x="307" y="335"/>
                    <a:pt x="307" y="334"/>
                    <a:pt x="308" y="334"/>
                  </a:cubicBezTo>
                  <a:cubicBezTo>
                    <a:pt x="310" y="333"/>
                    <a:pt x="313" y="332"/>
                    <a:pt x="315" y="331"/>
                  </a:cubicBezTo>
                  <a:cubicBezTo>
                    <a:pt x="315" y="355"/>
                    <a:pt x="315" y="355"/>
                    <a:pt x="315" y="355"/>
                  </a:cubicBezTo>
                  <a:cubicBezTo>
                    <a:pt x="315" y="365"/>
                    <a:pt x="323" y="373"/>
                    <a:pt x="332" y="373"/>
                  </a:cubicBezTo>
                  <a:cubicBezTo>
                    <a:pt x="394" y="373"/>
                    <a:pt x="394" y="373"/>
                    <a:pt x="394" y="373"/>
                  </a:cubicBezTo>
                  <a:cubicBezTo>
                    <a:pt x="404" y="373"/>
                    <a:pt x="411" y="365"/>
                    <a:pt x="411" y="355"/>
                  </a:cubicBezTo>
                  <a:cubicBezTo>
                    <a:pt x="411" y="273"/>
                    <a:pt x="411" y="273"/>
                    <a:pt x="411" y="273"/>
                  </a:cubicBezTo>
                  <a:cubicBezTo>
                    <a:pt x="461" y="234"/>
                    <a:pt x="490" y="195"/>
                    <a:pt x="501" y="176"/>
                  </a:cubicBezTo>
                  <a:cubicBezTo>
                    <a:pt x="511" y="191"/>
                    <a:pt x="511" y="191"/>
                    <a:pt x="511" y="191"/>
                  </a:cubicBezTo>
                  <a:cubicBezTo>
                    <a:pt x="513" y="194"/>
                    <a:pt x="517" y="195"/>
                    <a:pt x="520" y="194"/>
                  </a:cubicBezTo>
                  <a:cubicBezTo>
                    <a:pt x="524" y="193"/>
                    <a:pt x="526" y="190"/>
                    <a:pt x="526" y="186"/>
                  </a:cubicBezTo>
                  <a:lnTo>
                    <a:pt x="525" y="68"/>
                  </a:lnTo>
                  <a:close/>
                  <a:moveTo>
                    <a:pt x="226" y="73"/>
                  </a:moveTo>
                  <a:cubicBezTo>
                    <a:pt x="226" y="73"/>
                    <a:pt x="227" y="72"/>
                    <a:pt x="227" y="72"/>
                  </a:cubicBezTo>
                  <a:cubicBezTo>
                    <a:pt x="289" y="72"/>
                    <a:pt x="289" y="72"/>
                    <a:pt x="289" y="72"/>
                  </a:cubicBezTo>
                  <a:cubicBezTo>
                    <a:pt x="290" y="72"/>
                    <a:pt x="290" y="73"/>
                    <a:pt x="290" y="73"/>
                  </a:cubicBezTo>
                  <a:cubicBezTo>
                    <a:pt x="290" y="290"/>
                    <a:pt x="290" y="290"/>
                    <a:pt x="290" y="290"/>
                  </a:cubicBezTo>
                  <a:cubicBezTo>
                    <a:pt x="271" y="301"/>
                    <a:pt x="249" y="310"/>
                    <a:pt x="226" y="318"/>
                  </a:cubicBezTo>
                  <a:lnTo>
                    <a:pt x="226" y="73"/>
                  </a:lnTo>
                  <a:close/>
                  <a:moveTo>
                    <a:pt x="123" y="128"/>
                  </a:moveTo>
                  <a:cubicBezTo>
                    <a:pt x="184" y="128"/>
                    <a:pt x="184" y="128"/>
                    <a:pt x="184" y="128"/>
                  </a:cubicBezTo>
                  <a:cubicBezTo>
                    <a:pt x="185" y="128"/>
                    <a:pt x="186" y="129"/>
                    <a:pt x="186" y="130"/>
                  </a:cubicBezTo>
                  <a:cubicBezTo>
                    <a:pt x="186" y="330"/>
                    <a:pt x="186" y="330"/>
                    <a:pt x="186" y="330"/>
                  </a:cubicBezTo>
                  <a:cubicBezTo>
                    <a:pt x="164" y="336"/>
                    <a:pt x="142" y="341"/>
                    <a:pt x="121" y="344"/>
                  </a:cubicBezTo>
                  <a:cubicBezTo>
                    <a:pt x="121" y="130"/>
                    <a:pt x="121" y="130"/>
                    <a:pt x="121" y="130"/>
                  </a:cubicBezTo>
                  <a:cubicBezTo>
                    <a:pt x="121" y="129"/>
                    <a:pt x="122" y="128"/>
                    <a:pt x="123" y="128"/>
                  </a:cubicBezTo>
                  <a:close/>
                  <a:moveTo>
                    <a:pt x="16" y="186"/>
                  </a:moveTo>
                  <a:cubicBezTo>
                    <a:pt x="16" y="185"/>
                    <a:pt x="17" y="185"/>
                    <a:pt x="18" y="185"/>
                  </a:cubicBezTo>
                  <a:cubicBezTo>
                    <a:pt x="79" y="185"/>
                    <a:pt x="79" y="185"/>
                    <a:pt x="79" y="185"/>
                  </a:cubicBezTo>
                  <a:cubicBezTo>
                    <a:pt x="80" y="185"/>
                    <a:pt x="81" y="185"/>
                    <a:pt x="81" y="186"/>
                  </a:cubicBezTo>
                  <a:cubicBezTo>
                    <a:pt x="81" y="351"/>
                    <a:pt x="81" y="351"/>
                    <a:pt x="81" y="351"/>
                  </a:cubicBezTo>
                  <a:cubicBezTo>
                    <a:pt x="68" y="352"/>
                    <a:pt x="56" y="354"/>
                    <a:pt x="46" y="354"/>
                  </a:cubicBezTo>
                  <a:cubicBezTo>
                    <a:pt x="30" y="356"/>
                    <a:pt x="19" y="357"/>
                    <a:pt x="18" y="357"/>
                  </a:cubicBezTo>
                  <a:cubicBezTo>
                    <a:pt x="17" y="357"/>
                    <a:pt x="16" y="356"/>
                    <a:pt x="16" y="355"/>
                  </a:cubicBezTo>
                  <a:lnTo>
                    <a:pt x="16" y="186"/>
                  </a:lnTo>
                  <a:close/>
                  <a:moveTo>
                    <a:pt x="290" y="355"/>
                  </a:moveTo>
                  <a:cubicBezTo>
                    <a:pt x="290" y="356"/>
                    <a:pt x="290" y="357"/>
                    <a:pt x="289" y="357"/>
                  </a:cubicBezTo>
                  <a:cubicBezTo>
                    <a:pt x="235" y="357"/>
                    <a:pt x="235" y="357"/>
                    <a:pt x="235" y="357"/>
                  </a:cubicBezTo>
                  <a:cubicBezTo>
                    <a:pt x="254" y="353"/>
                    <a:pt x="273" y="347"/>
                    <a:pt x="290" y="341"/>
                  </a:cubicBezTo>
                  <a:lnTo>
                    <a:pt x="290" y="355"/>
                  </a:lnTo>
                  <a:close/>
                  <a:moveTo>
                    <a:pt x="395" y="355"/>
                  </a:moveTo>
                  <a:cubicBezTo>
                    <a:pt x="395" y="356"/>
                    <a:pt x="395" y="357"/>
                    <a:pt x="394" y="357"/>
                  </a:cubicBezTo>
                  <a:cubicBezTo>
                    <a:pt x="332" y="357"/>
                    <a:pt x="332" y="357"/>
                    <a:pt x="332" y="357"/>
                  </a:cubicBezTo>
                  <a:cubicBezTo>
                    <a:pt x="332" y="357"/>
                    <a:pt x="331" y="356"/>
                    <a:pt x="331" y="355"/>
                  </a:cubicBezTo>
                  <a:cubicBezTo>
                    <a:pt x="331" y="323"/>
                    <a:pt x="331" y="323"/>
                    <a:pt x="331" y="323"/>
                  </a:cubicBezTo>
                  <a:cubicBezTo>
                    <a:pt x="355" y="312"/>
                    <a:pt x="377" y="299"/>
                    <a:pt x="395" y="285"/>
                  </a:cubicBezTo>
                  <a:lnTo>
                    <a:pt x="395" y="355"/>
                  </a:lnTo>
                  <a:close/>
                  <a:moveTo>
                    <a:pt x="507" y="157"/>
                  </a:moveTo>
                  <a:cubicBezTo>
                    <a:pt x="506" y="155"/>
                    <a:pt x="503" y="153"/>
                    <a:pt x="500" y="154"/>
                  </a:cubicBezTo>
                  <a:cubicBezTo>
                    <a:pt x="497" y="154"/>
                    <a:pt x="495" y="155"/>
                    <a:pt x="494" y="158"/>
                  </a:cubicBezTo>
                  <a:cubicBezTo>
                    <a:pt x="494" y="158"/>
                    <a:pt x="493" y="159"/>
                    <a:pt x="491" y="162"/>
                  </a:cubicBezTo>
                  <a:cubicBezTo>
                    <a:pt x="480" y="182"/>
                    <a:pt x="425" y="267"/>
                    <a:pt x="301" y="319"/>
                  </a:cubicBezTo>
                  <a:cubicBezTo>
                    <a:pt x="260" y="337"/>
                    <a:pt x="210" y="347"/>
                    <a:pt x="164" y="352"/>
                  </a:cubicBezTo>
                  <a:cubicBezTo>
                    <a:pt x="212" y="341"/>
                    <a:pt x="264" y="325"/>
                    <a:pt x="305" y="300"/>
                  </a:cubicBezTo>
                  <a:cubicBezTo>
                    <a:pt x="368" y="262"/>
                    <a:pt x="442" y="182"/>
                    <a:pt x="469" y="120"/>
                  </a:cubicBezTo>
                  <a:cubicBezTo>
                    <a:pt x="471" y="117"/>
                    <a:pt x="469" y="112"/>
                    <a:pt x="466" y="110"/>
                  </a:cubicBezTo>
                  <a:cubicBezTo>
                    <a:pt x="455" y="104"/>
                    <a:pt x="455" y="104"/>
                    <a:pt x="455" y="104"/>
                  </a:cubicBezTo>
                  <a:cubicBezTo>
                    <a:pt x="509" y="80"/>
                    <a:pt x="509" y="80"/>
                    <a:pt x="509" y="80"/>
                  </a:cubicBezTo>
                  <a:cubicBezTo>
                    <a:pt x="510" y="161"/>
                    <a:pt x="510" y="161"/>
                    <a:pt x="510" y="161"/>
                  </a:cubicBezTo>
                  <a:lnTo>
                    <a:pt x="507" y="157"/>
                  </a:lnTo>
                  <a:close/>
                </a:path>
              </a:pathLst>
            </a:custGeom>
            <a:solidFill>
              <a:srgbClr val="7B06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51" name="Rounded Rectangle 48"/>
            <p:cNvSpPr>
              <a:spLocks noChangeArrowheads="1"/>
            </p:cNvSpPr>
            <p:nvPr/>
          </p:nvSpPr>
          <p:spPr bwMode="auto">
            <a:xfrm rot="-5400000">
              <a:off x="-1144896" y="3899023"/>
              <a:ext cx="4449782" cy="668071"/>
            </a:xfrm>
            <a:prstGeom prst="roundRect">
              <a:avLst>
                <a:gd name="adj" fmla="val 16667"/>
              </a:avLst>
            </a:prstGeom>
            <a:solidFill>
              <a:srgbClr val="87888A"/>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nchor="ctr"/>
            <a:lstStyle/>
            <a:p>
              <a:pPr algn="ctr"/>
              <a:r>
                <a:rPr lang="en-US" sz="2400">
                  <a:solidFill>
                    <a:srgbClr val="FFFFFF"/>
                  </a:solidFill>
                  <a:cs typeface="Arial" pitchFamily="34" charset="0"/>
                </a:rPr>
                <a:t>CxO TOP PRIORITIES</a:t>
              </a:r>
            </a:p>
          </p:txBody>
        </p:sp>
        <p:sp>
          <p:nvSpPr>
            <p:cNvPr id="52" name="Freeform 3"/>
            <p:cNvSpPr>
              <a:spLocks noChangeAspect="1" noEditPoints="1"/>
            </p:cNvSpPr>
            <p:nvPr/>
          </p:nvSpPr>
          <p:spPr bwMode="auto">
            <a:xfrm>
              <a:off x="1736592" y="3733700"/>
              <a:ext cx="1356687" cy="986148"/>
            </a:xfrm>
            <a:custGeom>
              <a:avLst/>
              <a:gdLst>
                <a:gd name="T0" fmla="*/ 2147483647 w 421"/>
                <a:gd name="T1" fmla="*/ 2147483647 h 318"/>
                <a:gd name="T2" fmla="*/ 2147483647 w 421"/>
                <a:gd name="T3" fmla="*/ 2147483647 h 318"/>
                <a:gd name="T4" fmla="*/ 2147483647 w 421"/>
                <a:gd name="T5" fmla="*/ 2147483647 h 318"/>
                <a:gd name="T6" fmla="*/ 2147483647 w 421"/>
                <a:gd name="T7" fmla="*/ 2147483647 h 318"/>
                <a:gd name="T8" fmla="*/ 2147483647 w 421"/>
                <a:gd name="T9" fmla="*/ 2147483647 h 318"/>
                <a:gd name="T10" fmla="*/ 2147483647 w 421"/>
                <a:gd name="T11" fmla="*/ 2147483647 h 318"/>
                <a:gd name="T12" fmla="*/ 2147483647 w 421"/>
                <a:gd name="T13" fmla="*/ 2147483647 h 318"/>
                <a:gd name="T14" fmla="*/ 2147483647 w 421"/>
                <a:gd name="T15" fmla="*/ 2147483647 h 318"/>
                <a:gd name="T16" fmla="*/ 2147483647 w 421"/>
                <a:gd name="T17" fmla="*/ 2147483647 h 318"/>
                <a:gd name="T18" fmla="*/ 2147483647 w 421"/>
                <a:gd name="T19" fmla="*/ 2147483647 h 318"/>
                <a:gd name="T20" fmla="*/ 2147483647 w 421"/>
                <a:gd name="T21" fmla="*/ 2147483647 h 318"/>
                <a:gd name="T22" fmla="*/ 2147483647 w 421"/>
                <a:gd name="T23" fmla="*/ 2147483647 h 318"/>
                <a:gd name="T24" fmla="*/ 2147483647 w 421"/>
                <a:gd name="T25" fmla="*/ 2147483647 h 318"/>
                <a:gd name="T26" fmla="*/ 2147483647 w 421"/>
                <a:gd name="T27" fmla="*/ 2147483647 h 318"/>
                <a:gd name="T28" fmla="*/ 2147483647 w 421"/>
                <a:gd name="T29" fmla="*/ 2147483647 h 318"/>
                <a:gd name="T30" fmla="*/ 2147483647 w 421"/>
                <a:gd name="T31" fmla="*/ 2147483647 h 318"/>
                <a:gd name="T32" fmla="*/ 2147483647 w 421"/>
                <a:gd name="T33" fmla="*/ 2147483647 h 318"/>
                <a:gd name="T34" fmla="*/ 2147483647 w 421"/>
                <a:gd name="T35" fmla="*/ 2147483647 h 318"/>
                <a:gd name="T36" fmla="*/ 2147483647 w 421"/>
                <a:gd name="T37" fmla="*/ 2147483647 h 318"/>
                <a:gd name="T38" fmla="*/ 2147483647 w 421"/>
                <a:gd name="T39" fmla="*/ 2147483647 h 318"/>
                <a:gd name="T40" fmla="*/ 2147483647 w 421"/>
                <a:gd name="T41" fmla="*/ 2147483647 h 318"/>
                <a:gd name="T42" fmla="*/ 2147483647 w 421"/>
                <a:gd name="T43" fmla="*/ 2147483647 h 318"/>
                <a:gd name="T44" fmla="*/ 2147483647 w 421"/>
                <a:gd name="T45" fmla="*/ 2147483647 h 318"/>
                <a:gd name="T46" fmla="*/ 2147483647 w 421"/>
                <a:gd name="T47" fmla="*/ 2147483647 h 318"/>
                <a:gd name="T48" fmla="*/ 2147483647 w 421"/>
                <a:gd name="T49" fmla="*/ 2147483647 h 318"/>
                <a:gd name="T50" fmla="*/ 2147483647 w 421"/>
                <a:gd name="T51" fmla="*/ 2147483647 h 318"/>
                <a:gd name="T52" fmla="*/ 2147483647 w 421"/>
                <a:gd name="T53" fmla="*/ 2147483647 h 318"/>
                <a:gd name="T54" fmla="*/ 2147483647 w 421"/>
                <a:gd name="T55" fmla="*/ 2147483647 h 318"/>
                <a:gd name="T56" fmla="*/ 2147483647 w 421"/>
                <a:gd name="T57" fmla="*/ 2147483647 h 318"/>
                <a:gd name="T58" fmla="*/ 2147483647 w 421"/>
                <a:gd name="T59" fmla="*/ 2147483647 h 318"/>
                <a:gd name="T60" fmla="*/ 2147483647 w 421"/>
                <a:gd name="T61" fmla="*/ 2147483647 h 318"/>
                <a:gd name="T62" fmla="*/ 2147483647 w 421"/>
                <a:gd name="T63" fmla="*/ 2147483647 h 318"/>
                <a:gd name="T64" fmla="*/ 2147483647 w 421"/>
                <a:gd name="T65" fmla="*/ 2147483647 h 318"/>
                <a:gd name="T66" fmla="*/ 2147483647 w 421"/>
                <a:gd name="T67" fmla="*/ 2147483647 h 318"/>
                <a:gd name="T68" fmla="*/ 2147483647 w 421"/>
                <a:gd name="T69" fmla="*/ 2147483647 h 318"/>
                <a:gd name="T70" fmla="*/ 2147483647 w 421"/>
                <a:gd name="T71" fmla="*/ 2147483647 h 318"/>
                <a:gd name="T72" fmla="*/ 2147483647 w 421"/>
                <a:gd name="T73" fmla="*/ 2147483647 h 318"/>
                <a:gd name="T74" fmla="*/ 2147483647 w 421"/>
                <a:gd name="T75" fmla="*/ 2147483647 h 318"/>
                <a:gd name="T76" fmla="*/ 2147483647 w 421"/>
                <a:gd name="T77" fmla="*/ 2147483647 h 318"/>
                <a:gd name="T78" fmla="*/ 2147483647 w 421"/>
                <a:gd name="T79" fmla="*/ 2147483647 h 318"/>
                <a:gd name="T80" fmla="*/ 2147483647 w 421"/>
                <a:gd name="T81" fmla="*/ 2147483647 h 318"/>
                <a:gd name="T82" fmla="*/ 2147483647 w 421"/>
                <a:gd name="T83" fmla="*/ 2147483647 h 318"/>
                <a:gd name="T84" fmla="*/ 2147483647 w 421"/>
                <a:gd name="T85" fmla="*/ 2147483647 h 318"/>
                <a:gd name="T86" fmla="*/ 2147483647 w 421"/>
                <a:gd name="T87" fmla="*/ 2147483647 h 318"/>
                <a:gd name="T88" fmla="*/ 2147483647 w 421"/>
                <a:gd name="T89" fmla="*/ 2147483647 h 318"/>
                <a:gd name="T90" fmla="*/ 2147483647 w 421"/>
                <a:gd name="T91" fmla="*/ 2147483647 h 318"/>
                <a:gd name="T92" fmla="*/ 2147483647 w 421"/>
                <a:gd name="T93" fmla="*/ 2147483647 h 318"/>
                <a:gd name="T94" fmla="*/ 2147483647 w 421"/>
                <a:gd name="T95" fmla="*/ 2147483647 h 318"/>
                <a:gd name="T96" fmla="*/ 2147483647 w 421"/>
                <a:gd name="T97" fmla="*/ 2147483647 h 3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21"/>
                <a:gd name="T148" fmla="*/ 0 h 318"/>
                <a:gd name="T149" fmla="*/ 421 w 421"/>
                <a:gd name="T150" fmla="*/ 318 h 31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21" h="318">
                  <a:moveTo>
                    <a:pt x="188" y="71"/>
                  </a:moveTo>
                  <a:cubicBezTo>
                    <a:pt x="211" y="54"/>
                    <a:pt x="211" y="54"/>
                    <a:pt x="211" y="54"/>
                  </a:cubicBezTo>
                  <a:cubicBezTo>
                    <a:pt x="234" y="71"/>
                    <a:pt x="234" y="71"/>
                    <a:pt x="234" y="71"/>
                  </a:cubicBezTo>
                  <a:cubicBezTo>
                    <a:pt x="225" y="44"/>
                    <a:pt x="225" y="44"/>
                    <a:pt x="225" y="44"/>
                  </a:cubicBezTo>
                  <a:cubicBezTo>
                    <a:pt x="248" y="27"/>
                    <a:pt x="248" y="27"/>
                    <a:pt x="248" y="27"/>
                  </a:cubicBezTo>
                  <a:cubicBezTo>
                    <a:pt x="219" y="27"/>
                    <a:pt x="219" y="27"/>
                    <a:pt x="219" y="27"/>
                  </a:cubicBezTo>
                  <a:cubicBezTo>
                    <a:pt x="211" y="0"/>
                    <a:pt x="211" y="0"/>
                    <a:pt x="211" y="0"/>
                  </a:cubicBezTo>
                  <a:cubicBezTo>
                    <a:pt x="202" y="27"/>
                    <a:pt x="202" y="27"/>
                    <a:pt x="202" y="27"/>
                  </a:cubicBezTo>
                  <a:cubicBezTo>
                    <a:pt x="173" y="27"/>
                    <a:pt x="173" y="27"/>
                    <a:pt x="173" y="27"/>
                  </a:cubicBezTo>
                  <a:cubicBezTo>
                    <a:pt x="196" y="44"/>
                    <a:pt x="196" y="44"/>
                    <a:pt x="196" y="44"/>
                  </a:cubicBezTo>
                  <a:lnTo>
                    <a:pt x="188" y="71"/>
                  </a:lnTo>
                  <a:close/>
                  <a:moveTo>
                    <a:pt x="100" y="100"/>
                  </a:moveTo>
                  <a:cubicBezTo>
                    <a:pt x="129" y="96"/>
                    <a:pt x="129" y="96"/>
                    <a:pt x="129" y="96"/>
                  </a:cubicBezTo>
                  <a:cubicBezTo>
                    <a:pt x="103" y="83"/>
                    <a:pt x="103" y="83"/>
                    <a:pt x="103" y="83"/>
                  </a:cubicBezTo>
                  <a:cubicBezTo>
                    <a:pt x="108" y="54"/>
                    <a:pt x="108" y="54"/>
                    <a:pt x="108" y="54"/>
                  </a:cubicBezTo>
                  <a:cubicBezTo>
                    <a:pt x="87" y="75"/>
                    <a:pt x="87" y="75"/>
                    <a:pt x="87" y="75"/>
                  </a:cubicBezTo>
                  <a:cubicBezTo>
                    <a:pt x="62" y="62"/>
                    <a:pt x="62" y="62"/>
                    <a:pt x="62" y="62"/>
                  </a:cubicBezTo>
                  <a:cubicBezTo>
                    <a:pt x="75" y="87"/>
                    <a:pt x="75" y="87"/>
                    <a:pt x="75" y="87"/>
                  </a:cubicBezTo>
                  <a:cubicBezTo>
                    <a:pt x="55" y="107"/>
                    <a:pt x="55" y="107"/>
                    <a:pt x="55" y="107"/>
                  </a:cubicBezTo>
                  <a:cubicBezTo>
                    <a:pt x="83" y="103"/>
                    <a:pt x="83" y="103"/>
                    <a:pt x="83" y="103"/>
                  </a:cubicBezTo>
                  <a:cubicBezTo>
                    <a:pt x="96" y="128"/>
                    <a:pt x="96" y="128"/>
                    <a:pt x="96" y="128"/>
                  </a:cubicBezTo>
                  <a:lnTo>
                    <a:pt x="100" y="100"/>
                  </a:lnTo>
                  <a:close/>
                  <a:moveTo>
                    <a:pt x="355" y="87"/>
                  </a:moveTo>
                  <a:cubicBezTo>
                    <a:pt x="368" y="62"/>
                    <a:pt x="368" y="62"/>
                    <a:pt x="368" y="62"/>
                  </a:cubicBezTo>
                  <a:cubicBezTo>
                    <a:pt x="343" y="75"/>
                    <a:pt x="343" y="75"/>
                    <a:pt x="343" y="75"/>
                  </a:cubicBezTo>
                  <a:cubicBezTo>
                    <a:pt x="323" y="54"/>
                    <a:pt x="323" y="54"/>
                    <a:pt x="323" y="54"/>
                  </a:cubicBezTo>
                  <a:cubicBezTo>
                    <a:pt x="327" y="83"/>
                    <a:pt x="327" y="83"/>
                    <a:pt x="327" y="83"/>
                  </a:cubicBezTo>
                  <a:cubicBezTo>
                    <a:pt x="302" y="96"/>
                    <a:pt x="302" y="96"/>
                    <a:pt x="302" y="96"/>
                  </a:cubicBezTo>
                  <a:cubicBezTo>
                    <a:pt x="330" y="100"/>
                    <a:pt x="330" y="100"/>
                    <a:pt x="330" y="100"/>
                  </a:cubicBezTo>
                  <a:cubicBezTo>
                    <a:pt x="334" y="128"/>
                    <a:pt x="334" y="128"/>
                    <a:pt x="334" y="128"/>
                  </a:cubicBezTo>
                  <a:cubicBezTo>
                    <a:pt x="347" y="103"/>
                    <a:pt x="347" y="103"/>
                    <a:pt x="347" y="103"/>
                  </a:cubicBezTo>
                  <a:cubicBezTo>
                    <a:pt x="376" y="107"/>
                    <a:pt x="376" y="107"/>
                    <a:pt x="376" y="107"/>
                  </a:cubicBezTo>
                  <a:lnTo>
                    <a:pt x="355" y="87"/>
                  </a:lnTo>
                  <a:close/>
                  <a:moveTo>
                    <a:pt x="44" y="196"/>
                  </a:moveTo>
                  <a:cubicBezTo>
                    <a:pt x="28" y="173"/>
                    <a:pt x="28" y="173"/>
                    <a:pt x="28" y="173"/>
                  </a:cubicBezTo>
                  <a:cubicBezTo>
                    <a:pt x="28" y="201"/>
                    <a:pt x="28" y="201"/>
                    <a:pt x="28" y="201"/>
                  </a:cubicBezTo>
                  <a:cubicBezTo>
                    <a:pt x="0" y="210"/>
                    <a:pt x="0" y="210"/>
                    <a:pt x="0" y="210"/>
                  </a:cubicBezTo>
                  <a:cubicBezTo>
                    <a:pt x="28" y="219"/>
                    <a:pt x="28" y="219"/>
                    <a:pt x="28" y="219"/>
                  </a:cubicBezTo>
                  <a:cubicBezTo>
                    <a:pt x="28" y="248"/>
                    <a:pt x="28" y="248"/>
                    <a:pt x="28" y="248"/>
                  </a:cubicBezTo>
                  <a:cubicBezTo>
                    <a:pt x="44" y="225"/>
                    <a:pt x="44" y="225"/>
                    <a:pt x="44" y="225"/>
                  </a:cubicBezTo>
                  <a:cubicBezTo>
                    <a:pt x="72" y="233"/>
                    <a:pt x="72" y="233"/>
                    <a:pt x="72" y="233"/>
                  </a:cubicBezTo>
                  <a:cubicBezTo>
                    <a:pt x="55" y="210"/>
                    <a:pt x="55" y="210"/>
                    <a:pt x="55" y="210"/>
                  </a:cubicBezTo>
                  <a:cubicBezTo>
                    <a:pt x="72" y="187"/>
                    <a:pt x="72" y="187"/>
                    <a:pt x="72" y="187"/>
                  </a:cubicBezTo>
                  <a:lnTo>
                    <a:pt x="44" y="196"/>
                  </a:lnTo>
                  <a:close/>
                  <a:moveTo>
                    <a:pt x="394" y="201"/>
                  </a:moveTo>
                  <a:cubicBezTo>
                    <a:pt x="394" y="173"/>
                    <a:pt x="394" y="173"/>
                    <a:pt x="394" y="173"/>
                  </a:cubicBezTo>
                  <a:cubicBezTo>
                    <a:pt x="377" y="196"/>
                    <a:pt x="377" y="196"/>
                    <a:pt x="377" y="196"/>
                  </a:cubicBezTo>
                  <a:cubicBezTo>
                    <a:pt x="350" y="187"/>
                    <a:pt x="350" y="187"/>
                    <a:pt x="350" y="187"/>
                  </a:cubicBezTo>
                  <a:cubicBezTo>
                    <a:pt x="367" y="210"/>
                    <a:pt x="367" y="210"/>
                    <a:pt x="367" y="210"/>
                  </a:cubicBezTo>
                  <a:cubicBezTo>
                    <a:pt x="350" y="233"/>
                    <a:pt x="350" y="233"/>
                    <a:pt x="350" y="233"/>
                  </a:cubicBezTo>
                  <a:cubicBezTo>
                    <a:pt x="377" y="225"/>
                    <a:pt x="377" y="225"/>
                    <a:pt x="377" y="225"/>
                  </a:cubicBezTo>
                  <a:cubicBezTo>
                    <a:pt x="394" y="248"/>
                    <a:pt x="394" y="248"/>
                    <a:pt x="394" y="248"/>
                  </a:cubicBezTo>
                  <a:cubicBezTo>
                    <a:pt x="394" y="219"/>
                    <a:pt x="394" y="219"/>
                    <a:pt x="394" y="219"/>
                  </a:cubicBezTo>
                  <a:cubicBezTo>
                    <a:pt x="421" y="210"/>
                    <a:pt x="421" y="210"/>
                    <a:pt x="421" y="210"/>
                  </a:cubicBezTo>
                  <a:lnTo>
                    <a:pt x="394" y="201"/>
                  </a:lnTo>
                  <a:close/>
                  <a:moveTo>
                    <a:pt x="320" y="173"/>
                  </a:moveTo>
                  <a:cubicBezTo>
                    <a:pt x="242" y="173"/>
                    <a:pt x="242" y="173"/>
                    <a:pt x="242" y="173"/>
                  </a:cubicBezTo>
                  <a:cubicBezTo>
                    <a:pt x="240" y="167"/>
                    <a:pt x="240" y="167"/>
                    <a:pt x="240" y="167"/>
                  </a:cubicBezTo>
                  <a:cubicBezTo>
                    <a:pt x="239" y="163"/>
                    <a:pt x="234" y="160"/>
                    <a:pt x="230" y="162"/>
                  </a:cubicBezTo>
                  <a:cubicBezTo>
                    <a:pt x="226" y="163"/>
                    <a:pt x="224" y="167"/>
                    <a:pt x="225" y="172"/>
                  </a:cubicBezTo>
                  <a:cubicBezTo>
                    <a:pt x="229" y="184"/>
                    <a:pt x="229" y="184"/>
                    <a:pt x="229" y="184"/>
                  </a:cubicBezTo>
                  <a:cubicBezTo>
                    <a:pt x="230" y="187"/>
                    <a:pt x="233" y="189"/>
                    <a:pt x="236" y="189"/>
                  </a:cubicBezTo>
                  <a:cubicBezTo>
                    <a:pt x="295" y="189"/>
                    <a:pt x="295" y="189"/>
                    <a:pt x="295" y="189"/>
                  </a:cubicBezTo>
                  <a:cubicBezTo>
                    <a:pt x="248" y="224"/>
                    <a:pt x="248" y="224"/>
                    <a:pt x="248" y="224"/>
                  </a:cubicBezTo>
                  <a:cubicBezTo>
                    <a:pt x="245" y="226"/>
                    <a:pt x="244" y="230"/>
                    <a:pt x="245" y="233"/>
                  </a:cubicBezTo>
                  <a:cubicBezTo>
                    <a:pt x="263" y="289"/>
                    <a:pt x="263" y="289"/>
                    <a:pt x="263" y="289"/>
                  </a:cubicBezTo>
                  <a:cubicBezTo>
                    <a:pt x="215" y="254"/>
                    <a:pt x="215" y="254"/>
                    <a:pt x="215" y="254"/>
                  </a:cubicBezTo>
                  <a:cubicBezTo>
                    <a:pt x="213" y="252"/>
                    <a:pt x="209" y="252"/>
                    <a:pt x="206" y="254"/>
                  </a:cubicBezTo>
                  <a:cubicBezTo>
                    <a:pt x="158" y="289"/>
                    <a:pt x="158" y="289"/>
                    <a:pt x="158" y="289"/>
                  </a:cubicBezTo>
                  <a:cubicBezTo>
                    <a:pt x="176" y="233"/>
                    <a:pt x="176" y="233"/>
                    <a:pt x="176" y="233"/>
                  </a:cubicBezTo>
                  <a:cubicBezTo>
                    <a:pt x="178" y="230"/>
                    <a:pt x="176" y="226"/>
                    <a:pt x="174" y="224"/>
                  </a:cubicBezTo>
                  <a:cubicBezTo>
                    <a:pt x="126" y="189"/>
                    <a:pt x="126" y="189"/>
                    <a:pt x="126" y="189"/>
                  </a:cubicBezTo>
                  <a:cubicBezTo>
                    <a:pt x="185" y="189"/>
                    <a:pt x="185" y="189"/>
                    <a:pt x="185" y="189"/>
                  </a:cubicBezTo>
                  <a:cubicBezTo>
                    <a:pt x="188" y="189"/>
                    <a:pt x="191" y="187"/>
                    <a:pt x="192" y="184"/>
                  </a:cubicBezTo>
                  <a:cubicBezTo>
                    <a:pt x="211" y="128"/>
                    <a:pt x="211" y="128"/>
                    <a:pt x="211" y="128"/>
                  </a:cubicBezTo>
                  <a:cubicBezTo>
                    <a:pt x="215" y="141"/>
                    <a:pt x="215" y="141"/>
                    <a:pt x="215" y="141"/>
                  </a:cubicBezTo>
                  <a:cubicBezTo>
                    <a:pt x="216" y="145"/>
                    <a:pt x="221" y="148"/>
                    <a:pt x="225" y="146"/>
                  </a:cubicBezTo>
                  <a:cubicBezTo>
                    <a:pt x="229" y="145"/>
                    <a:pt x="232" y="140"/>
                    <a:pt x="230" y="136"/>
                  </a:cubicBezTo>
                  <a:cubicBezTo>
                    <a:pt x="218" y="99"/>
                    <a:pt x="218" y="99"/>
                    <a:pt x="218" y="99"/>
                  </a:cubicBezTo>
                  <a:cubicBezTo>
                    <a:pt x="217" y="96"/>
                    <a:pt x="214" y="94"/>
                    <a:pt x="211" y="94"/>
                  </a:cubicBezTo>
                  <a:cubicBezTo>
                    <a:pt x="207" y="94"/>
                    <a:pt x="204" y="96"/>
                    <a:pt x="203" y="99"/>
                  </a:cubicBezTo>
                  <a:cubicBezTo>
                    <a:pt x="179" y="173"/>
                    <a:pt x="179" y="173"/>
                    <a:pt x="179" y="173"/>
                  </a:cubicBezTo>
                  <a:cubicBezTo>
                    <a:pt x="101" y="173"/>
                    <a:pt x="101" y="173"/>
                    <a:pt x="101" y="173"/>
                  </a:cubicBezTo>
                  <a:cubicBezTo>
                    <a:pt x="98" y="173"/>
                    <a:pt x="95" y="176"/>
                    <a:pt x="94" y="179"/>
                  </a:cubicBezTo>
                  <a:cubicBezTo>
                    <a:pt x="93" y="182"/>
                    <a:pt x="94" y="186"/>
                    <a:pt x="97" y="188"/>
                  </a:cubicBezTo>
                  <a:cubicBezTo>
                    <a:pt x="159" y="233"/>
                    <a:pt x="159" y="233"/>
                    <a:pt x="159" y="233"/>
                  </a:cubicBezTo>
                  <a:cubicBezTo>
                    <a:pt x="135" y="307"/>
                    <a:pt x="135" y="307"/>
                    <a:pt x="135" y="307"/>
                  </a:cubicBezTo>
                  <a:cubicBezTo>
                    <a:pt x="134" y="311"/>
                    <a:pt x="136" y="314"/>
                    <a:pt x="138" y="316"/>
                  </a:cubicBezTo>
                  <a:cubicBezTo>
                    <a:pt x="140" y="317"/>
                    <a:pt x="141" y="318"/>
                    <a:pt x="143" y="318"/>
                  </a:cubicBezTo>
                  <a:cubicBezTo>
                    <a:pt x="145" y="318"/>
                    <a:pt x="146" y="317"/>
                    <a:pt x="148" y="316"/>
                  </a:cubicBezTo>
                  <a:cubicBezTo>
                    <a:pt x="211" y="271"/>
                    <a:pt x="211" y="271"/>
                    <a:pt x="211" y="271"/>
                  </a:cubicBezTo>
                  <a:cubicBezTo>
                    <a:pt x="274" y="316"/>
                    <a:pt x="274" y="316"/>
                    <a:pt x="274" y="316"/>
                  </a:cubicBezTo>
                  <a:cubicBezTo>
                    <a:pt x="276" y="318"/>
                    <a:pt x="280" y="318"/>
                    <a:pt x="283" y="316"/>
                  </a:cubicBezTo>
                  <a:cubicBezTo>
                    <a:pt x="286" y="314"/>
                    <a:pt x="287" y="311"/>
                    <a:pt x="286" y="307"/>
                  </a:cubicBezTo>
                  <a:cubicBezTo>
                    <a:pt x="262" y="233"/>
                    <a:pt x="262" y="233"/>
                    <a:pt x="262" y="233"/>
                  </a:cubicBezTo>
                  <a:cubicBezTo>
                    <a:pt x="325" y="188"/>
                    <a:pt x="325" y="188"/>
                    <a:pt x="325" y="188"/>
                  </a:cubicBezTo>
                  <a:cubicBezTo>
                    <a:pt x="328" y="186"/>
                    <a:pt x="329" y="182"/>
                    <a:pt x="328" y="179"/>
                  </a:cubicBezTo>
                  <a:cubicBezTo>
                    <a:pt x="327" y="176"/>
                    <a:pt x="323" y="173"/>
                    <a:pt x="320" y="173"/>
                  </a:cubicBezTo>
                  <a:close/>
                </a:path>
              </a:pathLst>
            </a:custGeom>
            <a:solidFill>
              <a:srgbClr val="007B7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grpSp>
        <p:nvGrpSpPr>
          <p:cNvPr id="27" name="Group 5"/>
          <p:cNvGrpSpPr>
            <a:grpSpLocks/>
          </p:cNvGrpSpPr>
          <p:nvPr/>
        </p:nvGrpSpPr>
        <p:grpSpPr bwMode="auto">
          <a:xfrm>
            <a:off x="6654539" y="990351"/>
            <a:ext cx="2184661" cy="4509936"/>
            <a:chOff x="8325085" y="517906"/>
            <a:chExt cx="2838450" cy="5856829"/>
          </a:xfrm>
        </p:grpSpPr>
        <p:sp>
          <p:nvSpPr>
            <p:cNvPr id="28" name="Rectangle 20"/>
            <p:cNvSpPr>
              <a:spLocks noChangeArrowheads="1"/>
            </p:cNvSpPr>
            <p:nvPr/>
          </p:nvSpPr>
          <p:spPr bwMode="auto">
            <a:xfrm>
              <a:off x="8557725" y="4784992"/>
              <a:ext cx="2382163" cy="127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a:lnSpc>
                  <a:spcPct val="90000"/>
                </a:lnSpc>
              </a:pPr>
              <a:r>
                <a:rPr lang="en-US" sz="1600">
                  <a:solidFill>
                    <a:srgbClr val="8F3F7B"/>
                  </a:solidFill>
                  <a:cs typeface="Arial" pitchFamily="34" charset="0"/>
                </a:rPr>
                <a:t>Create new initiatives to counter OTT services </a:t>
              </a:r>
            </a:p>
          </p:txBody>
        </p:sp>
        <p:sp>
          <p:nvSpPr>
            <p:cNvPr id="29" name="Freeform 3"/>
            <p:cNvSpPr>
              <a:spLocks noChangeAspect="1"/>
            </p:cNvSpPr>
            <p:nvPr/>
          </p:nvSpPr>
          <p:spPr bwMode="auto">
            <a:xfrm>
              <a:off x="8325085" y="517906"/>
              <a:ext cx="2838450" cy="1956620"/>
            </a:xfrm>
            <a:custGeom>
              <a:avLst/>
              <a:gdLst>
                <a:gd name="T0" fmla="*/ 2147483647 w 403"/>
                <a:gd name="T1" fmla="*/ 2147483647 h 292"/>
                <a:gd name="T2" fmla="*/ 2147483647 w 403"/>
                <a:gd name="T3" fmla="*/ 2147483647 h 292"/>
                <a:gd name="T4" fmla="*/ 2147483647 w 403"/>
                <a:gd name="T5" fmla="*/ 2147483647 h 292"/>
                <a:gd name="T6" fmla="*/ 2147483647 w 403"/>
                <a:gd name="T7" fmla="*/ 2147483647 h 292"/>
                <a:gd name="T8" fmla="*/ 2147483647 w 403"/>
                <a:gd name="T9" fmla="*/ 2147483647 h 292"/>
                <a:gd name="T10" fmla="*/ 2147483647 w 403"/>
                <a:gd name="T11" fmla="*/ 2147483647 h 292"/>
                <a:gd name="T12" fmla="*/ 2147483647 w 403"/>
                <a:gd name="T13" fmla="*/ 2147483647 h 292"/>
                <a:gd name="T14" fmla="*/ 2147483647 w 403"/>
                <a:gd name="T15" fmla="*/ 2147483647 h 292"/>
                <a:gd name="T16" fmla="*/ 2147483647 w 403"/>
                <a:gd name="T17" fmla="*/ 2147483647 h 292"/>
                <a:gd name="T18" fmla="*/ 2147483647 w 403"/>
                <a:gd name="T19" fmla="*/ 2147483647 h 292"/>
                <a:gd name="T20" fmla="*/ 2147483647 w 403"/>
                <a:gd name="T21" fmla="*/ 2147483647 h 292"/>
                <a:gd name="T22" fmla="*/ 2147483647 w 403"/>
                <a:gd name="T23" fmla="*/ 2147483647 h 292"/>
                <a:gd name="T24" fmla="*/ 2147483647 w 403"/>
                <a:gd name="T25" fmla="*/ 2147483647 h 292"/>
                <a:gd name="T26" fmla="*/ 2147483647 w 403"/>
                <a:gd name="T27" fmla="*/ 2147483647 h 292"/>
                <a:gd name="T28" fmla="*/ 2147483647 w 403"/>
                <a:gd name="T29" fmla="*/ 2147483647 h 292"/>
                <a:gd name="T30" fmla="*/ 2147483647 w 403"/>
                <a:gd name="T31" fmla="*/ 2147483647 h 292"/>
                <a:gd name="T32" fmla="*/ 2147483647 w 403"/>
                <a:gd name="T33" fmla="*/ 2147483647 h 292"/>
                <a:gd name="T34" fmla="*/ 2147483647 w 403"/>
                <a:gd name="T35" fmla="*/ 0 h 292"/>
                <a:gd name="T36" fmla="*/ 2147483647 w 403"/>
                <a:gd name="T37" fmla="*/ 2147483647 h 292"/>
                <a:gd name="T38" fmla="*/ 2147483647 w 403"/>
                <a:gd name="T39" fmla="*/ 2147483647 h 292"/>
                <a:gd name="T40" fmla="*/ 2147483647 w 403"/>
                <a:gd name="T41" fmla="*/ 2147483647 h 292"/>
                <a:gd name="T42" fmla="*/ 2147483647 w 403"/>
                <a:gd name="T43" fmla="*/ 2147483647 h 292"/>
                <a:gd name="T44" fmla="*/ 2147483647 w 403"/>
                <a:gd name="T45" fmla="*/ 2147483647 h 292"/>
                <a:gd name="T46" fmla="*/ 2147483647 w 403"/>
                <a:gd name="T47" fmla="*/ 2147483647 h 292"/>
                <a:gd name="T48" fmla="*/ 2147483647 w 403"/>
                <a:gd name="T49" fmla="*/ 2147483647 h 292"/>
                <a:gd name="T50" fmla="*/ 2147483647 w 403"/>
                <a:gd name="T51" fmla="*/ 2147483647 h 292"/>
                <a:gd name="T52" fmla="*/ 2147483647 w 403"/>
                <a:gd name="T53" fmla="*/ 2147483647 h 29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3" h="292">
                  <a:moveTo>
                    <a:pt x="370" y="61"/>
                  </a:moveTo>
                  <a:cubicBezTo>
                    <a:pt x="367" y="58"/>
                    <a:pt x="362" y="58"/>
                    <a:pt x="359" y="61"/>
                  </a:cubicBezTo>
                  <a:cubicBezTo>
                    <a:pt x="356" y="64"/>
                    <a:pt x="356" y="69"/>
                    <a:pt x="359" y="73"/>
                  </a:cubicBezTo>
                  <a:cubicBezTo>
                    <a:pt x="377" y="92"/>
                    <a:pt x="387" y="114"/>
                    <a:pt x="387" y="137"/>
                  </a:cubicBezTo>
                  <a:cubicBezTo>
                    <a:pt x="387" y="203"/>
                    <a:pt x="304" y="258"/>
                    <a:pt x="202" y="258"/>
                  </a:cubicBezTo>
                  <a:cubicBezTo>
                    <a:pt x="170" y="258"/>
                    <a:pt x="138" y="252"/>
                    <a:pt x="110" y="242"/>
                  </a:cubicBezTo>
                  <a:cubicBezTo>
                    <a:pt x="108" y="241"/>
                    <a:pt x="105" y="241"/>
                    <a:pt x="103" y="242"/>
                  </a:cubicBezTo>
                  <a:cubicBezTo>
                    <a:pt x="72" y="261"/>
                    <a:pt x="46" y="269"/>
                    <a:pt x="29" y="273"/>
                  </a:cubicBezTo>
                  <a:cubicBezTo>
                    <a:pt x="39" y="261"/>
                    <a:pt x="52" y="244"/>
                    <a:pt x="63" y="225"/>
                  </a:cubicBezTo>
                  <a:cubicBezTo>
                    <a:pt x="63" y="225"/>
                    <a:pt x="63" y="225"/>
                    <a:pt x="63" y="225"/>
                  </a:cubicBezTo>
                  <a:cubicBezTo>
                    <a:pt x="63" y="225"/>
                    <a:pt x="63" y="224"/>
                    <a:pt x="63" y="224"/>
                  </a:cubicBezTo>
                  <a:cubicBezTo>
                    <a:pt x="65" y="221"/>
                    <a:pt x="64" y="217"/>
                    <a:pt x="61" y="214"/>
                  </a:cubicBezTo>
                  <a:cubicBezTo>
                    <a:pt x="32" y="193"/>
                    <a:pt x="17" y="165"/>
                    <a:pt x="17" y="137"/>
                  </a:cubicBezTo>
                  <a:cubicBezTo>
                    <a:pt x="17" y="70"/>
                    <a:pt x="100" y="16"/>
                    <a:pt x="202" y="16"/>
                  </a:cubicBezTo>
                  <a:cubicBezTo>
                    <a:pt x="253" y="16"/>
                    <a:pt x="300" y="29"/>
                    <a:pt x="336" y="53"/>
                  </a:cubicBezTo>
                  <a:cubicBezTo>
                    <a:pt x="339" y="56"/>
                    <a:pt x="344" y="55"/>
                    <a:pt x="347" y="51"/>
                  </a:cubicBezTo>
                  <a:cubicBezTo>
                    <a:pt x="349" y="47"/>
                    <a:pt x="348" y="43"/>
                    <a:pt x="345" y="40"/>
                  </a:cubicBezTo>
                  <a:cubicBezTo>
                    <a:pt x="307" y="14"/>
                    <a:pt x="256" y="0"/>
                    <a:pt x="202" y="0"/>
                  </a:cubicBezTo>
                  <a:cubicBezTo>
                    <a:pt x="91" y="0"/>
                    <a:pt x="1" y="61"/>
                    <a:pt x="1" y="137"/>
                  </a:cubicBezTo>
                  <a:cubicBezTo>
                    <a:pt x="1" y="168"/>
                    <a:pt x="17" y="198"/>
                    <a:pt x="45" y="223"/>
                  </a:cubicBezTo>
                  <a:cubicBezTo>
                    <a:pt x="27" y="253"/>
                    <a:pt x="3" y="278"/>
                    <a:pt x="3" y="278"/>
                  </a:cubicBezTo>
                  <a:cubicBezTo>
                    <a:pt x="1" y="280"/>
                    <a:pt x="0" y="284"/>
                    <a:pt x="1" y="287"/>
                  </a:cubicBezTo>
                  <a:cubicBezTo>
                    <a:pt x="3" y="290"/>
                    <a:pt x="6" y="292"/>
                    <a:pt x="9" y="292"/>
                  </a:cubicBezTo>
                  <a:cubicBezTo>
                    <a:pt x="11" y="292"/>
                    <a:pt x="50" y="291"/>
                    <a:pt x="108" y="258"/>
                  </a:cubicBezTo>
                  <a:cubicBezTo>
                    <a:pt x="137" y="268"/>
                    <a:pt x="169" y="274"/>
                    <a:pt x="202" y="274"/>
                  </a:cubicBezTo>
                  <a:cubicBezTo>
                    <a:pt x="313" y="274"/>
                    <a:pt x="403" y="212"/>
                    <a:pt x="403" y="137"/>
                  </a:cubicBezTo>
                  <a:cubicBezTo>
                    <a:pt x="403" y="110"/>
                    <a:pt x="392" y="84"/>
                    <a:pt x="370" y="61"/>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 name="Rectangle 23"/>
            <p:cNvSpPr>
              <a:spLocks noChangeArrowheads="1"/>
            </p:cNvSpPr>
            <p:nvPr/>
          </p:nvSpPr>
          <p:spPr bwMode="auto">
            <a:xfrm>
              <a:off x="8591880" y="2631198"/>
              <a:ext cx="2318185" cy="1558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a:lnSpc>
                  <a:spcPct val="90000"/>
                </a:lnSpc>
              </a:pPr>
              <a:r>
                <a:rPr lang="en-US" sz="1600" dirty="0">
                  <a:solidFill>
                    <a:srgbClr val="00625F"/>
                  </a:solidFill>
                  <a:cs typeface="Arial" pitchFamily="34" charset="0"/>
                </a:rPr>
                <a:t>Address </a:t>
              </a:r>
              <a:r>
                <a:rPr lang="en-US" sz="1600" dirty="0" smtClean="0">
                  <a:solidFill>
                    <a:srgbClr val="00625F"/>
                  </a:solidFill>
                  <a:cs typeface="Arial" pitchFamily="34" charset="0"/>
                </a:rPr>
                <a:t>subscriber growth  </a:t>
              </a:r>
              <a:r>
                <a:rPr lang="en-US" sz="1600" dirty="0">
                  <a:solidFill>
                    <a:srgbClr val="00625F"/>
                  </a:solidFill>
                  <a:cs typeface="Arial" pitchFamily="34" charset="0"/>
                </a:rPr>
                <a:t>in </a:t>
              </a:r>
              <a:r>
                <a:rPr lang="en-US" sz="1600" dirty="0" smtClean="0">
                  <a:solidFill>
                    <a:srgbClr val="00625F"/>
                  </a:solidFill>
                  <a:cs typeface="Arial" pitchFamily="34" charset="0"/>
                </a:rPr>
                <a:t>new </a:t>
              </a:r>
              <a:r>
                <a:rPr lang="en-US" sz="1600" dirty="0">
                  <a:solidFill>
                    <a:srgbClr val="00625F"/>
                  </a:solidFill>
                  <a:cs typeface="Arial" pitchFamily="34" charset="0"/>
                </a:rPr>
                <a:t>technology services </a:t>
              </a:r>
            </a:p>
          </p:txBody>
        </p:sp>
        <p:sp>
          <p:nvSpPr>
            <p:cNvPr id="31" name="Freeform 3"/>
            <p:cNvSpPr>
              <a:spLocks noChangeAspect="1"/>
            </p:cNvSpPr>
            <p:nvPr/>
          </p:nvSpPr>
          <p:spPr bwMode="auto">
            <a:xfrm>
              <a:off x="8325085" y="4418115"/>
              <a:ext cx="2838450" cy="1956620"/>
            </a:xfrm>
            <a:custGeom>
              <a:avLst/>
              <a:gdLst>
                <a:gd name="T0" fmla="*/ 2147483647 w 403"/>
                <a:gd name="T1" fmla="*/ 2147483647 h 292"/>
                <a:gd name="T2" fmla="*/ 2147483647 w 403"/>
                <a:gd name="T3" fmla="*/ 2147483647 h 292"/>
                <a:gd name="T4" fmla="*/ 2147483647 w 403"/>
                <a:gd name="T5" fmla="*/ 2147483647 h 292"/>
                <a:gd name="T6" fmla="*/ 2147483647 w 403"/>
                <a:gd name="T7" fmla="*/ 2147483647 h 292"/>
                <a:gd name="T8" fmla="*/ 2147483647 w 403"/>
                <a:gd name="T9" fmla="*/ 2147483647 h 292"/>
                <a:gd name="T10" fmla="*/ 2147483647 w 403"/>
                <a:gd name="T11" fmla="*/ 2147483647 h 292"/>
                <a:gd name="T12" fmla="*/ 2147483647 w 403"/>
                <a:gd name="T13" fmla="*/ 2147483647 h 292"/>
                <a:gd name="T14" fmla="*/ 2147483647 w 403"/>
                <a:gd name="T15" fmla="*/ 2147483647 h 292"/>
                <a:gd name="T16" fmla="*/ 2147483647 w 403"/>
                <a:gd name="T17" fmla="*/ 2147483647 h 292"/>
                <a:gd name="T18" fmla="*/ 2147483647 w 403"/>
                <a:gd name="T19" fmla="*/ 2147483647 h 292"/>
                <a:gd name="T20" fmla="*/ 2147483647 w 403"/>
                <a:gd name="T21" fmla="*/ 2147483647 h 292"/>
                <a:gd name="T22" fmla="*/ 2147483647 w 403"/>
                <a:gd name="T23" fmla="*/ 2147483647 h 292"/>
                <a:gd name="T24" fmla="*/ 2147483647 w 403"/>
                <a:gd name="T25" fmla="*/ 2147483647 h 292"/>
                <a:gd name="T26" fmla="*/ 2147483647 w 403"/>
                <a:gd name="T27" fmla="*/ 2147483647 h 292"/>
                <a:gd name="T28" fmla="*/ 2147483647 w 403"/>
                <a:gd name="T29" fmla="*/ 2147483647 h 292"/>
                <a:gd name="T30" fmla="*/ 2147483647 w 403"/>
                <a:gd name="T31" fmla="*/ 2147483647 h 292"/>
                <a:gd name="T32" fmla="*/ 2147483647 w 403"/>
                <a:gd name="T33" fmla="*/ 2147483647 h 292"/>
                <a:gd name="T34" fmla="*/ 2147483647 w 403"/>
                <a:gd name="T35" fmla="*/ 0 h 292"/>
                <a:gd name="T36" fmla="*/ 2147483647 w 403"/>
                <a:gd name="T37" fmla="*/ 2147483647 h 292"/>
                <a:gd name="T38" fmla="*/ 2147483647 w 403"/>
                <a:gd name="T39" fmla="*/ 2147483647 h 292"/>
                <a:gd name="T40" fmla="*/ 2147483647 w 403"/>
                <a:gd name="T41" fmla="*/ 2147483647 h 292"/>
                <a:gd name="T42" fmla="*/ 2147483647 w 403"/>
                <a:gd name="T43" fmla="*/ 2147483647 h 292"/>
                <a:gd name="T44" fmla="*/ 2147483647 w 403"/>
                <a:gd name="T45" fmla="*/ 2147483647 h 292"/>
                <a:gd name="T46" fmla="*/ 2147483647 w 403"/>
                <a:gd name="T47" fmla="*/ 2147483647 h 292"/>
                <a:gd name="T48" fmla="*/ 2147483647 w 403"/>
                <a:gd name="T49" fmla="*/ 2147483647 h 292"/>
                <a:gd name="T50" fmla="*/ 2147483647 w 403"/>
                <a:gd name="T51" fmla="*/ 2147483647 h 292"/>
                <a:gd name="T52" fmla="*/ 2147483647 w 403"/>
                <a:gd name="T53" fmla="*/ 2147483647 h 29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3" h="292">
                  <a:moveTo>
                    <a:pt x="370" y="61"/>
                  </a:moveTo>
                  <a:cubicBezTo>
                    <a:pt x="367" y="58"/>
                    <a:pt x="362" y="58"/>
                    <a:pt x="359" y="61"/>
                  </a:cubicBezTo>
                  <a:cubicBezTo>
                    <a:pt x="356" y="64"/>
                    <a:pt x="356" y="69"/>
                    <a:pt x="359" y="73"/>
                  </a:cubicBezTo>
                  <a:cubicBezTo>
                    <a:pt x="377" y="92"/>
                    <a:pt x="387" y="114"/>
                    <a:pt x="387" y="137"/>
                  </a:cubicBezTo>
                  <a:cubicBezTo>
                    <a:pt x="387" y="203"/>
                    <a:pt x="304" y="258"/>
                    <a:pt x="202" y="258"/>
                  </a:cubicBezTo>
                  <a:cubicBezTo>
                    <a:pt x="170" y="258"/>
                    <a:pt x="138" y="252"/>
                    <a:pt x="110" y="242"/>
                  </a:cubicBezTo>
                  <a:cubicBezTo>
                    <a:pt x="108" y="241"/>
                    <a:pt x="105" y="241"/>
                    <a:pt x="103" y="242"/>
                  </a:cubicBezTo>
                  <a:cubicBezTo>
                    <a:pt x="72" y="261"/>
                    <a:pt x="46" y="269"/>
                    <a:pt x="29" y="273"/>
                  </a:cubicBezTo>
                  <a:cubicBezTo>
                    <a:pt x="39" y="261"/>
                    <a:pt x="52" y="244"/>
                    <a:pt x="63" y="225"/>
                  </a:cubicBezTo>
                  <a:cubicBezTo>
                    <a:pt x="63" y="225"/>
                    <a:pt x="63" y="225"/>
                    <a:pt x="63" y="225"/>
                  </a:cubicBezTo>
                  <a:cubicBezTo>
                    <a:pt x="63" y="225"/>
                    <a:pt x="63" y="224"/>
                    <a:pt x="63" y="224"/>
                  </a:cubicBezTo>
                  <a:cubicBezTo>
                    <a:pt x="65" y="221"/>
                    <a:pt x="64" y="217"/>
                    <a:pt x="61" y="214"/>
                  </a:cubicBezTo>
                  <a:cubicBezTo>
                    <a:pt x="32" y="193"/>
                    <a:pt x="17" y="165"/>
                    <a:pt x="17" y="137"/>
                  </a:cubicBezTo>
                  <a:cubicBezTo>
                    <a:pt x="17" y="70"/>
                    <a:pt x="100" y="16"/>
                    <a:pt x="202" y="16"/>
                  </a:cubicBezTo>
                  <a:cubicBezTo>
                    <a:pt x="253" y="16"/>
                    <a:pt x="300" y="29"/>
                    <a:pt x="336" y="53"/>
                  </a:cubicBezTo>
                  <a:cubicBezTo>
                    <a:pt x="339" y="56"/>
                    <a:pt x="344" y="55"/>
                    <a:pt x="347" y="51"/>
                  </a:cubicBezTo>
                  <a:cubicBezTo>
                    <a:pt x="349" y="47"/>
                    <a:pt x="348" y="43"/>
                    <a:pt x="345" y="40"/>
                  </a:cubicBezTo>
                  <a:cubicBezTo>
                    <a:pt x="307" y="14"/>
                    <a:pt x="256" y="0"/>
                    <a:pt x="202" y="0"/>
                  </a:cubicBezTo>
                  <a:cubicBezTo>
                    <a:pt x="91" y="0"/>
                    <a:pt x="1" y="61"/>
                    <a:pt x="1" y="137"/>
                  </a:cubicBezTo>
                  <a:cubicBezTo>
                    <a:pt x="1" y="168"/>
                    <a:pt x="17" y="198"/>
                    <a:pt x="45" y="223"/>
                  </a:cubicBezTo>
                  <a:cubicBezTo>
                    <a:pt x="27" y="253"/>
                    <a:pt x="3" y="278"/>
                    <a:pt x="3" y="278"/>
                  </a:cubicBezTo>
                  <a:cubicBezTo>
                    <a:pt x="1" y="280"/>
                    <a:pt x="0" y="284"/>
                    <a:pt x="1" y="287"/>
                  </a:cubicBezTo>
                  <a:cubicBezTo>
                    <a:pt x="3" y="290"/>
                    <a:pt x="6" y="292"/>
                    <a:pt x="9" y="292"/>
                  </a:cubicBezTo>
                  <a:cubicBezTo>
                    <a:pt x="11" y="292"/>
                    <a:pt x="50" y="291"/>
                    <a:pt x="108" y="258"/>
                  </a:cubicBezTo>
                  <a:cubicBezTo>
                    <a:pt x="137" y="268"/>
                    <a:pt x="169" y="274"/>
                    <a:pt x="202" y="274"/>
                  </a:cubicBezTo>
                  <a:cubicBezTo>
                    <a:pt x="313" y="274"/>
                    <a:pt x="403" y="212"/>
                    <a:pt x="403" y="137"/>
                  </a:cubicBezTo>
                  <a:cubicBezTo>
                    <a:pt x="403" y="110"/>
                    <a:pt x="392" y="84"/>
                    <a:pt x="370" y="61"/>
                  </a:cubicBezTo>
                  <a:close/>
                </a:path>
              </a:pathLst>
            </a:custGeom>
            <a:solidFill>
              <a:srgbClr val="7B06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 name="Rectangle 26"/>
            <p:cNvSpPr>
              <a:spLocks noChangeArrowheads="1"/>
            </p:cNvSpPr>
            <p:nvPr/>
          </p:nvSpPr>
          <p:spPr bwMode="auto">
            <a:xfrm>
              <a:off x="8481347" y="1078483"/>
              <a:ext cx="2557687" cy="695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a:lnSpc>
                  <a:spcPct val="90000"/>
                </a:lnSpc>
              </a:pPr>
              <a:r>
                <a:rPr lang="en-US" sz="1600">
                  <a:solidFill>
                    <a:srgbClr val="00A9D4"/>
                  </a:solidFill>
                  <a:cs typeface="Arial" pitchFamily="34" charset="0"/>
                </a:rPr>
                <a:t>Automate to</a:t>
              </a:r>
              <a:br>
                <a:rPr lang="en-US" sz="1600">
                  <a:solidFill>
                    <a:srgbClr val="00A9D4"/>
                  </a:solidFill>
                  <a:cs typeface="Arial" pitchFamily="34" charset="0"/>
                </a:rPr>
              </a:br>
              <a:r>
                <a:rPr lang="en-US" sz="1600">
                  <a:solidFill>
                    <a:srgbClr val="00A9D4"/>
                  </a:solidFill>
                  <a:cs typeface="Arial" pitchFamily="34" charset="0"/>
                </a:rPr>
                <a:t>reduce OPEX</a:t>
              </a:r>
            </a:p>
          </p:txBody>
        </p:sp>
        <p:sp>
          <p:nvSpPr>
            <p:cNvPr id="33" name="Freeform 3"/>
            <p:cNvSpPr>
              <a:spLocks noChangeAspect="1"/>
            </p:cNvSpPr>
            <p:nvPr/>
          </p:nvSpPr>
          <p:spPr bwMode="auto">
            <a:xfrm>
              <a:off x="8325085" y="2468011"/>
              <a:ext cx="2838450" cy="1956619"/>
            </a:xfrm>
            <a:custGeom>
              <a:avLst/>
              <a:gdLst>
                <a:gd name="T0" fmla="*/ 2147483647 w 403"/>
                <a:gd name="T1" fmla="*/ 2147483647 h 292"/>
                <a:gd name="T2" fmla="*/ 2147483647 w 403"/>
                <a:gd name="T3" fmla="*/ 2147483647 h 292"/>
                <a:gd name="T4" fmla="*/ 2147483647 w 403"/>
                <a:gd name="T5" fmla="*/ 2147483647 h 292"/>
                <a:gd name="T6" fmla="*/ 2147483647 w 403"/>
                <a:gd name="T7" fmla="*/ 2147483647 h 292"/>
                <a:gd name="T8" fmla="*/ 2147483647 w 403"/>
                <a:gd name="T9" fmla="*/ 2147483647 h 292"/>
                <a:gd name="T10" fmla="*/ 2147483647 w 403"/>
                <a:gd name="T11" fmla="*/ 2147483647 h 292"/>
                <a:gd name="T12" fmla="*/ 2147483647 w 403"/>
                <a:gd name="T13" fmla="*/ 2147483647 h 292"/>
                <a:gd name="T14" fmla="*/ 2147483647 w 403"/>
                <a:gd name="T15" fmla="*/ 2147483647 h 292"/>
                <a:gd name="T16" fmla="*/ 2147483647 w 403"/>
                <a:gd name="T17" fmla="*/ 2147483647 h 292"/>
                <a:gd name="T18" fmla="*/ 2147483647 w 403"/>
                <a:gd name="T19" fmla="*/ 2147483647 h 292"/>
                <a:gd name="T20" fmla="*/ 2147483647 w 403"/>
                <a:gd name="T21" fmla="*/ 2147483647 h 292"/>
                <a:gd name="T22" fmla="*/ 2147483647 w 403"/>
                <a:gd name="T23" fmla="*/ 2147483647 h 292"/>
                <a:gd name="T24" fmla="*/ 2147483647 w 403"/>
                <a:gd name="T25" fmla="*/ 2147483647 h 292"/>
                <a:gd name="T26" fmla="*/ 2147483647 w 403"/>
                <a:gd name="T27" fmla="*/ 2147483647 h 292"/>
                <a:gd name="T28" fmla="*/ 2147483647 w 403"/>
                <a:gd name="T29" fmla="*/ 2147483647 h 292"/>
                <a:gd name="T30" fmla="*/ 2147483647 w 403"/>
                <a:gd name="T31" fmla="*/ 2147483647 h 292"/>
                <a:gd name="T32" fmla="*/ 2147483647 w 403"/>
                <a:gd name="T33" fmla="*/ 2147483647 h 292"/>
                <a:gd name="T34" fmla="*/ 2147483647 w 403"/>
                <a:gd name="T35" fmla="*/ 0 h 292"/>
                <a:gd name="T36" fmla="*/ 2147483647 w 403"/>
                <a:gd name="T37" fmla="*/ 2147483647 h 292"/>
                <a:gd name="T38" fmla="*/ 2147483647 w 403"/>
                <a:gd name="T39" fmla="*/ 2147483647 h 292"/>
                <a:gd name="T40" fmla="*/ 2147483647 w 403"/>
                <a:gd name="T41" fmla="*/ 2147483647 h 292"/>
                <a:gd name="T42" fmla="*/ 2147483647 w 403"/>
                <a:gd name="T43" fmla="*/ 2147483647 h 292"/>
                <a:gd name="T44" fmla="*/ 2147483647 w 403"/>
                <a:gd name="T45" fmla="*/ 2147483647 h 292"/>
                <a:gd name="T46" fmla="*/ 2147483647 w 403"/>
                <a:gd name="T47" fmla="*/ 2147483647 h 292"/>
                <a:gd name="T48" fmla="*/ 2147483647 w 403"/>
                <a:gd name="T49" fmla="*/ 2147483647 h 292"/>
                <a:gd name="T50" fmla="*/ 2147483647 w 403"/>
                <a:gd name="T51" fmla="*/ 2147483647 h 292"/>
                <a:gd name="T52" fmla="*/ 2147483647 w 403"/>
                <a:gd name="T53" fmla="*/ 2147483647 h 29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3" h="292">
                  <a:moveTo>
                    <a:pt x="370" y="61"/>
                  </a:moveTo>
                  <a:cubicBezTo>
                    <a:pt x="367" y="58"/>
                    <a:pt x="362" y="58"/>
                    <a:pt x="359" y="61"/>
                  </a:cubicBezTo>
                  <a:cubicBezTo>
                    <a:pt x="356" y="64"/>
                    <a:pt x="356" y="69"/>
                    <a:pt x="359" y="73"/>
                  </a:cubicBezTo>
                  <a:cubicBezTo>
                    <a:pt x="377" y="92"/>
                    <a:pt x="387" y="114"/>
                    <a:pt x="387" y="137"/>
                  </a:cubicBezTo>
                  <a:cubicBezTo>
                    <a:pt x="387" y="203"/>
                    <a:pt x="304" y="258"/>
                    <a:pt x="202" y="258"/>
                  </a:cubicBezTo>
                  <a:cubicBezTo>
                    <a:pt x="170" y="258"/>
                    <a:pt x="138" y="252"/>
                    <a:pt x="110" y="242"/>
                  </a:cubicBezTo>
                  <a:cubicBezTo>
                    <a:pt x="108" y="241"/>
                    <a:pt x="105" y="241"/>
                    <a:pt x="103" y="242"/>
                  </a:cubicBezTo>
                  <a:cubicBezTo>
                    <a:pt x="72" y="261"/>
                    <a:pt x="46" y="269"/>
                    <a:pt x="29" y="273"/>
                  </a:cubicBezTo>
                  <a:cubicBezTo>
                    <a:pt x="39" y="261"/>
                    <a:pt x="52" y="244"/>
                    <a:pt x="63" y="225"/>
                  </a:cubicBezTo>
                  <a:cubicBezTo>
                    <a:pt x="63" y="225"/>
                    <a:pt x="63" y="225"/>
                    <a:pt x="63" y="225"/>
                  </a:cubicBezTo>
                  <a:cubicBezTo>
                    <a:pt x="63" y="225"/>
                    <a:pt x="63" y="224"/>
                    <a:pt x="63" y="224"/>
                  </a:cubicBezTo>
                  <a:cubicBezTo>
                    <a:pt x="65" y="221"/>
                    <a:pt x="64" y="217"/>
                    <a:pt x="61" y="214"/>
                  </a:cubicBezTo>
                  <a:cubicBezTo>
                    <a:pt x="32" y="193"/>
                    <a:pt x="17" y="165"/>
                    <a:pt x="17" y="137"/>
                  </a:cubicBezTo>
                  <a:cubicBezTo>
                    <a:pt x="17" y="70"/>
                    <a:pt x="100" y="16"/>
                    <a:pt x="202" y="16"/>
                  </a:cubicBezTo>
                  <a:cubicBezTo>
                    <a:pt x="253" y="16"/>
                    <a:pt x="300" y="29"/>
                    <a:pt x="336" y="53"/>
                  </a:cubicBezTo>
                  <a:cubicBezTo>
                    <a:pt x="339" y="56"/>
                    <a:pt x="344" y="55"/>
                    <a:pt x="347" y="51"/>
                  </a:cubicBezTo>
                  <a:cubicBezTo>
                    <a:pt x="349" y="47"/>
                    <a:pt x="348" y="43"/>
                    <a:pt x="345" y="40"/>
                  </a:cubicBezTo>
                  <a:cubicBezTo>
                    <a:pt x="307" y="14"/>
                    <a:pt x="256" y="0"/>
                    <a:pt x="202" y="0"/>
                  </a:cubicBezTo>
                  <a:cubicBezTo>
                    <a:pt x="91" y="0"/>
                    <a:pt x="1" y="61"/>
                    <a:pt x="1" y="137"/>
                  </a:cubicBezTo>
                  <a:cubicBezTo>
                    <a:pt x="1" y="168"/>
                    <a:pt x="17" y="198"/>
                    <a:pt x="45" y="223"/>
                  </a:cubicBezTo>
                  <a:cubicBezTo>
                    <a:pt x="27" y="253"/>
                    <a:pt x="3" y="278"/>
                    <a:pt x="3" y="278"/>
                  </a:cubicBezTo>
                  <a:cubicBezTo>
                    <a:pt x="1" y="280"/>
                    <a:pt x="0" y="284"/>
                    <a:pt x="1" y="287"/>
                  </a:cubicBezTo>
                  <a:cubicBezTo>
                    <a:pt x="3" y="290"/>
                    <a:pt x="6" y="292"/>
                    <a:pt x="9" y="292"/>
                  </a:cubicBezTo>
                  <a:cubicBezTo>
                    <a:pt x="11" y="292"/>
                    <a:pt x="50" y="291"/>
                    <a:pt x="108" y="258"/>
                  </a:cubicBezTo>
                  <a:cubicBezTo>
                    <a:pt x="137" y="268"/>
                    <a:pt x="169" y="274"/>
                    <a:pt x="202" y="274"/>
                  </a:cubicBezTo>
                  <a:cubicBezTo>
                    <a:pt x="313" y="274"/>
                    <a:pt x="403" y="212"/>
                    <a:pt x="403" y="137"/>
                  </a:cubicBezTo>
                  <a:cubicBezTo>
                    <a:pt x="403" y="110"/>
                    <a:pt x="392" y="84"/>
                    <a:pt x="370" y="61"/>
                  </a:cubicBezTo>
                  <a:close/>
                </a:path>
              </a:pathLst>
            </a:custGeom>
            <a:solidFill>
              <a:srgbClr val="0062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Tree>
    <p:extLst>
      <p:ext uri="{BB962C8B-B14F-4D97-AF65-F5344CB8AC3E}">
        <p14:creationId xmlns:p14="http://schemas.microsoft.com/office/powerpoint/2010/main" val="305422981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31"/>
          <p:cNvSpPr>
            <a:spLocks noChangeArrowheads="1"/>
          </p:cNvSpPr>
          <p:nvPr/>
        </p:nvSpPr>
        <p:spPr bwMode="auto">
          <a:xfrm>
            <a:off x="401563" y="1985169"/>
            <a:ext cx="2412206" cy="314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0" rIns="72000" bIns="0"/>
          <a:lstStyle/>
          <a:p>
            <a:pPr marL="176213" indent="-176213">
              <a:spcBef>
                <a:spcPct val="20000"/>
              </a:spcBef>
              <a:buClr>
                <a:srgbClr val="00A9D4"/>
              </a:buClr>
              <a:buFont typeface="Arial" charset="0"/>
              <a:buNone/>
            </a:pPr>
            <a:r>
              <a:rPr lang="en-US" sz="1000" b="1">
                <a:solidFill>
                  <a:srgbClr val="007B78"/>
                </a:solidFill>
              </a:rPr>
              <a:t> </a:t>
            </a:r>
            <a:endParaRPr lang="en-US" sz="1000"/>
          </a:p>
        </p:txBody>
      </p:sp>
      <p:sp>
        <p:nvSpPr>
          <p:cNvPr id="30725" name="Title 1"/>
          <p:cNvSpPr>
            <a:spLocks noGrp="1"/>
          </p:cNvSpPr>
          <p:nvPr>
            <p:ph type="title"/>
          </p:nvPr>
        </p:nvSpPr>
        <p:spPr>
          <a:xfrm>
            <a:off x="394098" y="239713"/>
            <a:ext cx="7493794" cy="1085850"/>
          </a:xfrm>
        </p:spPr>
        <p:txBody>
          <a:bodyPr/>
          <a:lstStyle/>
          <a:p>
            <a:r>
              <a:rPr lang="en-US" dirty="0" smtClean="0">
                <a:solidFill>
                  <a:srgbClr val="7B0663"/>
                </a:solidFill>
                <a:latin typeface="Ericsson Capital TT" pitchFamily="2" charset="0"/>
                <a:ea typeface="ＭＳ Ｐゴシック" pitchFamily="34" charset="-128"/>
              </a:rPr>
              <a:t>Ericsson Order Care</a:t>
            </a:r>
            <a:br>
              <a:rPr lang="en-US" dirty="0" smtClean="0">
                <a:solidFill>
                  <a:srgbClr val="7B0663"/>
                </a:solidFill>
                <a:latin typeface="Ericsson Capital TT" pitchFamily="2" charset="0"/>
                <a:ea typeface="ＭＳ Ｐゴシック" pitchFamily="34" charset="-128"/>
              </a:rPr>
            </a:br>
            <a:r>
              <a:rPr lang="en-US" sz="2800" dirty="0" smtClean="0">
                <a:latin typeface="Ericsson Capital TT" pitchFamily="2" charset="0"/>
                <a:ea typeface="ＭＳ Ｐゴシック" pitchFamily="34" charset="-128"/>
              </a:rPr>
              <a:t>roadmap overview</a:t>
            </a:r>
          </a:p>
        </p:txBody>
      </p:sp>
      <p:grpSp>
        <p:nvGrpSpPr>
          <p:cNvPr id="30726" name="Group 5"/>
          <p:cNvGrpSpPr>
            <a:grpSpLocks/>
          </p:cNvGrpSpPr>
          <p:nvPr/>
        </p:nvGrpSpPr>
        <p:grpSpPr bwMode="auto">
          <a:xfrm>
            <a:off x="7887892" y="5797501"/>
            <a:ext cx="984755" cy="800219"/>
            <a:chOff x="10796690" y="5803732"/>
            <a:chExt cx="1210500" cy="800338"/>
          </a:xfrm>
        </p:grpSpPr>
        <p:sp>
          <p:nvSpPr>
            <p:cNvPr id="30808" name="Rounded Rectangle 305"/>
            <p:cNvSpPr>
              <a:spLocks noChangeArrowheads="1"/>
            </p:cNvSpPr>
            <p:nvPr/>
          </p:nvSpPr>
          <p:spPr bwMode="auto">
            <a:xfrm>
              <a:off x="10796690" y="5833593"/>
              <a:ext cx="187325" cy="192024"/>
            </a:xfrm>
            <a:prstGeom prst="roundRect">
              <a:avLst>
                <a:gd name="adj" fmla="val 12648"/>
              </a:avLst>
            </a:pr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wrap="none" lIns="72000" rIns="72000"/>
            <a:lstStyle/>
            <a:p>
              <a:pPr>
                <a:spcBef>
                  <a:spcPct val="50000"/>
                </a:spcBef>
              </a:pPr>
              <a:endParaRPr lang="sv-SE" sz="1800"/>
            </a:p>
          </p:txBody>
        </p:sp>
        <p:sp>
          <p:nvSpPr>
            <p:cNvPr id="30809" name="Rounded Rectangle 305"/>
            <p:cNvSpPr>
              <a:spLocks noChangeArrowheads="1"/>
            </p:cNvSpPr>
            <p:nvPr/>
          </p:nvSpPr>
          <p:spPr bwMode="auto">
            <a:xfrm>
              <a:off x="10796690" y="6093228"/>
              <a:ext cx="187325" cy="192024"/>
            </a:xfrm>
            <a:prstGeom prst="roundRect">
              <a:avLst>
                <a:gd name="adj" fmla="val 12648"/>
              </a:avLst>
            </a:pr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wrap="none" lIns="72000" rIns="72000"/>
            <a:lstStyle/>
            <a:p>
              <a:pPr>
                <a:spcBef>
                  <a:spcPct val="50000"/>
                </a:spcBef>
              </a:pPr>
              <a:endParaRPr lang="sv-SE" sz="1800"/>
            </a:p>
          </p:txBody>
        </p:sp>
        <p:sp>
          <p:nvSpPr>
            <p:cNvPr id="30810" name="Rounded Rectangle 305"/>
            <p:cNvSpPr>
              <a:spLocks noChangeArrowheads="1"/>
            </p:cNvSpPr>
            <p:nvPr/>
          </p:nvSpPr>
          <p:spPr bwMode="auto">
            <a:xfrm>
              <a:off x="10796690" y="6352862"/>
              <a:ext cx="187325" cy="192024"/>
            </a:xfrm>
            <a:prstGeom prst="roundRect">
              <a:avLst>
                <a:gd name="adj" fmla="val 12648"/>
              </a:avLst>
            </a:prstGeom>
            <a:solidFill>
              <a:srgbClr val="92CCE5"/>
            </a:solidFill>
            <a:ln>
              <a:noFill/>
            </a:ln>
            <a:extLst>
              <a:ext uri="{91240B29-F687-4F45-9708-019B960494DF}">
                <a14:hiddenLine xmlns:a14="http://schemas.microsoft.com/office/drawing/2010/main" w="9525">
                  <a:solidFill>
                    <a:srgbClr val="000000"/>
                  </a:solidFill>
                  <a:round/>
                  <a:headEnd/>
                  <a:tailEnd/>
                </a14:hiddenLine>
              </a:ext>
            </a:extLst>
          </p:spPr>
          <p:txBody>
            <a:bodyPr wrap="none" lIns="72000" rIns="72000"/>
            <a:lstStyle/>
            <a:p>
              <a:pPr>
                <a:spcBef>
                  <a:spcPct val="50000"/>
                </a:spcBef>
              </a:pPr>
              <a:endParaRPr lang="sv-SE" sz="1800"/>
            </a:p>
          </p:txBody>
        </p:sp>
        <p:sp>
          <p:nvSpPr>
            <p:cNvPr id="30811" name="Text Box 85"/>
            <p:cNvSpPr txBox="1">
              <a:spLocks noChangeArrowheads="1"/>
            </p:cNvSpPr>
            <p:nvPr/>
          </p:nvSpPr>
          <p:spPr bwMode="auto">
            <a:xfrm>
              <a:off x="10796690" y="5803732"/>
              <a:ext cx="1210500" cy="80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spcBef>
                  <a:spcPts val="600"/>
                </a:spcBef>
              </a:pPr>
              <a:r>
                <a:rPr lang="sv-SE" sz="1200" dirty="0" smtClean="0">
                  <a:cs typeface="Times New Roman" pitchFamily="18" charset="0"/>
                </a:rPr>
                <a:t> Released</a:t>
              </a:r>
              <a:endParaRPr lang="sv-SE" sz="1200" dirty="0">
                <a:cs typeface="Times New Roman" pitchFamily="18" charset="0"/>
              </a:endParaRPr>
            </a:p>
            <a:p>
              <a:pPr eaLnBrk="1" hangingPunct="1">
                <a:spcBef>
                  <a:spcPts val="600"/>
                </a:spcBef>
              </a:pPr>
              <a:r>
                <a:rPr lang="sv-SE" sz="1200" dirty="0" smtClean="0">
                  <a:cs typeface="Times New Roman" pitchFamily="18" charset="0"/>
                </a:rPr>
                <a:t> Indicative</a:t>
              </a:r>
              <a:endParaRPr lang="sv-SE" sz="1200" dirty="0">
                <a:cs typeface="Times New Roman" pitchFamily="18" charset="0"/>
              </a:endParaRPr>
            </a:p>
            <a:p>
              <a:pPr eaLnBrk="1" hangingPunct="1">
                <a:spcBef>
                  <a:spcPts val="600"/>
                </a:spcBef>
              </a:pPr>
              <a:r>
                <a:rPr lang="sv-SE" sz="1200" dirty="0" smtClean="0">
                  <a:cs typeface="Times New Roman" pitchFamily="18" charset="0"/>
                </a:rPr>
                <a:t>  Candidate</a:t>
              </a:r>
              <a:endParaRPr lang="sv-SE" sz="1200" dirty="0">
                <a:cs typeface="Times New Roman" pitchFamily="18" charset="0"/>
              </a:endParaRPr>
            </a:p>
          </p:txBody>
        </p:sp>
      </p:grpSp>
      <p:sp>
        <p:nvSpPr>
          <p:cNvPr id="30728" name="Freeform 8"/>
          <p:cNvSpPr>
            <a:spLocks noChangeAspect="1"/>
          </p:cNvSpPr>
          <p:nvPr/>
        </p:nvSpPr>
        <p:spPr bwMode="auto">
          <a:xfrm>
            <a:off x="542101" y="2137671"/>
            <a:ext cx="2365683" cy="3227388"/>
          </a:xfrm>
          <a:custGeom>
            <a:avLst/>
            <a:gdLst>
              <a:gd name="T0" fmla="*/ 2147483647 w 732"/>
              <a:gd name="T1" fmla="*/ 2147483647 h 909"/>
              <a:gd name="T2" fmla="*/ 0 w 732"/>
              <a:gd name="T3" fmla="*/ 2147483647 h 909"/>
              <a:gd name="T4" fmla="*/ 0 w 732"/>
              <a:gd name="T5" fmla="*/ 2147483647 h 909"/>
              <a:gd name="T6" fmla="*/ 0 w 732"/>
              <a:gd name="T7" fmla="*/ 2147483647 h 909"/>
              <a:gd name="T8" fmla="*/ 2147483647 w 732"/>
              <a:gd name="T9" fmla="*/ 0 h 909"/>
              <a:gd name="T10" fmla="*/ 2147483647 w 732"/>
              <a:gd name="T11" fmla="*/ 0 h 909"/>
              <a:gd name="T12" fmla="*/ 2147483647 w 732"/>
              <a:gd name="T13" fmla="*/ 0 h 909"/>
              <a:gd name="T14" fmla="*/ 2147483647 w 732"/>
              <a:gd name="T15" fmla="*/ 2147483647 h 909"/>
              <a:gd name="T16" fmla="*/ 2147483647 w 732"/>
              <a:gd name="T17" fmla="*/ 2147483647 h 909"/>
              <a:gd name="T18" fmla="*/ 2147483647 w 732"/>
              <a:gd name="T19" fmla="*/ 2147483647 h 909"/>
              <a:gd name="T20" fmla="*/ 2147483647 w 732"/>
              <a:gd name="T21" fmla="*/ 2147483647 h 909"/>
              <a:gd name="T22" fmla="*/ 2147483647 w 732"/>
              <a:gd name="T23" fmla="*/ 2147483647 h 909"/>
              <a:gd name="T24" fmla="*/ 2147483647 w 732"/>
              <a:gd name="T25" fmla="*/ 2147483647 h 909"/>
              <a:gd name="T26" fmla="*/ 2147483647 w 732"/>
              <a:gd name="T27" fmla="*/ 2147483647 h 909"/>
              <a:gd name="T28" fmla="*/ 2147483647 w 732"/>
              <a:gd name="T29" fmla="*/ 2147483647 h 909"/>
              <a:gd name="T30" fmla="*/ 2147483647 w 732"/>
              <a:gd name="T31" fmla="*/ 2147483647 h 909"/>
              <a:gd name="T32" fmla="*/ 2147483647 w 732"/>
              <a:gd name="T33" fmla="*/ 2147483647 h 909"/>
              <a:gd name="T34" fmla="*/ 2147483647 w 732"/>
              <a:gd name="T35" fmla="*/ 2147483647 h 909"/>
              <a:gd name="T36" fmla="*/ 2147483647 w 732"/>
              <a:gd name="T37" fmla="*/ 2147483647 h 909"/>
              <a:gd name="T38" fmla="*/ 2147483647 w 732"/>
              <a:gd name="T39" fmla="*/ 2147483647 h 909"/>
              <a:gd name="T40" fmla="*/ 2147483647 w 732"/>
              <a:gd name="T41" fmla="*/ 2147483647 h 909"/>
              <a:gd name="T42" fmla="*/ 2147483647 w 732"/>
              <a:gd name="T43" fmla="*/ 2147483647 h 909"/>
              <a:gd name="T44" fmla="*/ 2147483647 w 732"/>
              <a:gd name="T45" fmla="*/ 2147483647 h 909"/>
              <a:gd name="T46" fmla="*/ 2147483647 w 732"/>
              <a:gd name="T47" fmla="*/ 2147483647 h 909"/>
              <a:gd name="T48" fmla="*/ 2147483647 w 732"/>
              <a:gd name="T49" fmla="*/ 2147483647 h 909"/>
              <a:gd name="T50" fmla="*/ 2147483647 w 732"/>
              <a:gd name="T51" fmla="*/ 2147483647 h 909"/>
              <a:gd name="T52" fmla="*/ 2147483647 w 732"/>
              <a:gd name="T53" fmla="*/ 2147483647 h 909"/>
              <a:gd name="T54" fmla="*/ 2147483647 w 732"/>
              <a:gd name="T55" fmla="*/ 2147483647 h 909"/>
              <a:gd name="T56" fmla="*/ 2147483647 w 732"/>
              <a:gd name="T57" fmla="*/ 2147483647 h 909"/>
              <a:gd name="T58" fmla="*/ 2147483647 w 732"/>
              <a:gd name="T59" fmla="*/ 2147483647 h 909"/>
              <a:gd name="T60" fmla="*/ 2147483647 w 732"/>
              <a:gd name="T61" fmla="*/ 2147483647 h 909"/>
              <a:gd name="T62" fmla="*/ 2147483647 w 732"/>
              <a:gd name="T63" fmla="*/ 2147483647 h 909"/>
              <a:gd name="T64" fmla="*/ 2147483647 w 732"/>
              <a:gd name="T65" fmla="*/ 2147483647 h 909"/>
              <a:gd name="T66" fmla="*/ 2147483647 w 732"/>
              <a:gd name="T67" fmla="*/ 2147483647 h 909"/>
              <a:gd name="T68" fmla="*/ 2147483647 w 732"/>
              <a:gd name="T69" fmla="*/ 2147483647 h 909"/>
              <a:gd name="T70" fmla="*/ 2147483647 w 732"/>
              <a:gd name="T71" fmla="*/ 2147483647 h 9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32"/>
              <a:gd name="T109" fmla="*/ 0 h 909"/>
              <a:gd name="T110" fmla="*/ 732 w 732"/>
              <a:gd name="T111" fmla="*/ 909 h 9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32" h="909">
                <a:moveTo>
                  <a:pt x="30" y="909"/>
                </a:moveTo>
                <a:cubicBezTo>
                  <a:pt x="13" y="909"/>
                  <a:pt x="0" y="895"/>
                  <a:pt x="0" y="878"/>
                </a:cubicBezTo>
                <a:cubicBezTo>
                  <a:pt x="0" y="878"/>
                  <a:pt x="0" y="878"/>
                  <a:pt x="0" y="878"/>
                </a:cubicBezTo>
                <a:cubicBezTo>
                  <a:pt x="0" y="31"/>
                  <a:pt x="0" y="31"/>
                  <a:pt x="0" y="31"/>
                </a:cubicBezTo>
                <a:cubicBezTo>
                  <a:pt x="0" y="14"/>
                  <a:pt x="13" y="0"/>
                  <a:pt x="30" y="0"/>
                </a:cubicBezTo>
                <a:cubicBezTo>
                  <a:pt x="30" y="0"/>
                  <a:pt x="30" y="0"/>
                  <a:pt x="30" y="0"/>
                </a:cubicBezTo>
                <a:cubicBezTo>
                  <a:pt x="702" y="0"/>
                  <a:pt x="702" y="0"/>
                  <a:pt x="702" y="0"/>
                </a:cubicBezTo>
                <a:cubicBezTo>
                  <a:pt x="719" y="0"/>
                  <a:pt x="732" y="14"/>
                  <a:pt x="732" y="31"/>
                </a:cubicBezTo>
                <a:cubicBezTo>
                  <a:pt x="732" y="31"/>
                  <a:pt x="732" y="31"/>
                  <a:pt x="732" y="31"/>
                </a:cubicBezTo>
                <a:cubicBezTo>
                  <a:pt x="732" y="53"/>
                  <a:pt x="732" y="53"/>
                  <a:pt x="732" y="53"/>
                </a:cubicBezTo>
                <a:cubicBezTo>
                  <a:pt x="732" y="57"/>
                  <a:pt x="729" y="61"/>
                  <a:pt x="724" y="61"/>
                </a:cubicBezTo>
                <a:cubicBezTo>
                  <a:pt x="724" y="61"/>
                  <a:pt x="724" y="61"/>
                  <a:pt x="724" y="61"/>
                </a:cubicBezTo>
                <a:cubicBezTo>
                  <a:pt x="720" y="61"/>
                  <a:pt x="716" y="57"/>
                  <a:pt x="716" y="53"/>
                </a:cubicBezTo>
                <a:cubicBezTo>
                  <a:pt x="716" y="53"/>
                  <a:pt x="716" y="53"/>
                  <a:pt x="716" y="53"/>
                </a:cubicBezTo>
                <a:cubicBezTo>
                  <a:pt x="716" y="31"/>
                  <a:pt x="716" y="31"/>
                  <a:pt x="716" y="31"/>
                </a:cubicBezTo>
                <a:cubicBezTo>
                  <a:pt x="716" y="22"/>
                  <a:pt x="710" y="16"/>
                  <a:pt x="702" y="16"/>
                </a:cubicBezTo>
                <a:cubicBezTo>
                  <a:pt x="702" y="16"/>
                  <a:pt x="702" y="16"/>
                  <a:pt x="702" y="16"/>
                </a:cubicBezTo>
                <a:cubicBezTo>
                  <a:pt x="30" y="16"/>
                  <a:pt x="30" y="16"/>
                  <a:pt x="30" y="16"/>
                </a:cubicBezTo>
                <a:cubicBezTo>
                  <a:pt x="22" y="16"/>
                  <a:pt x="16" y="22"/>
                  <a:pt x="16" y="31"/>
                </a:cubicBezTo>
                <a:cubicBezTo>
                  <a:pt x="16" y="31"/>
                  <a:pt x="16" y="31"/>
                  <a:pt x="16" y="31"/>
                </a:cubicBezTo>
                <a:cubicBezTo>
                  <a:pt x="16" y="878"/>
                  <a:pt x="16" y="878"/>
                  <a:pt x="16" y="878"/>
                </a:cubicBezTo>
                <a:cubicBezTo>
                  <a:pt x="16" y="886"/>
                  <a:pt x="22" y="893"/>
                  <a:pt x="30" y="893"/>
                </a:cubicBezTo>
                <a:cubicBezTo>
                  <a:pt x="30" y="893"/>
                  <a:pt x="30" y="893"/>
                  <a:pt x="30" y="893"/>
                </a:cubicBezTo>
                <a:cubicBezTo>
                  <a:pt x="702" y="893"/>
                  <a:pt x="702" y="893"/>
                  <a:pt x="702" y="893"/>
                </a:cubicBezTo>
                <a:cubicBezTo>
                  <a:pt x="710" y="893"/>
                  <a:pt x="716" y="886"/>
                  <a:pt x="716" y="878"/>
                </a:cubicBezTo>
                <a:cubicBezTo>
                  <a:pt x="716" y="878"/>
                  <a:pt x="716" y="878"/>
                  <a:pt x="716" y="878"/>
                </a:cubicBezTo>
                <a:cubicBezTo>
                  <a:pt x="716" y="82"/>
                  <a:pt x="716" y="82"/>
                  <a:pt x="716" y="82"/>
                </a:cubicBezTo>
                <a:cubicBezTo>
                  <a:pt x="716" y="82"/>
                  <a:pt x="716" y="82"/>
                  <a:pt x="716" y="82"/>
                </a:cubicBezTo>
                <a:cubicBezTo>
                  <a:pt x="716" y="78"/>
                  <a:pt x="720" y="74"/>
                  <a:pt x="724" y="74"/>
                </a:cubicBezTo>
                <a:cubicBezTo>
                  <a:pt x="724" y="74"/>
                  <a:pt x="724" y="74"/>
                  <a:pt x="724" y="74"/>
                </a:cubicBezTo>
                <a:cubicBezTo>
                  <a:pt x="729" y="74"/>
                  <a:pt x="732" y="78"/>
                  <a:pt x="732" y="82"/>
                </a:cubicBezTo>
                <a:cubicBezTo>
                  <a:pt x="732" y="82"/>
                  <a:pt x="732" y="82"/>
                  <a:pt x="732" y="82"/>
                </a:cubicBezTo>
                <a:cubicBezTo>
                  <a:pt x="732" y="878"/>
                  <a:pt x="732" y="878"/>
                  <a:pt x="732" y="878"/>
                </a:cubicBezTo>
                <a:cubicBezTo>
                  <a:pt x="732" y="895"/>
                  <a:pt x="719" y="909"/>
                  <a:pt x="702" y="909"/>
                </a:cubicBezTo>
                <a:cubicBezTo>
                  <a:pt x="702" y="909"/>
                  <a:pt x="702" y="909"/>
                  <a:pt x="702" y="909"/>
                </a:cubicBezTo>
                <a:cubicBezTo>
                  <a:pt x="30" y="909"/>
                  <a:pt x="30" y="909"/>
                  <a:pt x="30" y="909"/>
                </a:cubicBezTo>
                <a:close/>
              </a:path>
            </a:pathLst>
          </a:custGeom>
          <a:solidFill>
            <a:srgbClr val="89BA17"/>
          </a:solidFill>
          <a:ln w="9525">
            <a:solidFill>
              <a:srgbClr val="89BA17"/>
            </a:solidFill>
            <a:round/>
            <a:headEnd/>
            <a:tailEnd/>
          </a:ln>
          <a:extLst/>
        </p:spPr>
        <p:txBody>
          <a:bodyPr tIns="82800" rIns="0"/>
          <a:lstStyle/>
          <a:p>
            <a:pPr algn="l">
              <a:lnSpc>
                <a:spcPts val="1300"/>
              </a:lnSpc>
              <a:spcBef>
                <a:spcPts val="300"/>
              </a:spcBef>
              <a:buClr>
                <a:srgbClr val="00A9D4"/>
              </a:buClr>
            </a:pPr>
            <a:r>
              <a:rPr lang="en-US" sz="1200" b="1" dirty="0" smtClean="0"/>
              <a:t>User Experience</a:t>
            </a:r>
            <a:endParaRPr lang="en-US" sz="1200" b="1" dirty="0"/>
          </a:p>
          <a:p>
            <a:pPr marL="111125" lvl="1" indent="-111125" algn="l">
              <a:lnSpc>
                <a:spcPts val="1300"/>
              </a:lnSpc>
              <a:spcBef>
                <a:spcPts val="300"/>
              </a:spcBef>
              <a:buClr>
                <a:srgbClr val="00A9D4"/>
              </a:buClr>
              <a:buFont typeface="Arial" charset="0"/>
              <a:buChar char="›"/>
            </a:pPr>
            <a:r>
              <a:rPr lang="en-US" sz="1200" dirty="0" smtClean="0"/>
              <a:t>Ericsson ‘look and feel’ adaptation and enhancements</a:t>
            </a:r>
            <a:endParaRPr lang="en-US" sz="1200" dirty="0"/>
          </a:p>
          <a:p>
            <a:pPr algn="l">
              <a:lnSpc>
                <a:spcPts val="1300"/>
              </a:lnSpc>
              <a:spcBef>
                <a:spcPts val="300"/>
              </a:spcBef>
              <a:buClr>
                <a:srgbClr val="00A9D4"/>
              </a:buClr>
            </a:pPr>
            <a:r>
              <a:rPr lang="en-US" sz="1200" b="1" dirty="0" smtClean="0"/>
              <a:t>Architecture</a:t>
            </a:r>
            <a:endParaRPr lang="en-US" sz="1200" b="1" dirty="0"/>
          </a:p>
          <a:p>
            <a:pPr marL="111125" lvl="1" indent="-111125" algn="l">
              <a:lnSpc>
                <a:spcPts val="1300"/>
              </a:lnSpc>
              <a:spcBef>
                <a:spcPts val="300"/>
              </a:spcBef>
              <a:buClr>
                <a:srgbClr val="00A9D4"/>
              </a:buClr>
              <a:buFont typeface="Arial" charset="0"/>
              <a:buChar char="›"/>
            </a:pPr>
            <a:r>
              <a:rPr lang="en-US" sz="1200" dirty="0" smtClean="0"/>
              <a:t>Integration with Ericsson Charging System (OM)</a:t>
            </a:r>
          </a:p>
          <a:p>
            <a:pPr marL="111125" lvl="1" indent="-111125" algn="l">
              <a:lnSpc>
                <a:spcPts val="1300"/>
              </a:lnSpc>
              <a:spcBef>
                <a:spcPts val="300"/>
              </a:spcBef>
              <a:buClr>
                <a:srgbClr val="00A9D4"/>
              </a:buClr>
              <a:buFont typeface="Arial" charset="0"/>
              <a:buChar char="›"/>
            </a:pPr>
            <a:r>
              <a:rPr lang="en-US" sz="1200" dirty="0" smtClean="0"/>
              <a:t>TM Forum compliant </a:t>
            </a:r>
            <a:r>
              <a:rPr lang="en-US" sz="1200" dirty="0" err="1" smtClean="0"/>
              <a:t>RESTful</a:t>
            </a:r>
            <a:r>
              <a:rPr lang="en-US" sz="1200" dirty="0" smtClean="0"/>
              <a:t> APIs (ON, OM, SR)</a:t>
            </a:r>
          </a:p>
          <a:p>
            <a:pPr algn="l">
              <a:lnSpc>
                <a:spcPts val="1300"/>
              </a:lnSpc>
              <a:spcBef>
                <a:spcPts val="300"/>
              </a:spcBef>
              <a:buClr>
                <a:srgbClr val="00A9D4"/>
              </a:buClr>
            </a:pPr>
            <a:r>
              <a:rPr lang="en-US" sz="1200" b="1" dirty="0" smtClean="0"/>
              <a:t>Platform</a:t>
            </a:r>
            <a:endParaRPr lang="en-US" sz="1200" b="1" dirty="0"/>
          </a:p>
          <a:p>
            <a:pPr marL="111125" lvl="2" indent="-111125" algn="l">
              <a:lnSpc>
                <a:spcPts val="1300"/>
              </a:lnSpc>
              <a:spcBef>
                <a:spcPts val="300"/>
              </a:spcBef>
              <a:buClr>
                <a:srgbClr val="00A9D4"/>
              </a:buClr>
              <a:buFont typeface="Arial" charset="0"/>
              <a:buChar char="›"/>
            </a:pPr>
            <a:r>
              <a:rPr lang="en-CA" sz="1200" dirty="0" smtClean="0"/>
              <a:t>Support for catalog-driven fulfilment</a:t>
            </a:r>
          </a:p>
          <a:p>
            <a:pPr marL="111125" lvl="2" indent="-111125" algn="l">
              <a:lnSpc>
                <a:spcPts val="1300"/>
              </a:lnSpc>
              <a:spcBef>
                <a:spcPts val="300"/>
              </a:spcBef>
              <a:buClr>
                <a:srgbClr val="00A9D4"/>
              </a:buClr>
              <a:buFont typeface="Arial" charset="0"/>
              <a:buChar char="›"/>
            </a:pPr>
            <a:r>
              <a:rPr lang="en-CA" sz="1200" dirty="0" smtClean="0"/>
              <a:t>OM: Catalog-driven componentized order support</a:t>
            </a:r>
          </a:p>
          <a:p>
            <a:pPr marL="111125" lvl="2" indent="-111125" algn="l">
              <a:lnSpc>
                <a:spcPts val="1300"/>
              </a:lnSpc>
              <a:spcBef>
                <a:spcPts val="300"/>
              </a:spcBef>
              <a:buClr>
                <a:srgbClr val="00A9D4"/>
              </a:buClr>
              <a:buFont typeface="Arial" charset="0"/>
              <a:buChar char="›"/>
            </a:pPr>
            <a:r>
              <a:rPr lang="en-CA" sz="1200" dirty="0" smtClean="0"/>
              <a:t>OM for Charging System Value Pack</a:t>
            </a:r>
            <a:endParaRPr lang="en-CA" sz="1200" dirty="0"/>
          </a:p>
        </p:txBody>
      </p:sp>
      <p:sp>
        <p:nvSpPr>
          <p:cNvPr id="180" name="Freeform 8"/>
          <p:cNvSpPr>
            <a:spLocks noChangeAspect="1"/>
          </p:cNvSpPr>
          <p:nvPr/>
        </p:nvSpPr>
        <p:spPr bwMode="auto">
          <a:xfrm>
            <a:off x="3056210" y="2137671"/>
            <a:ext cx="2360181" cy="3227388"/>
          </a:xfrm>
          <a:custGeom>
            <a:avLst/>
            <a:gdLst>
              <a:gd name="T0" fmla="*/ 2147483647 w 732"/>
              <a:gd name="T1" fmla="*/ 2147483647 h 909"/>
              <a:gd name="T2" fmla="*/ 0 w 732"/>
              <a:gd name="T3" fmla="*/ 2147483647 h 909"/>
              <a:gd name="T4" fmla="*/ 0 w 732"/>
              <a:gd name="T5" fmla="*/ 2147483647 h 909"/>
              <a:gd name="T6" fmla="*/ 0 w 732"/>
              <a:gd name="T7" fmla="*/ 2147483647 h 909"/>
              <a:gd name="T8" fmla="*/ 2147483647 w 732"/>
              <a:gd name="T9" fmla="*/ 0 h 909"/>
              <a:gd name="T10" fmla="*/ 2147483647 w 732"/>
              <a:gd name="T11" fmla="*/ 0 h 909"/>
              <a:gd name="T12" fmla="*/ 2147483647 w 732"/>
              <a:gd name="T13" fmla="*/ 0 h 909"/>
              <a:gd name="T14" fmla="*/ 2147483647 w 732"/>
              <a:gd name="T15" fmla="*/ 2147483647 h 909"/>
              <a:gd name="T16" fmla="*/ 2147483647 w 732"/>
              <a:gd name="T17" fmla="*/ 2147483647 h 909"/>
              <a:gd name="T18" fmla="*/ 2147483647 w 732"/>
              <a:gd name="T19" fmla="*/ 2147483647 h 909"/>
              <a:gd name="T20" fmla="*/ 2147483647 w 732"/>
              <a:gd name="T21" fmla="*/ 2147483647 h 909"/>
              <a:gd name="T22" fmla="*/ 2147483647 w 732"/>
              <a:gd name="T23" fmla="*/ 2147483647 h 909"/>
              <a:gd name="T24" fmla="*/ 2147483647 w 732"/>
              <a:gd name="T25" fmla="*/ 2147483647 h 909"/>
              <a:gd name="T26" fmla="*/ 2147483647 w 732"/>
              <a:gd name="T27" fmla="*/ 2147483647 h 909"/>
              <a:gd name="T28" fmla="*/ 2147483647 w 732"/>
              <a:gd name="T29" fmla="*/ 2147483647 h 909"/>
              <a:gd name="T30" fmla="*/ 2147483647 w 732"/>
              <a:gd name="T31" fmla="*/ 2147483647 h 909"/>
              <a:gd name="T32" fmla="*/ 2147483647 w 732"/>
              <a:gd name="T33" fmla="*/ 2147483647 h 909"/>
              <a:gd name="T34" fmla="*/ 2147483647 w 732"/>
              <a:gd name="T35" fmla="*/ 2147483647 h 909"/>
              <a:gd name="T36" fmla="*/ 2147483647 w 732"/>
              <a:gd name="T37" fmla="*/ 2147483647 h 909"/>
              <a:gd name="T38" fmla="*/ 2147483647 w 732"/>
              <a:gd name="T39" fmla="*/ 2147483647 h 909"/>
              <a:gd name="T40" fmla="*/ 2147483647 w 732"/>
              <a:gd name="T41" fmla="*/ 2147483647 h 909"/>
              <a:gd name="T42" fmla="*/ 2147483647 w 732"/>
              <a:gd name="T43" fmla="*/ 2147483647 h 909"/>
              <a:gd name="T44" fmla="*/ 2147483647 w 732"/>
              <a:gd name="T45" fmla="*/ 2147483647 h 909"/>
              <a:gd name="T46" fmla="*/ 2147483647 w 732"/>
              <a:gd name="T47" fmla="*/ 2147483647 h 909"/>
              <a:gd name="T48" fmla="*/ 2147483647 w 732"/>
              <a:gd name="T49" fmla="*/ 2147483647 h 909"/>
              <a:gd name="T50" fmla="*/ 2147483647 w 732"/>
              <a:gd name="T51" fmla="*/ 2147483647 h 909"/>
              <a:gd name="T52" fmla="*/ 2147483647 w 732"/>
              <a:gd name="T53" fmla="*/ 2147483647 h 909"/>
              <a:gd name="T54" fmla="*/ 2147483647 w 732"/>
              <a:gd name="T55" fmla="*/ 2147483647 h 909"/>
              <a:gd name="T56" fmla="*/ 2147483647 w 732"/>
              <a:gd name="T57" fmla="*/ 2147483647 h 909"/>
              <a:gd name="T58" fmla="*/ 2147483647 w 732"/>
              <a:gd name="T59" fmla="*/ 2147483647 h 909"/>
              <a:gd name="T60" fmla="*/ 2147483647 w 732"/>
              <a:gd name="T61" fmla="*/ 2147483647 h 909"/>
              <a:gd name="T62" fmla="*/ 2147483647 w 732"/>
              <a:gd name="T63" fmla="*/ 2147483647 h 909"/>
              <a:gd name="T64" fmla="*/ 2147483647 w 732"/>
              <a:gd name="T65" fmla="*/ 2147483647 h 909"/>
              <a:gd name="T66" fmla="*/ 2147483647 w 732"/>
              <a:gd name="T67" fmla="*/ 2147483647 h 909"/>
              <a:gd name="T68" fmla="*/ 2147483647 w 732"/>
              <a:gd name="T69" fmla="*/ 2147483647 h 909"/>
              <a:gd name="T70" fmla="*/ 2147483647 w 732"/>
              <a:gd name="T71" fmla="*/ 2147483647 h 9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32"/>
              <a:gd name="T109" fmla="*/ 0 h 909"/>
              <a:gd name="T110" fmla="*/ 732 w 732"/>
              <a:gd name="T111" fmla="*/ 909 h 9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32" h="909">
                <a:moveTo>
                  <a:pt x="30" y="909"/>
                </a:moveTo>
                <a:cubicBezTo>
                  <a:pt x="13" y="909"/>
                  <a:pt x="0" y="895"/>
                  <a:pt x="0" y="878"/>
                </a:cubicBezTo>
                <a:cubicBezTo>
                  <a:pt x="0" y="878"/>
                  <a:pt x="0" y="878"/>
                  <a:pt x="0" y="878"/>
                </a:cubicBezTo>
                <a:cubicBezTo>
                  <a:pt x="0" y="31"/>
                  <a:pt x="0" y="31"/>
                  <a:pt x="0" y="31"/>
                </a:cubicBezTo>
                <a:cubicBezTo>
                  <a:pt x="0" y="14"/>
                  <a:pt x="13" y="0"/>
                  <a:pt x="30" y="0"/>
                </a:cubicBezTo>
                <a:cubicBezTo>
                  <a:pt x="30" y="0"/>
                  <a:pt x="30" y="0"/>
                  <a:pt x="30" y="0"/>
                </a:cubicBezTo>
                <a:cubicBezTo>
                  <a:pt x="702" y="0"/>
                  <a:pt x="702" y="0"/>
                  <a:pt x="702" y="0"/>
                </a:cubicBezTo>
                <a:cubicBezTo>
                  <a:pt x="719" y="0"/>
                  <a:pt x="732" y="14"/>
                  <a:pt x="732" y="31"/>
                </a:cubicBezTo>
                <a:cubicBezTo>
                  <a:pt x="732" y="31"/>
                  <a:pt x="732" y="31"/>
                  <a:pt x="732" y="31"/>
                </a:cubicBezTo>
                <a:cubicBezTo>
                  <a:pt x="732" y="53"/>
                  <a:pt x="732" y="53"/>
                  <a:pt x="732" y="53"/>
                </a:cubicBezTo>
                <a:cubicBezTo>
                  <a:pt x="732" y="57"/>
                  <a:pt x="729" y="61"/>
                  <a:pt x="724" y="61"/>
                </a:cubicBezTo>
                <a:cubicBezTo>
                  <a:pt x="724" y="61"/>
                  <a:pt x="724" y="61"/>
                  <a:pt x="724" y="61"/>
                </a:cubicBezTo>
                <a:cubicBezTo>
                  <a:pt x="720" y="61"/>
                  <a:pt x="716" y="57"/>
                  <a:pt x="716" y="53"/>
                </a:cubicBezTo>
                <a:cubicBezTo>
                  <a:pt x="716" y="53"/>
                  <a:pt x="716" y="53"/>
                  <a:pt x="716" y="53"/>
                </a:cubicBezTo>
                <a:cubicBezTo>
                  <a:pt x="716" y="31"/>
                  <a:pt x="716" y="31"/>
                  <a:pt x="716" y="31"/>
                </a:cubicBezTo>
                <a:cubicBezTo>
                  <a:pt x="716" y="22"/>
                  <a:pt x="710" y="16"/>
                  <a:pt x="702" y="16"/>
                </a:cubicBezTo>
                <a:cubicBezTo>
                  <a:pt x="702" y="16"/>
                  <a:pt x="702" y="16"/>
                  <a:pt x="702" y="16"/>
                </a:cubicBezTo>
                <a:cubicBezTo>
                  <a:pt x="30" y="16"/>
                  <a:pt x="30" y="16"/>
                  <a:pt x="30" y="16"/>
                </a:cubicBezTo>
                <a:cubicBezTo>
                  <a:pt x="22" y="16"/>
                  <a:pt x="16" y="22"/>
                  <a:pt x="16" y="31"/>
                </a:cubicBezTo>
                <a:cubicBezTo>
                  <a:pt x="16" y="31"/>
                  <a:pt x="16" y="31"/>
                  <a:pt x="16" y="31"/>
                </a:cubicBezTo>
                <a:cubicBezTo>
                  <a:pt x="16" y="878"/>
                  <a:pt x="16" y="878"/>
                  <a:pt x="16" y="878"/>
                </a:cubicBezTo>
                <a:cubicBezTo>
                  <a:pt x="16" y="886"/>
                  <a:pt x="22" y="893"/>
                  <a:pt x="30" y="893"/>
                </a:cubicBezTo>
                <a:cubicBezTo>
                  <a:pt x="30" y="893"/>
                  <a:pt x="30" y="893"/>
                  <a:pt x="30" y="893"/>
                </a:cubicBezTo>
                <a:cubicBezTo>
                  <a:pt x="702" y="893"/>
                  <a:pt x="702" y="893"/>
                  <a:pt x="702" y="893"/>
                </a:cubicBezTo>
                <a:cubicBezTo>
                  <a:pt x="710" y="893"/>
                  <a:pt x="716" y="886"/>
                  <a:pt x="716" y="878"/>
                </a:cubicBezTo>
                <a:cubicBezTo>
                  <a:pt x="716" y="878"/>
                  <a:pt x="716" y="878"/>
                  <a:pt x="716" y="878"/>
                </a:cubicBezTo>
                <a:cubicBezTo>
                  <a:pt x="716" y="82"/>
                  <a:pt x="716" y="82"/>
                  <a:pt x="716" y="82"/>
                </a:cubicBezTo>
                <a:cubicBezTo>
                  <a:pt x="716" y="82"/>
                  <a:pt x="716" y="82"/>
                  <a:pt x="716" y="82"/>
                </a:cubicBezTo>
                <a:cubicBezTo>
                  <a:pt x="716" y="78"/>
                  <a:pt x="720" y="74"/>
                  <a:pt x="724" y="74"/>
                </a:cubicBezTo>
                <a:cubicBezTo>
                  <a:pt x="724" y="74"/>
                  <a:pt x="724" y="74"/>
                  <a:pt x="724" y="74"/>
                </a:cubicBezTo>
                <a:cubicBezTo>
                  <a:pt x="729" y="74"/>
                  <a:pt x="732" y="78"/>
                  <a:pt x="732" y="82"/>
                </a:cubicBezTo>
                <a:cubicBezTo>
                  <a:pt x="732" y="82"/>
                  <a:pt x="732" y="82"/>
                  <a:pt x="732" y="82"/>
                </a:cubicBezTo>
                <a:cubicBezTo>
                  <a:pt x="732" y="878"/>
                  <a:pt x="732" y="878"/>
                  <a:pt x="732" y="878"/>
                </a:cubicBezTo>
                <a:cubicBezTo>
                  <a:pt x="732" y="895"/>
                  <a:pt x="719" y="909"/>
                  <a:pt x="702" y="909"/>
                </a:cubicBezTo>
                <a:cubicBezTo>
                  <a:pt x="702" y="909"/>
                  <a:pt x="702" y="909"/>
                  <a:pt x="702" y="909"/>
                </a:cubicBezTo>
                <a:cubicBezTo>
                  <a:pt x="30" y="909"/>
                  <a:pt x="30" y="909"/>
                  <a:pt x="30" y="909"/>
                </a:cubicBezTo>
                <a:close/>
              </a:path>
            </a:pathLst>
          </a:cu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tIns="82800" rIns="0"/>
          <a:lstStyle/>
          <a:p>
            <a:pPr algn="l">
              <a:lnSpc>
                <a:spcPts val="1300"/>
              </a:lnSpc>
              <a:spcBef>
                <a:spcPts val="300"/>
              </a:spcBef>
              <a:buClr>
                <a:srgbClr val="00A9D4"/>
              </a:buClr>
              <a:defRPr/>
            </a:pPr>
            <a:r>
              <a:rPr lang="en-US" sz="1200" b="1" dirty="0" smtClean="0">
                <a:ea typeface="MS PGothic" pitchFamily="34" charset="-128"/>
              </a:rPr>
              <a:t>User Experience</a:t>
            </a:r>
            <a:endParaRPr lang="en-US" sz="1200" b="1" dirty="0">
              <a:ea typeface="MS PGothic" pitchFamily="34" charset="-128"/>
            </a:endParaRPr>
          </a:p>
          <a:p>
            <a:pPr marL="111125" lvl="1" indent="-111125" algn="l">
              <a:lnSpc>
                <a:spcPts val="1300"/>
              </a:lnSpc>
              <a:spcBef>
                <a:spcPts val="300"/>
              </a:spcBef>
              <a:buClr>
                <a:srgbClr val="00A9D4"/>
              </a:buClr>
              <a:buFont typeface="Arial" charset="0"/>
              <a:buChar char="›"/>
              <a:defRPr/>
            </a:pPr>
            <a:r>
              <a:rPr lang="en-CA" sz="1200" dirty="0" smtClean="0"/>
              <a:t>UWS Evolution to HTML5-based UI</a:t>
            </a:r>
          </a:p>
          <a:p>
            <a:pPr marL="111125" lvl="1" indent="-111125" algn="l">
              <a:lnSpc>
                <a:spcPts val="1300"/>
              </a:lnSpc>
              <a:spcBef>
                <a:spcPts val="300"/>
              </a:spcBef>
              <a:buClr>
                <a:srgbClr val="00A9D4"/>
              </a:buClr>
              <a:buFont typeface="Arial" charset="0"/>
              <a:buChar char="›"/>
              <a:defRPr/>
            </a:pPr>
            <a:r>
              <a:rPr lang="en-US" sz="1200" dirty="0" smtClean="0"/>
              <a:t>OOB user dashboards and </a:t>
            </a:r>
            <a:br>
              <a:rPr lang="en-US" sz="1200" dirty="0" smtClean="0"/>
            </a:br>
            <a:r>
              <a:rPr lang="en-US" sz="1200" dirty="0" smtClean="0"/>
              <a:t>TM Forum </a:t>
            </a:r>
            <a:r>
              <a:rPr lang="en-US" sz="1200" dirty="0" err="1" smtClean="0"/>
              <a:t>eTOM</a:t>
            </a:r>
            <a:r>
              <a:rPr lang="en-US" sz="1200" dirty="0" smtClean="0"/>
              <a:t> workflows</a:t>
            </a:r>
            <a:endParaRPr lang="en-US" sz="1200" dirty="0"/>
          </a:p>
          <a:p>
            <a:pPr algn="l">
              <a:lnSpc>
                <a:spcPts val="1300"/>
              </a:lnSpc>
              <a:spcBef>
                <a:spcPts val="300"/>
              </a:spcBef>
              <a:buClr>
                <a:srgbClr val="00A9D4"/>
              </a:buClr>
              <a:defRPr/>
            </a:pPr>
            <a:r>
              <a:rPr lang="en-US" sz="1200" b="1" dirty="0" smtClean="0">
                <a:ea typeface="MS PGothic" pitchFamily="34" charset="-128"/>
              </a:rPr>
              <a:t>Architecture</a:t>
            </a:r>
            <a:endParaRPr lang="en-US" sz="1200" b="1" dirty="0">
              <a:ea typeface="MS PGothic" pitchFamily="34" charset="-128"/>
            </a:endParaRPr>
          </a:p>
          <a:p>
            <a:pPr marL="111125" lvl="1" indent="-111125" algn="l">
              <a:lnSpc>
                <a:spcPts val="1300"/>
              </a:lnSpc>
              <a:spcBef>
                <a:spcPts val="300"/>
              </a:spcBef>
              <a:buClr>
                <a:srgbClr val="00A9D4"/>
              </a:buClr>
              <a:buFont typeface="Arial" charset="0"/>
              <a:buChar char="›"/>
              <a:defRPr/>
            </a:pPr>
            <a:r>
              <a:rPr lang="en-CA" sz="1200" dirty="0"/>
              <a:t>I</a:t>
            </a:r>
            <a:r>
              <a:rPr lang="en-CA" sz="1200" dirty="0" smtClean="0"/>
              <a:t>ntegration with Ericsson Multi Service Delivery Platform, Granite Inventory, Ericsson Multi Activation and Ericsson Experience Manager</a:t>
            </a:r>
          </a:p>
          <a:p>
            <a:pPr algn="l">
              <a:lnSpc>
                <a:spcPts val="1300"/>
              </a:lnSpc>
              <a:spcBef>
                <a:spcPts val="300"/>
              </a:spcBef>
              <a:buClr>
                <a:srgbClr val="00A9D4"/>
              </a:buClr>
              <a:defRPr/>
            </a:pPr>
            <a:r>
              <a:rPr lang="en-US" sz="1200" b="1" dirty="0" smtClean="0">
                <a:ea typeface="MS PGothic" pitchFamily="34" charset="-128"/>
              </a:rPr>
              <a:t>Platform</a:t>
            </a:r>
            <a:endParaRPr lang="en-US" sz="1200" b="1" dirty="0">
              <a:ea typeface="MS PGothic" pitchFamily="34" charset="-128"/>
            </a:endParaRPr>
          </a:p>
          <a:p>
            <a:pPr marL="111125" lvl="2" indent="-111125" algn="l">
              <a:lnSpc>
                <a:spcPts val="1300"/>
              </a:lnSpc>
              <a:spcBef>
                <a:spcPts val="300"/>
              </a:spcBef>
              <a:buClr>
                <a:srgbClr val="00A9D4"/>
              </a:buClr>
              <a:buFont typeface="Arial" charset="0"/>
              <a:buChar char="›"/>
              <a:defRPr/>
            </a:pPr>
            <a:r>
              <a:rPr lang="en-CA" sz="1200" dirty="0" smtClean="0"/>
              <a:t>Enhanced Configuration, Price, and Quote (CPQ) capabilities</a:t>
            </a:r>
          </a:p>
          <a:p>
            <a:pPr marL="111125" lvl="2" indent="-111125" algn="l">
              <a:lnSpc>
                <a:spcPts val="1300"/>
              </a:lnSpc>
              <a:spcBef>
                <a:spcPts val="300"/>
              </a:spcBef>
              <a:buClr>
                <a:srgbClr val="00A9D4"/>
              </a:buClr>
              <a:buFont typeface="Arial" charset="0"/>
              <a:buChar char="›"/>
              <a:defRPr/>
            </a:pPr>
            <a:r>
              <a:rPr lang="en-CA" sz="1200" dirty="0" smtClean="0"/>
              <a:t>Metro Ethernet Services Value Pack</a:t>
            </a:r>
            <a:endParaRPr lang="en-CA" sz="1200" dirty="0"/>
          </a:p>
        </p:txBody>
      </p:sp>
      <p:sp>
        <p:nvSpPr>
          <p:cNvPr id="183" name="Freeform 8"/>
          <p:cNvSpPr>
            <a:spLocks noChangeAspect="1"/>
          </p:cNvSpPr>
          <p:nvPr/>
        </p:nvSpPr>
        <p:spPr bwMode="auto">
          <a:xfrm>
            <a:off x="5632978" y="2137671"/>
            <a:ext cx="2380508" cy="3227388"/>
          </a:xfrm>
          <a:custGeom>
            <a:avLst/>
            <a:gdLst>
              <a:gd name="T0" fmla="*/ 2147483647 w 732"/>
              <a:gd name="T1" fmla="*/ 2147483647 h 909"/>
              <a:gd name="T2" fmla="*/ 0 w 732"/>
              <a:gd name="T3" fmla="*/ 2147483647 h 909"/>
              <a:gd name="T4" fmla="*/ 0 w 732"/>
              <a:gd name="T5" fmla="*/ 2147483647 h 909"/>
              <a:gd name="T6" fmla="*/ 0 w 732"/>
              <a:gd name="T7" fmla="*/ 2147483647 h 909"/>
              <a:gd name="T8" fmla="*/ 2147483647 w 732"/>
              <a:gd name="T9" fmla="*/ 0 h 909"/>
              <a:gd name="T10" fmla="*/ 2147483647 w 732"/>
              <a:gd name="T11" fmla="*/ 0 h 909"/>
              <a:gd name="T12" fmla="*/ 2147483647 w 732"/>
              <a:gd name="T13" fmla="*/ 0 h 909"/>
              <a:gd name="T14" fmla="*/ 2147483647 w 732"/>
              <a:gd name="T15" fmla="*/ 2147483647 h 909"/>
              <a:gd name="T16" fmla="*/ 2147483647 w 732"/>
              <a:gd name="T17" fmla="*/ 2147483647 h 909"/>
              <a:gd name="T18" fmla="*/ 2147483647 w 732"/>
              <a:gd name="T19" fmla="*/ 2147483647 h 909"/>
              <a:gd name="T20" fmla="*/ 2147483647 w 732"/>
              <a:gd name="T21" fmla="*/ 2147483647 h 909"/>
              <a:gd name="T22" fmla="*/ 2147483647 w 732"/>
              <a:gd name="T23" fmla="*/ 2147483647 h 909"/>
              <a:gd name="T24" fmla="*/ 2147483647 w 732"/>
              <a:gd name="T25" fmla="*/ 2147483647 h 909"/>
              <a:gd name="T26" fmla="*/ 2147483647 w 732"/>
              <a:gd name="T27" fmla="*/ 2147483647 h 909"/>
              <a:gd name="T28" fmla="*/ 2147483647 w 732"/>
              <a:gd name="T29" fmla="*/ 2147483647 h 909"/>
              <a:gd name="T30" fmla="*/ 2147483647 w 732"/>
              <a:gd name="T31" fmla="*/ 2147483647 h 909"/>
              <a:gd name="T32" fmla="*/ 2147483647 w 732"/>
              <a:gd name="T33" fmla="*/ 2147483647 h 909"/>
              <a:gd name="T34" fmla="*/ 2147483647 w 732"/>
              <a:gd name="T35" fmla="*/ 2147483647 h 909"/>
              <a:gd name="T36" fmla="*/ 2147483647 w 732"/>
              <a:gd name="T37" fmla="*/ 2147483647 h 909"/>
              <a:gd name="T38" fmla="*/ 2147483647 w 732"/>
              <a:gd name="T39" fmla="*/ 2147483647 h 909"/>
              <a:gd name="T40" fmla="*/ 2147483647 w 732"/>
              <a:gd name="T41" fmla="*/ 2147483647 h 909"/>
              <a:gd name="T42" fmla="*/ 2147483647 w 732"/>
              <a:gd name="T43" fmla="*/ 2147483647 h 909"/>
              <a:gd name="T44" fmla="*/ 2147483647 w 732"/>
              <a:gd name="T45" fmla="*/ 2147483647 h 909"/>
              <a:gd name="T46" fmla="*/ 2147483647 w 732"/>
              <a:gd name="T47" fmla="*/ 2147483647 h 909"/>
              <a:gd name="T48" fmla="*/ 2147483647 w 732"/>
              <a:gd name="T49" fmla="*/ 2147483647 h 909"/>
              <a:gd name="T50" fmla="*/ 2147483647 w 732"/>
              <a:gd name="T51" fmla="*/ 2147483647 h 909"/>
              <a:gd name="T52" fmla="*/ 2147483647 w 732"/>
              <a:gd name="T53" fmla="*/ 2147483647 h 909"/>
              <a:gd name="T54" fmla="*/ 2147483647 w 732"/>
              <a:gd name="T55" fmla="*/ 2147483647 h 909"/>
              <a:gd name="T56" fmla="*/ 2147483647 w 732"/>
              <a:gd name="T57" fmla="*/ 2147483647 h 909"/>
              <a:gd name="T58" fmla="*/ 2147483647 w 732"/>
              <a:gd name="T59" fmla="*/ 2147483647 h 909"/>
              <a:gd name="T60" fmla="*/ 2147483647 w 732"/>
              <a:gd name="T61" fmla="*/ 2147483647 h 909"/>
              <a:gd name="T62" fmla="*/ 2147483647 w 732"/>
              <a:gd name="T63" fmla="*/ 2147483647 h 909"/>
              <a:gd name="T64" fmla="*/ 2147483647 w 732"/>
              <a:gd name="T65" fmla="*/ 2147483647 h 909"/>
              <a:gd name="T66" fmla="*/ 2147483647 w 732"/>
              <a:gd name="T67" fmla="*/ 2147483647 h 909"/>
              <a:gd name="T68" fmla="*/ 2147483647 w 732"/>
              <a:gd name="T69" fmla="*/ 2147483647 h 909"/>
              <a:gd name="T70" fmla="*/ 2147483647 w 732"/>
              <a:gd name="T71" fmla="*/ 2147483647 h 9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32"/>
              <a:gd name="T109" fmla="*/ 0 h 909"/>
              <a:gd name="T110" fmla="*/ 732 w 732"/>
              <a:gd name="T111" fmla="*/ 909 h 9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32" h="909">
                <a:moveTo>
                  <a:pt x="30" y="909"/>
                </a:moveTo>
                <a:cubicBezTo>
                  <a:pt x="13" y="909"/>
                  <a:pt x="0" y="895"/>
                  <a:pt x="0" y="878"/>
                </a:cubicBezTo>
                <a:cubicBezTo>
                  <a:pt x="0" y="878"/>
                  <a:pt x="0" y="878"/>
                  <a:pt x="0" y="878"/>
                </a:cubicBezTo>
                <a:cubicBezTo>
                  <a:pt x="0" y="31"/>
                  <a:pt x="0" y="31"/>
                  <a:pt x="0" y="31"/>
                </a:cubicBezTo>
                <a:cubicBezTo>
                  <a:pt x="0" y="14"/>
                  <a:pt x="13" y="0"/>
                  <a:pt x="30" y="0"/>
                </a:cubicBezTo>
                <a:cubicBezTo>
                  <a:pt x="30" y="0"/>
                  <a:pt x="30" y="0"/>
                  <a:pt x="30" y="0"/>
                </a:cubicBezTo>
                <a:cubicBezTo>
                  <a:pt x="702" y="0"/>
                  <a:pt x="702" y="0"/>
                  <a:pt x="702" y="0"/>
                </a:cubicBezTo>
                <a:cubicBezTo>
                  <a:pt x="719" y="0"/>
                  <a:pt x="732" y="14"/>
                  <a:pt x="732" y="31"/>
                </a:cubicBezTo>
                <a:cubicBezTo>
                  <a:pt x="732" y="31"/>
                  <a:pt x="732" y="31"/>
                  <a:pt x="732" y="31"/>
                </a:cubicBezTo>
                <a:cubicBezTo>
                  <a:pt x="732" y="53"/>
                  <a:pt x="732" y="53"/>
                  <a:pt x="732" y="53"/>
                </a:cubicBezTo>
                <a:cubicBezTo>
                  <a:pt x="732" y="57"/>
                  <a:pt x="729" y="61"/>
                  <a:pt x="724" y="61"/>
                </a:cubicBezTo>
                <a:cubicBezTo>
                  <a:pt x="724" y="61"/>
                  <a:pt x="724" y="61"/>
                  <a:pt x="724" y="61"/>
                </a:cubicBezTo>
                <a:cubicBezTo>
                  <a:pt x="720" y="61"/>
                  <a:pt x="716" y="57"/>
                  <a:pt x="716" y="53"/>
                </a:cubicBezTo>
                <a:cubicBezTo>
                  <a:pt x="716" y="53"/>
                  <a:pt x="716" y="53"/>
                  <a:pt x="716" y="53"/>
                </a:cubicBezTo>
                <a:cubicBezTo>
                  <a:pt x="716" y="31"/>
                  <a:pt x="716" y="31"/>
                  <a:pt x="716" y="31"/>
                </a:cubicBezTo>
                <a:cubicBezTo>
                  <a:pt x="716" y="22"/>
                  <a:pt x="710" y="16"/>
                  <a:pt x="702" y="16"/>
                </a:cubicBezTo>
                <a:cubicBezTo>
                  <a:pt x="702" y="16"/>
                  <a:pt x="702" y="16"/>
                  <a:pt x="702" y="16"/>
                </a:cubicBezTo>
                <a:cubicBezTo>
                  <a:pt x="30" y="16"/>
                  <a:pt x="30" y="16"/>
                  <a:pt x="30" y="16"/>
                </a:cubicBezTo>
                <a:cubicBezTo>
                  <a:pt x="22" y="16"/>
                  <a:pt x="16" y="22"/>
                  <a:pt x="16" y="31"/>
                </a:cubicBezTo>
                <a:cubicBezTo>
                  <a:pt x="16" y="31"/>
                  <a:pt x="16" y="31"/>
                  <a:pt x="16" y="31"/>
                </a:cubicBezTo>
                <a:cubicBezTo>
                  <a:pt x="16" y="878"/>
                  <a:pt x="16" y="878"/>
                  <a:pt x="16" y="878"/>
                </a:cubicBezTo>
                <a:cubicBezTo>
                  <a:pt x="16" y="886"/>
                  <a:pt x="22" y="893"/>
                  <a:pt x="30" y="893"/>
                </a:cubicBezTo>
                <a:cubicBezTo>
                  <a:pt x="30" y="893"/>
                  <a:pt x="30" y="893"/>
                  <a:pt x="30" y="893"/>
                </a:cubicBezTo>
                <a:cubicBezTo>
                  <a:pt x="702" y="893"/>
                  <a:pt x="702" y="893"/>
                  <a:pt x="702" y="893"/>
                </a:cubicBezTo>
                <a:cubicBezTo>
                  <a:pt x="710" y="893"/>
                  <a:pt x="716" y="886"/>
                  <a:pt x="716" y="878"/>
                </a:cubicBezTo>
                <a:cubicBezTo>
                  <a:pt x="716" y="878"/>
                  <a:pt x="716" y="878"/>
                  <a:pt x="716" y="878"/>
                </a:cubicBezTo>
                <a:cubicBezTo>
                  <a:pt x="716" y="82"/>
                  <a:pt x="716" y="82"/>
                  <a:pt x="716" y="82"/>
                </a:cubicBezTo>
                <a:cubicBezTo>
                  <a:pt x="716" y="82"/>
                  <a:pt x="716" y="82"/>
                  <a:pt x="716" y="82"/>
                </a:cubicBezTo>
                <a:cubicBezTo>
                  <a:pt x="716" y="78"/>
                  <a:pt x="720" y="74"/>
                  <a:pt x="724" y="74"/>
                </a:cubicBezTo>
                <a:cubicBezTo>
                  <a:pt x="724" y="74"/>
                  <a:pt x="724" y="74"/>
                  <a:pt x="724" y="74"/>
                </a:cubicBezTo>
                <a:cubicBezTo>
                  <a:pt x="729" y="74"/>
                  <a:pt x="732" y="78"/>
                  <a:pt x="732" y="82"/>
                </a:cubicBezTo>
                <a:cubicBezTo>
                  <a:pt x="732" y="82"/>
                  <a:pt x="732" y="82"/>
                  <a:pt x="732" y="82"/>
                </a:cubicBezTo>
                <a:cubicBezTo>
                  <a:pt x="732" y="878"/>
                  <a:pt x="732" y="878"/>
                  <a:pt x="732" y="878"/>
                </a:cubicBezTo>
                <a:cubicBezTo>
                  <a:pt x="732" y="895"/>
                  <a:pt x="719" y="909"/>
                  <a:pt x="702" y="909"/>
                </a:cubicBezTo>
                <a:cubicBezTo>
                  <a:pt x="702" y="909"/>
                  <a:pt x="702" y="909"/>
                  <a:pt x="702" y="909"/>
                </a:cubicBezTo>
                <a:cubicBezTo>
                  <a:pt x="30" y="909"/>
                  <a:pt x="30" y="909"/>
                  <a:pt x="30" y="909"/>
                </a:cubicBezTo>
                <a:close/>
              </a:path>
            </a:pathLst>
          </a:custGeom>
          <a:solidFill>
            <a:srgbClr val="92CCE5"/>
          </a:solidFill>
          <a:ln>
            <a:noFill/>
          </a:ln>
          <a:extLst/>
        </p:spPr>
        <p:txBody>
          <a:bodyPr tIns="82800" rIns="0"/>
          <a:lstStyle/>
          <a:p>
            <a:pPr algn="l">
              <a:lnSpc>
                <a:spcPts val="1300"/>
              </a:lnSpc>
              <a:spcBef>
                <a:spcPts val="300"/>
              </a:spcBef>
              <a:buClr>
                <a:srgbClr val="00A9D4"/>
              </a:buClr>
              <a:defRPr/>
            </a:pPr>
            <a:r>
              <a:rPr lang="en-US" sz="1200" b="1" dirty="0" smtClean="0">
                <a:ea typeface="MS PGothic" pitchFamily="34" charset="-128"/>
              </a:rPr>
              <a:t>User Experience</a:t>
            </a:r>
            <a:endParaRPr lang="en-US" sz="1200" b="1" dirty="0">
              <a:ea typeface="MS PGothic" pitchFamily="34" charset="-128"/>
            </a:endParaRPr>
          </a:p>
          <a:p>
            <a:pPr marL="111125" lvl="1" indent="-111125" algn="l">
              <a:lnSpc>
                <a:spcPts val="1300"/>
              </a:lnSpc>
              <a:spcBef>
                <a:spcPts val="300"/>
              </a:spcBef>
              <a:buClr>
                <a:srgbClr val="00A9D4"/>
              </a:buClr>
              <a:buFont typeface="Arial" charset="0"/>
              <a:buChar char="›"/>
              <a:defRPr/>
            </a:pPr>
            <a:r>
              <a:rPr lang="en-CA" sz="1200" dirty="0"/>
              <a:t>A</a:t>
            </a:r>
            <a:r>
              <a:rPr lang="en-CA" sz="1200" dirty="0" smtClean="0"/>
              <a:t>pplication module native UI enhancements/upgrade to HTML5</a:t>
            </a:r>
          </a:p>
          <a:p>
            <a:pPr marL="111125" lvl="1" indent="-111125" algn="l">
              <a:lnSpc>
                <a:spcPts val="1300"/>
              </a:lnSpc>
              <a:spcBef>
                <a:spcPts val="300"/>
              </a:spcBef>
              <a:buClr>
                <a:srgbClr val="00A9D4"/>
              </a:buClr>
              <a:buFont typeface="Arial" charset="0"/>
              <a:buChar char="›"/>
              <a:defRPr/>
            </a:pPr>
            <a:r>
              <a:rPr lang="en-CA" sz="1200" dirty="0" smtClean="0"/>
              <a:t>Quad Play UI wizards and</a:t>
            </a:r>
            <a:br>
              <a:rPr lang="en-CA" sz="1200" dirty="0" smtClean="0"/>
            </a:br>
            <a:r>
              <a:rPr lang="en-CA" sz="1200" dirty="0" smtClean="0"/>
              <a:t>task-based operational </a:t>
            </a:r>
            <a:br>
              <a:rPr lang="en-CA" sz="1200" dirty="0" smtClean="0"/>
            </a:br>
            <a:r>
              <a:rPr lang="en-CA" sz="1200" dirty="0" smtClean="0"/>
              <a:t>workflow enhancements</a:t>
            </a:r>
            <a:endParaRPr lang="en-CA" sz="1200" dirty="0"/>
          </a:p>
          <a:p>
            <a:pPr algn="l">
              <a:lnSpc>
                <a:spcPts val="1300"/>
              </a:lnSpc>
              <a:spcBef>
                <a:spcPts val="300"/>
              </a:spcBef>
              <a:buClr>
                <a:srgbClr val="00A9D4"/>
              </a:buClr>
              <a:defRPr/>
            </a:pPr>
            <a:r>
              <a:rPr lang="en-US" sz="1200" b="1" dirty="0" smtClean="0">
                <a:ea typeface="MS PGothic" pitchFamily="34" charset="-128"/>
              </a:rPr>
              <a:t>Architecture</a:t>
            </a:r>
            <a:endParaRPr lang="en-US" sz="1200" b="1" dirty="0">
              <a:ea typeface="MS PGothic" pitchFamily="34" charset="-128"/>
            </a:endParaRPr>
          </a:p>
          <a:p>
            <a:pPr marL="111125" lvl="1" indent="-111125" algn="l">
              <a:lnSpc>
                <a:spcPts val="1300"/>
              </a:lnSpc>
              <a:spcBef>
                <a:spcPts val="300"/>
              </a:spcBef>
              <a:buClr>
                <a:srgbClr val="00A9D4"/>
              </a:buClr>
              <a:buFont typeface="Arial" charset="0"/>
              <a:buChar char="›"/>
              <a:defRPr/>
            </a:pPr>
            <a:r>
              <a:rPr lang="en-US" sz="1200" dirty="0" smtClean="0"/>
              <a:t>Integration with Ericsson Telecom Customer </a:t>
            </a:r>
            <a:br>
              <a:rPr lang="en-US" sz="1200" dirty="0" smtClean="0"/>
            </a:br>
            <a:r>
              <a:rPr lang="en-US" sz="1200" dirty="0" smtClean="0"/>
              <a:t>Relationship Management</a:t>
            </a:r>
          </a:p>
          <a:p>
            <a:pPr algn="l">
              <a:lnSpc>
                <a:spcPts val="1300"/>
              </a:lnSpc>
              <a:spcBef>
                <a:spcPts val="300"/>
              </a:spcBef>
              <a:buClr>
                <a:srgbClr val="00A9D4"/>
              </a:buClr>
              <a:defRPr/>
            </a:pPr>
            <a:r>
              <a:rPr lang="en-US" sz="1200" b="1" dirty="0" smtClean="0">
                <a:ea typeface="MS PGothic" pitchFamily="34" charset="-128"/>
              </a:rPr>
              <a:t>Platform</a:t>
            </a:r>
            <a:endParaRPr lang="en-US" sz="1200" b="1" dirty="0">
              <a:ea typeface="MS PGothic" pitchFamily="34" charset="-128"/>
            </a:endParaRPr>
          </a:p>
          <a:p>
            <a:pPr marL="111125" lvl="1" indent="-111125" algn="l">
              <a:lnSpc>
                <a:spcPts val="1300"/>
              </a:lnSpc>
              <a:spcBef>
                <a:spcPts val="300"/>
              </a:spcBef>
              <a:buClr>
                <a:srgbClr val="00A9D4"/>
              </a:buClr>
              <a:buFont typeface="Arial" charset="0"/>
              <a:buChar char="›"/>
              <a:defRPr/>
            </a:pPr>
            <a:r>
              <a:rPr lang="en-US" sz="1200" dirty="0" smtClean="0"/>
              <a:t>Quad </a:t>
            </a:r>
            <a:r>
              <a:rPr lang="en-US" sz="1200" dirty="0"/>
              <a:t>Play </a:t>
            </a:r>
            <a:r>
              <a:rPr lang="en-US" sz="1200" dirty="0" smtClean="0"/>
              <a:t>Services Value  Pack</a:t>
            </a:r>
          </a:p>
          <a:p>
            <a:pPr marL="111125" lvl="1" indent="-111125" algn="l">
              <a:lnSpc>
                <a:spcPts val="1300"/>
              </a:lnSpc>
              <a:spcBef>
                <a:spcPts val="300"/>
              </a:spcBef>
              <a:buClr>
                <a:srgbClr val="00A9D4"/>
              </a:buClr>
              <a:buFont typeface="Arial" charset="0"/>
              <a:buChar char="›"/>
              <a:defRPr/>
            </a:pPr>
            <a:r>
              <a:rPr lang="en-US" sz="1200" dirty="0" smtClean="0"/>
              <a:t>Cloud readiness evolution towards Software as a Service (SaaS) operations</a:t>
            </a:r>
            <a:endParaRPr lang="en-US" sz="1200" dirty="0">
              <a:cs typeface="Arial" pitchFamily="34" charset="0"/>
            </a:endParaRPr>
          </a:p>
          <a:p>
            <a:pPr algn="l">
              <a:lnSpc>
                <a:spcPts val="1300"/>
              </a:lnSpc>
              <a:spcBef>
                <a:spcPts val="300"/>
              </a:spcBef>
              <a:defRPr/>
            </a:pPr>
            <a:endParaRPr lang="en-US" sz="1200" dirty="0">
              <a:cs typeface="Arial" pitchFamily="34" charset="0"/>
            </a:endParaRPr>
          </a:p>
        </p:txBody>
      </p:sp>
      <p:sp>
        <p:nvSpPr>
          <p:cNvPr id="93" name="Freeform 7"/>
          <p:cNvSpPr>
            <a:spLocks noChangeAspect="1"/>
          </p:cNvSpPr>
          <p:nvPr/>
        </p:nvSpPr>
        <p:spPr bwMode="auto">
          <a:xfrm>
            <a:off x="534688" y="1451571"/>
            <a:ext cx="2380508" cy="604570"/>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3"/>
              <a:gd name="T106" fmla="*/ 0 h 227"/>
              <a:gd name="T107" fmla="*/ 733 w 733"/>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89BA17"/>
          </a:solidFill>
          <a:ln w="9525">
            <a:noFill/>
            <a:round/>
            <a:headEnd/>
            <a:tailEnd/>
          </a:ln>
          <a:extLst/>
        </p:spPr>
        <p:txBody>
          <a:bodyPr lIns="126000" tIns="82800" rIns="126000" anchor="ctr"/>
          <a:lstStyle/>
          <a:p>
            <a:pPr>
              <a:lnSpc>
                <a:spcPct val="90000"/>
              </a:lnSpc>
            </a:pPr>
            <a:r>
              <a:rPr lang="sv-SE" dirty="0">
                <a:solidFill>
                  <a:srgbClr val="58585A"/>
                </a:solidFill>
                <a:latin typeface="+mn-lt"/>
                <a:ea typeface="MS PGothic" pitchFamily="34" charset="-128"/>
              </a:rPr>
              <a:t>Release  </a:t>
            </a:r>
            <a:r>
              <a:rPr lang="sv-SE" dirty="0" smtClean="0">
                <a:solidFill>
                  <a:srgbClr val="58585A"/>
                </a:solidFill>
                <a:latin typeface="+mn-lt"/>
                <a:ea typeface="MS PGothic" pitchFamily="34" charset="-128"/>
              </a:rPr>
              <a:t>14.1 </a:t>
            </a:r>
            <a:endParaRPr lang="sv-SE" dirty="0">
              <a:solidFill>
                <a:srgbClr val="58585A"/>
              </a:solidFill>
              <a:latin typeface="+mn-lt"/>
              <a:ea typeface="MS PGothic" pitchFamily="34" charset="-128"/>
            </a:endParaRPr>
          </a:p>
        </p:txBody>
      </p:sp>
      <p:sp>
        <p:nvSpPr>
          <p:cNvPr id="94" name="Freeform 7"/>
          <p:cNvSpPr>
            <a:spLocks noChangeAspect="1"/>
          </p:cNvSpPr>
          <p:nvPr/>
        </p:nvSpPr>
        <p:spPr bwMode="auto">
          <a:xfrm>
            <a:off x="3054566" y="1451571"/>
            <a:ext cx="2363468" cy="604570"/>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3"/>
              <a:gd name="T106" fmla="*/ 0 h 227"/>
              <a:gd name="T107" fmla="*/ 733 w 733"/>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5B6592"/>
          </a:solidFill>
          <a:ln w="9525">
            <a:noFill/>
            <a:round/>
            <a:headEnd/>
            <a:tailEnd/>
          </a:ln>
          <a:extLst/>
        </p:spPr>
        <p:txBody>
          <a:bodyPr lIns="126000" tIns="82800" rIns="126000" anchor="ctr"/>
          <a:lstStyle/>
          <a:p>
            <a:pPr>
              <a:lnSpc>
                <a:spcPct val="90000"/>
              </a:lnSpc>
            </a:pPr>
            <a:r>
              <a:rPr lang="sv-SE" dirty="0">
                <a:solidFill>
                  <a:srgbClr val="58585A"/>
                </a:solidFill>
                <a:latin typeface="+mn-lt"/>
                <a:ea typeface="MS PGothic" pitchFamily="34" charset="-128"/>
              </a:rPr>
              <a:t>Release  </a:t>
            </a:r>
            <a:r>
              <a:rPr lang="sv-SE" dirty="0" smtClean="0">
                <a:solidFill>
                  <a:srgbClr val="58585A"/>
                </a:solidFill>
                <a:latin typeface="+mn-lt"/>
                <a:ea typeface="MS PGothic" pitchFamily="34" charset="-128"/>
              </a:rPr>
              <a:t>14.2 </a:t>
            </a:r>
            <a:endParaRPr lang="sv-SE" dirty="0">
              <a:solidFill>
                <a:srgbClr val="58585A"/>
              </a:solidFill>
              <a:latin typeface="+mn-lt"/>
              <a:ea typeface="MS PGothic" pitchFamily="34" charset="-128"/>
            </a:endParaRPr>
          </a:p>
        </p:txBody>
      </p:sp>
      <p:sp>
        <p:nvSpPr>
          <p:cNvPr id="95" name="Freeform 7"/>
          <p:cNvSpPr>
            <a:spLocks noChangeAspect="1"/>
          </p:cNvSpPr>
          <p:nvPr/>
        </p:nvSpPr>
        <p:spPr bwMode="auto">
          <a:xfrm>
            <a:off x="5632978" y="1451571"/>
            <a:ext cx="2380508" cy="604570"/>
          </a:xfrm>
          <a:custGeom>
            <a:avLst/>
            <a:gdLst>
              <a:gd name="T0" fmla="*/ 2147483647 w 733"/>
              <a:gd name="T1" fmla="*/ 2147483647 h 227"/>
              <a:gd name="T2" fmla="*/ 0 w 733"/>
              <a:gd name="T3" fmla="*/ 2147483647 h 227"/>
              <a:gd name="T4" fmla="*/ 0 w 733"/>
              <a:gd name="T5" fmla="*/ 2147483647 h 227"/>
              <a:gd name="T6" fmla="*/ 0 w 733"/>
              <a:gd name="T7" fmla="*/ 2147483647 h 227"/>
              <a:gd name="T8" fmla="*/ 2147483647 w 733"/>
              <a:gd name="T9" fmla="*/ 0 h 227"/>
              <a:gd name="T10" fmla="*/ 2147483647 w 733"/>
              <a:gd name="T11" fmla="*/ 0 h 227"/>
              <a:gd name="T12" fmla="*/ 2147483647 w 733"/>
              <a:gd name="T13" fmla="*/ 0 h 227"/>
              <a:gd name="T14" fmla="*/ 2147483647 w 733"/>
              <a:gd name="T15" fmla="*/ 2147483647 h 227"/>
              <a:gd name="T16" fmla="*/ 2147483647 w 733"/>
              <a:gd name="T17" fmla="*/ 2147483647 h 227"/>
              <a:gd name="T18" fmla="*/ 2147483647 w 733"/>
              <a:gd name="T19" fmla="*/ 2147483647 h 227"/>
              <a:gd name="T20" fmla="*/ 2147483647 w 733"/>
              <a:gd name="T21" fmla="*/ 2147483647 h 227"/>
              <a:gd name="T22" fmla="*/ 2147483647 w 733"/>
              <a:gd name="T23" fmla="*/ 2147483647 h 227"/>
              <a:gd name="T24" fmla="*/ 2147483647 w 733"/>
              <a:gd name="T25" fmla="*/ 2147483647 h 227"/>
              <a:gd name="T26" fmla="*/ 2147483647 w 733"/>
              <a:gd name="T27" fmla="*/ 2147483647 h 227"/>
              <a:gd name="T28" fmla="*/ 2147483647 w 733"/>
              <a:gd name="T29" fmla="*/ 2147483647 h 227"/>
              <a:gd name="T30" fmla="*/ 2147483647 w 733"/>
              <a:gd name="T31" fmla="*/ 2147483647 h 227"/>
              <a:gd name="T32" fmla="*/ 2147483647 w 733"/>
              <a:gd name="T33" fmla="*/ 2147483647 h 227"/>
              <a:gd name="T34" fmla="*/ 2147483647 w 733"/>
              <a:gd name="T35" fmla="*/ 2147483647 h 227"/>
              <a:gd name="T36" fmla="*/ 2147483647 w 733"/>
              <a:gd name="T37" fmla="*/ 2147483647 h 227"/>
              <a:gd name="T38" fmla="*/ 2147483647 w 733"/>
              <a:gd name="T39" fmla="*/ 2147483647 h 227"/>
              <a:gd name="T40" fmla="*/ 2147483647 w 733"/>
              <a:gd name="T41" fmla="*/ 2147483647 h 227"/>
              <a:gd name="T42" fmla="*/ 2147483647 w 733"/>
              <a:gd name="T43" fmla="*/ 2147483647 h 227"/>
              <a:gd name="T44" fmla="*/ 2147483647 w 733"/>
              <a:gd name="T45" fmla="*/ 2147483647 h 227"/>
              <a:gd name="T46" fmla="*/ 2147483647 w 733"/>
              <a:gd name="T47" fmla="*/ 2147483647 h 227"/>
              <a:gd name="T48" fmla="*/ 2147483647 w 733"/>
              <a:gd name="T49" fmla="*/ 2147483647 h 227"/>
              <a:gd name="T50" fmla="*/ 2147483647 w 733"/>
              <a:gd name="T51" fmla="*/ 2147483647 h 227"/>
              <a:gd name="T52" fmla="*/ 2147483647 w 733"/>
              <a:gd name="T53" fmla="*/ 2147483647 h 227"/>
              <a:gd name="T54" fmla="*/ 2147483647 w 733"/>
              <a:gd name="T55" fmla="*/ 2147483647 h 227"/>
              <a:gd name="T56" fmla="*/ 2147483647 w 733"/>
              <a:gd name="T57" fmla="*/ 2147483647 h 227"/>
              <a:gd name="T58" fmla="*/ 2147483647 w 733"/>
              <a:gd name="T59" fmla="*/ 2147483647 h 227"/>
              <a:gd name="T60" fmla="*/ 2147483647 w 733"/>
              <a:gd name="T61" fmla="*/ 2147483647 h 227"/>
              <a:gd name="T62" fmla="*/ 2147483647 w 733"/>
              <a:gd name="T63" fmla="*/ 2147483647 h 227"/>
              <a:gd name="T64" fmla="*/ 2147483647 w 733"/>
              <a:gd name="T65" fmla="*/ 2147483647 h 227"/>
              <a:gd name="T66" fmla="*/ 2147483647 w 733"/>
              <a:gd name="T67" fmla="*/ 2147483647 h 227"/>
              <a:gd name="T68" fmla="*/ 2147483647 w 733"/>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3"/>
              <a:gd name="T106" fmla="*/ 0 h 227"/>
              <a:gd name="T107" fmla="*/ 733 w 733"/>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3"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702" y="211"/>
                  <a:pt x="702" y="211"/>
                  <a:pt x="702" y="211"/>
                </a:cubicBezTo>
                <a:cubicBezTo>
                  <a:pt x="710" y="211"/>
                  <a:pt x="717" y="204"/>
                  <a:pt x="717" y="196"/>
                </a:cubicBezTo>
                <a:cubicBezTo>
                  <a:pt x="717" y="196"/>
                  <a:pt x="717" y="196"/>
                  <a:pt x="717" y="196"/>
                </a:cubicBezTo>
                <a:cubicBezTo>
                  <a:pt x="717" y="82"/>
                  <a:pt x="717" y="82"/>
                  <a:pt x="717" y="82"/>
                </a:cubicBezTo>
                <a:cubicBezTo>
                  <a:pt x="717" y="78"/>
                  <a:pt x="720" y="74"/>
                  <a:pt x="725" y="74"/>
                </a:cubicBezTo>
                <a:cubicBezTo>
                  <a:pt x="725" y="74"/>
                  <a:pt x="725" y="74"/>
                  <a:pt x="725" y="74"/>
                </a:cubicBezTo>
                <a:cubicBezTo>
                  <a:pt x="729" y="74"/>
                  <a:pt x="733" y="78"/>
                  <a:pt x="733" y="82"/>
                </a:cubicBezTo>
                <a:cubicBezTo>
                  <a:pt x="733" y="82"/>
                  <a:pt x="733" y="82"/>
                  <a:pt x="733" y="82"/>
                </a:cubicBezTo>
                <a:cubicBezTo>
                  <a:pt x="733" y="196"/>
                  <a:pt x="733" y="196"/>
                  <a:pt x="733" y="196"/>
                </a:cubicBezTo>
                <a:cubicBezTo>
                  <a:pt x="733" y="213"/>
                  <a:pt x="719" y="227"/>
                  <a:pt x="702" y="227"/>
                </a:cubicBezTo>
                <a:cubicBezTo>
                  <a:pt x="702" y="227"/>
                  <a:pt x="702" y="227"/>
                  <a:pt x="702" y="227"/>
                </a:cubicBezTo>
                <a:cubicBezTo>
                  <a:pt x="31" y="227"/>
                  <a:pt x="31" y="227"/>
                  <a:pt x="31" y="227"/>
                </a:cubicBezTo>
                <a:close/>
              </a:path>
            </a:pathLst>
          </a:custGeom>
          <a:solidFill>
            <a:srgbClr val="92CCE5"/>
          </a:solidFill>
          <a:ln w="9525">
            <a:noFill/>
            <a:round/>
            <a:headEnd/>
            <a:tailEnd/>
          </a:ln>
          <a:extLst/>
        </p:spPr>
        <p:txBody>
          <a:bodyPr lIns="126000" tIns="82800" rIns="126000" anchor="ctr"/>
          <a:lstStyle/>
          <a:p>
            <a:pPr>
              <a:lnSpc>
                <a:spcPct val="90000"/>
              </a:lnSpc>
            </a:pPr>
            <a:r>
              <a:rPr lang="sv-SE" dirty="0">
                <a:solidFill>
                  <a:srgbClr val="58585A"/>
                </a:solidFill>
                <a:latin typeface="+mn-lt"/>
                <a:ea typeface="MS PGothic" pitchFamily="34" charset="-128"/>
              </a:rPr>
              <a:t>Release  </a:t>
            </a:r>
            <a:r>
              <a:rPr lang="sv-SE" dirty="0" smtClean="0">
                <a:solidFill>
                  <a:srgbClr val="58585A"/>
                </a:solidFill>
                <a:latin typeface="+mn-lt"/>
                <a:ea typeface="MS PGothic" pitchFamily="34" charset="-128"/>
              </a:rPr>
              <a:t>16.0 </a:t>
            </a:r>
            <a:endParaRPr lang="sv-SE" dirty="0">
              <a:solidFill>
                <a:srgbClr val="58585A"/>
              </a:solidFill>
              <a:latin typeface="+mn-lt"/>
              <a:ea typeface="MS PGothic" pitchFamily="34" charset="-128"/>
            </a:endParaRPr>
          </a:p>
        </p:txBody>
      </p:sp>
      <p:grpSp>
        <p:nvGrpSpPr>
          <p:cNvPr id="2" name="Group 1"/>
          <p:cNvGrpSpPr/>
          <p:nvPr/>
        </p:nvGrpSpPr>
        <p:grpSpPr>
          <a:xfrm>
            <a:off x="1099070" y="5512593"/>
            <a:ext cx="6690331" cy="1068387"/>
            <a:chOff x="373857" y="5522913"/>
            <a:chExt cx="6690331" cy="1068387"/>
          </a:xfrm>
        </p:grpSpPr>
        <p:sp>
          <p:nvSpPr>
            <p:cNvPr id="30741" name="Freeform 5" descr="bpct-blend2"/>
            <p:cNvSpPr>
              <a:spLocks noChangeAspect="1"/>
            </p:cNvSpPr>
            <p:nvPr/>
          </p:nvSpPr>
          <p:spPr bwMode="auto">
            <a:xfrm>
              <a:off x="373857" y="5767388"/>
              <a:ext cx="6690331" cy="819149"/>
            </a:xfrm>
            <a:custGeom>
              <a:avLst/>
              <a:gdLst>
                <a:gd name="T0" fmla="*/ 2147483647 w 2033"/>
                <a:gd name="T1" fmla="*/ 2147483647 h 218"/>
                <a:gd name="T2" fmla="*/ 2147483647 w 2033"/>
                <a:gd name="T3" fmla="*/ 2147483647 h 218"/>
                <a:gd name="T4" fmla="*/ 2147483647 w 2033"/>
                <a:gd name="T5" fmla="*/ 2147483647 h 218"/>
                <a:gd name="T6" fmla="*/ 2147483647 w 2033"/>
                <a:gd name="T7" fmla="*/ 2147483647 h 218"/>
                <a:gd name="T8" fmla="*/ 0 w 2033"/>
                <a:gd name="T9" fmla="*/ 2147483647 h 218"/>
                <a:gd name="T10" fmla="*/ 0 w 2033"/>
                <a:gd name="T11" fmla="*/ 2147483647 h 218"/>
                <a:gd name="T12" fmla="*/ 2147483647 w 2033"/>
                <a:gd name="T13" fmla="*/ 2147483647 h 218"/>
                <a:gd name="T14" fmla="*/ 2147483647 w 2033"/>
                <a:gd name="T15" fmla="*/ 2147483647 h 218"/>
                <a:gd name="T16" fmla="*/ 2147483647 w 2033"/>
                <a:gd name="T17" fmla="*/ 2147483647 h 218"/>
                <a:gd name="T18" fmla="*/ 2147483647 w 2033"/>
                <a:gd name="T19" fmla="*/ 2147483647 h 218"/>
                <a:gd name="T20" fmla="*/ 2147483647 w 2033"/>
                <a:gd name="T21" fmla="*/ 2147483647 h 218"/>
                <a:gd name="T22" fmla="*/ 2147483647 w 2033"/>
                <a:gd name="T23" fmla="*/ 2147483647 h 218"/>
                <a:gd name="T24" fmla="*/ 2147483647 w 2033"/>
                <a:gd name="T25" fmla="*/ 2147483647 h 218"/>
                <a:gd name="T26" fmla="*/ 2147483647 w 2033"/>
                <a:gd name="T27" fmla="*/ 2147483647 h 2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33"/>
                <a:gd name="T43" fmla="*/ 0 h 218"/>
                <a:gd name="T44" fmla="*/ 2033 w 2033"/>
                <a:gd name="T45" fmla="*/ 218 h 2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33" h="218">
                  <a:moveTo>
                    <a:pt x="1920" y="9"/>
                  </a:moveTo>
                  <a:cubicBezTo>
                    <a:pt x="1906" y="0"/>
                    <a:pt x="1894" y="2"/>
                    <a:pt x="1894" y="22"/>
                  </a:cubicBezTo>
                  <a:cubicBezTo>
                    <a:pt x="1894" y="26"/>
                    <a:pt x="1894" y="32"/>
                    <a:pt x="1894" y="39"/>
                  </a:cubicBezTo>
                  <a:cubicBezTo>
                    <a:pt x="14" y="39"/>
                    <a:pt x="14" y="39"/>
                    <a:pt x="14" y="39"/>
                  </a:cubicBezTo>
                  <a:cubicBezTo>
                    <a:pt x="6" y="39"/>
                    <a:pt x="0" y="45"/>
                    <a:pt x="0" y="53"/>
                  </a:cubicBezTo>
                  <a:cubicBezTo>
                    <a:pt x="0" y="165"/>
                    <a:pt x="0" y="165"/>
                    <a:pt x="0" y="165"/>
                  </a:cubicBezTo>
                  <a:cubicBezTo>
                    <a:pt x="0" y="173"/>
                    <a:pt x="6" y="179"/>
                    <a:pt x="14" y="179"/>
                  </a:cubicBezTo>
                  <a:cubicBezTo>
                    <a:pt x="1894" y="179"/>
                    <a:pt x="1894" y="179"/>
                    <a:pt x="1894" y="179"/>
                  </a:cubicBezTo>
                  <a:cubicBezTo>
                    <a:pt x="1894" y="186"/>
                    <a:pt x="1894" y="191"/>
                    <a:pt x="1894" y="195"/>
                  </a:cubicBezTo>
                  <a:cubicBezTo>
                    <a:pt x="1894" y="215"/>
                    <a:pt x="1907" y="218"/>
                    <a:pt x="1920" y="209"/>
                  </a:cubicBezTo>
                  <a:cubicBezTo>
                    <a:pt x="1932" y="199"/>
                    <a:pt x="2013" y="135"/>
                    <a:pt x="2024" y="126"/>
                  </a:cubicBezTo>
                  <a:cubicBezTo>
                    <a:pt x="2030" y="121"/>
                    <a:pt x="2033" y="116"/>
                    <a:pt x="2033" y="109"/>
                  </a:cubicBezTo>
                  <a:cubicBezTo>
                    <a:pt x="2033" y="102"/>
                    <a:pt x="2030" y="97"/>
                    <a:pt x="2024" y="92"/>
                  </a:cubicBezTo>
                  <a:cubicBezTo>
                    <a:pt x="2013" y="83"/>
                    <a:pt x="1927" y="14"/>
                    <a:pt x="1920" y="9"/>
                  </a:cubicBezTo>
                  <a:close/>
                </a:path>
              </a:pathLst>
            </a:custGeom>
            <a:blipFill dpi="0" rotWithShape="0">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30743" name="Text Box 5"/>
            <p:cNvSpPr txBox="1">
              <a:spLocks noChangeArrowheads="1"/>
            </p:cNvSpPr>
            <p:nvPr/>
          </p:nvSpPr>
          <p:spPr bwMode="auto">
            <a:xfrm>
              <a:off x="1099070" y="5902326"/>
              <a:ext cx="35059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r>
                <a:rPr lang="en-US" sz="1200" b="1" dirty="0">
                  <a:solidFill>
                    <a:srgbClr val="FFFFFF"/>
                  </a:solidFill>
                  <a:cs typeface="Arial" charset="0"/>
                </a:rPr>
                <a:t>Q4</a:t>
              </a:r>
            </a:p>
          </p:txBody>
        </p:sp>
        <p:sp>
          <p:nvSpPr>
            <p:cNvPr id="30744" name="Text Box 6"/>
            <p:cNvSpPr txBox="1">
              <a:spLocks noChangeArrowheads="1"/>
            </p:cNvSpPr>
            <p:nvPr/>
          </p:nvSpPr>
          <p:spPr bwMode="auto">
            <a:xfrm>
              <a:off x="1031744" y="6152836"/>
              <a:ext cx="4852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r>
                <a:rPr lang="en-US" sz="1200" b="1" dirty="0" smtClean="0">
                  <a:solidFill>
                    <a:srgbClr val="FFFFFF"/>
                  </a:solidFill>
                  <a:cs typeface="Arial" charset="0"/>
                </a:rPr>
                <a:t>2014</a:t>
              </a:r>
              <a:endParaRPr lang="en-US" sz="1200" b="1" dirty="0">
                <a:solidFill>
                  <a:srgbClr val="FFFFFF"/>
                </a:solidFill>
                <a:cs typeface="Arial" charset="0"/>
              </a:endParaRPr>
            </a:p>
          </p:txBody>
        </p:sp>
        <p:sp>
          <p:nvSpPr>
            <p:cNvPr id="30745" name="Text Box 7"/>
            <p:cNvSpPr txBox="1">
              <a:spLocks noChangeArrowheads="1"/>
            </p:cNvSpPr>
            <p:nvPr/>
          </p:nvSpPr>
          <p:spPr bwMode="auto">
            <a:xfrm>
              <a:off x="3797276" y="5898375"/>
              <a:ext cx="35059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r>
                <a:rPr lang="en-US" sz="1200" b="1" dirty="0">
                  <a:solidFill>
                    <a:srgbClr val="FFFFFF"/>
                  </a:solidFill>
                  <a:cs typeface="Arial" charset="0"/>
                </a:rPr>
                <a:t>Q3</a:t>
              </a:r>
            </a:p>
          </p:txBody>
        </p:sp>
        <p:sp>
          <p:nvSpPr>
            <p:cNvPr id="30747" name="Text Box 9"/>
            <p:cNvSpPr txBox="1">
              <a:spLocks noChangeArrowheads="1"/>
            </p:cNvSpPr>
            <p:nvPr/>
          </p:nvSpPr>
          <p:spPr bwMode="auto">
            <a:xfrm>
              <a:off x="1988060" y="5905114"/>
              <a:ext cx="35059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r>
                <a:rPr lang="en-US" sz="1200" b="1" dirty="0">
                  <a:solidFill>
                    <a:srgbClr val="FFFFFF"/>
                  </a:solidFill>
                  <a:cs typeface="Arial" charset="0"/>
                </a:rPr>
                <a:t>Q1</a:t>
              </a:r>
            </a:p>
          </p:txBody>
        </p:sp>
        <p:sp>
          <p:nvSpPr>
            <p:cNvPr id="30748" name="Text Box 10"/>
            <p:cNvSpPr txBox="1">
              <a:spLocks noChangeArrowheads="1"/>
            </p:cNvSpPr>
            <p:nvPr/>
          </p:nvSpPr>
          <p:spPr bwMode="auto">
            <a:xfrm>
              <a:off x="2899295" y="5902326"/>
              <a:ext cx="35059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r>
                <a:rPr lang="en-US" sz="1200" b="1" dirty="0">
                  <a:solidFill>
                    <a:srgbClr val="FFFFFF"/>
                  </a:solidFill>
                  <a:cs typeface="Arial" charset="0"/>
                </a:rPr>
                <a:t>Q2</a:t>
              </a:r>
            </a:p>
          </p:txBody>
        </p:sp>
        <p:sp>
          <p:nvSpPr>
            <p:cNvPr id="30750" name="Text Box 12"/>
            <p:cNvSpPr txBox="1">
              <a:spLocks noChangeArrowheads="1"/>
            </p:cNvSpPr>
            <p:nvPr/>
          </p:nvSpPr>
          <p:spPr bwMode="auto">
            <a:xfrm>
              <a:off x="3282819" y="6172201"/>
              <a:ext cx="4852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r>
                <a:rPr lang="en-US" sz="1200" b="1" dirty="0">
                  <a:solidFill>
                    <a:srgbClr val="FFFFFF"/>
                  </a:solidFill>
                  <a:cs typeface="Arial" charset="0"/>
                </a:rPr>
                <a:t>2015</a:t>
              </a:r>
            </a:p>
          </p:txBody>
        </p:sp>
        <p:sp>
          <p:nvSpPr>
            <p:cNvPr id="30752" name="Text Box 14"/>
            <p:cNvSpPr txBox="1">
              <a:spLocks noChangeArrowheads="1"/>
            </p:cNvSpPr>
            <p:nvPr/>
          </p:nvSpPr>
          <p:spPr bwMode="auto">
            <a:xfrm>
              <a:off x="4703006" y="5902326"/>
              <a:ext cx="35059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r>
                <a:rPr lang="en-US" sz="1200" b="1" dirty="0">
                  <a:solidFill>
                    <a:srgbClr val="FFFFFF"/>
                  </a:solidFill>
                  <a:cs typeface="Arial" charset="0"/>
                </a:rPr>
                <a:t>Q4</a:t>
              </a:r>
            </a:p>
          </p:txBody>
        </p:sp>
        <p:sp>
          <p:nvSpPr>
            <p:cNvPr id="30755" name="Text Box 17"/>
            <p:cNvSpPr txBox="1">
              <a:spLocks noChangeArrowheads="1"/>
            </p:cNvSpPr>
            <p:nvPr/>
          </p:nvSpPr>
          <p:spPr bwMode="auto">
            <a:xfrm>
              <a:off x="5532307" y="6170239"/>
              <a:ext cx="4852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r>
                <a:rPr lang="en-US" sz="1200" b="1" dirty="0">
                  <a:solidFill>
                    <a:srgbClr val="FFFFFF"/>
                  </a:solidFill>
                  <a:cs typeface="Arial" charset="0"/>
                </a:rPr>
                <a:t>2016</a:t>
              </a:r>
            </a:p>
          </p:txBody>
        </p:sp>
        <p:sp>
          <p:nvSpPr>
            <p:cNvPr id="30758" name="Text Box 20"/>
            <p:cNvSpPr txBox="1">
              <a:spLocks noChangeArrowheads="1"/>
            </p:cNvSpPr>
            <p:nvPr/>
          </p:nvSpPr>
          <p:spPr bwMode="auto">
            <a:xfrm>
              <a:off x="5599633" y="5898374"/>
              <a:ext cx="35059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r>
                <a:rPr lang="en-US" sz="1200" b="1" dirty="0">
                  <a:solidFill>
                    <a:srgbClr val="FFFFFF"/>
                  </a:solidFill>
                  <a:cs typeface="Arial" charset="0"/>
                </a:rPr>
                <a:t>Q1</a:t>
              </a:r>
            </a:p>
          </p:txBody>
        </p:sp>
        <p:grpSp>
          <p:nvGrpSpPr>
            <p:cNvPr id="30762" name="Group 24"/>
            <p:cNvGrpSpPr>
              <a:grpSpLocks/>
            </p:cNvGrpSpPr>
            <p:nvPr/>
          </p:nvGrpSpPr>
          <p:grpSpPr bwMode="auto">
            <a:xfrm>
              <a:off x="825104" y="5776913"/>
              <a:ext cx="5400675" cy="814387"/>
              <a:chOff x="527" y="3209"/>
              <a:chExt cx="3402" cy="513"/>
            </a:xfrm>
          </p:grpSpPr>
          <p:sp>
            <p:nvSpPr>
              <p:cNvPr id="30763" name="Line 25"/>
              <p:cNvSpPr>
                <a:spLocks noChangeShapeType="1"/>
              </p:cNvSpPr>
              <p:nvPr/>
            </p:nvSpPr>
            <p:spPr bwMode="auto">
              <a:xfrm>
                <a:off x="527" y="3209"/>
                <a:ext cx="0" cy="57"/>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64" name="Line 26"/>
              <p:cNvSpPr>
                <a:spLocks noChangeShapeType="1"/>
              </p:cNvSpPr>
              <p:nvPr/>
            </p:nvSpPr>
            <p:spPr bwMode="auto">
              <a:xfrm>
                <a:off x="527" y="3322"/>
                <a:ext cx="0" cy="114"/>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65" name="Line 27"/>
              <p:cNvSpPr>
                <a:spLocks noChangeShapeType="1"/>
              </p:cNvSpPr>
              <p:nvPr/>
            </p:nvSpPr>
            <p:spPr bwMode="auto">
              <a:xfrm>
                <a:off x="527" y="3663"/>
                <a:ext cx="0" cy="57"/>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69" name="Line 31"/>
              <p:cNvSpPr>
                <a:spLocks noChangeShapeType="1"/>
              </p:cNvSpPr>
              <p:nvPr/>
            </p:nvSpPr>
            <p:spPr bwMode="auto">
              <a:xfrm>
                <a:off x="1094" y="3211"/>
                <a:ext cx="0" cy="57"/>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70" name="Line 32"/>
              <p:cNvSpPr>
                <a:spLocks noChangeShapeType="1"/>
              </p:cNvSpPr>
              <p:nvPr/>
            </p:nvSpPr>
            <p:spPr bwMode="auto">
              <a:xfrm>
                <a:off x="1094" y="3324"/>
                <a:ext cx="0" cy="284"/>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71" name="Line 33"/>
              <p:cNvSpPr>
                <a:spLocks noChangeShapeType="1"/>
              </p:cNvSpPr>
              <p:nvPr/>
            </p:nvSpPr>
            <p:spPr bwMode="auto">
              <a:xfrm>
                <a:off x="1094" y="3665"/>
                <a:ext cx="0" cy="57"/>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75" name="Line 37"/>
              <p:cNvSpPr>
                <a:spLocks noChangeShapeType="1"/>
              </p:cNvSpPr>
              <p:nvPr/>
            </p:nvSpPr>
            <p:spPr bwMode="auto">
              <a:xfrm>
                <a:off x="1661" y="3211"/>
                <a:ext cx="0" cy="57"/>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76" name="Line 38"/>
              <p:cNvSpPr>
                <a:spLocks noChangeShapeType="1"/>
              </p:cNvSpPr>
              <p:nvPr/>
            </p:nvSpPr>
            <p:spPr bwMode="auto">
              <a:xfrm>
                <a:off x="1661" y="3324"/>
                <a:ext cx="0" cy="114"/>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77" name="Line 39"/>
              <p:cNvSpPr>
                <a:spLocks noChangeShapeType="1"/>
              </p:cNvSpPr>
              <p:nvPr/>
            </p:nvSpPr>
            <p:spPr bwMode="auto">
              <a:xfrm>
                <a:off x="1661" y="3665"/>
                <a:ext cx="0" cy="57"/>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81" name="Line 43"/>
              <p:cNvSpPr>
                <a:spLocks noChangeShapeType="1"/>
              </p:cNvSpPr>
              <p:nvPr/>
            </p:nvSpPr>
            <p:spPr bwMode="auto">
              <a:xfrm>
                <a:off x="2228" y="3211"/>
                <a:ext cx="0" cy="57"/>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83" name="Line 45"/>
              <p:cNvSpPr>
                <a:spLocks noChangeShapeType="1"/>
              </p:cNvSpPr>
              <p:nvPr/>
            </p:nvSpPr>
            <p:spPr bwMode="auto">
              <a:xfrm>
                <a:off x="2228" y="3665"/>
                <a:ext cx="0" cy="57"/>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87" name="Line 49"/>
              <p:cNvSpPr>
                <a:spLocks noChangeShapeType="1"/>
              </p:cNvSpPr>
              <p:nvPr/>
            </p:nvSpPr>
            <p:spPr bwMode="auto">
              <a:xfrm>
                <a:off x="2795" y="3211"/>
                <a:ext cx="0" cy="57"/>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88" name="Line 50"/>
              <p:cNvSpPr>
                <a:spLocks noChangeShapeType="1"/>
              </p:cNvSpPr>
              <p:nvPr/>
            </p:nvSpPr>
            <p:spPr bwMode="auto">
              <a:xfrm>
                <a:off x="2795" y="3324"/>
                <a:ext cx="0" cy="114"/>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89" name="Line 51"/>
              <p:cNvSpPr>
                <a:spLocks noChangeShapeType="1"/>
              </p:cNvSpPr>
              <p:nvPr/>
            </p:nvSpPr>
            <p:spPr bwMode="auto">
              <a:xfrm>
                <a:off x="2795" y="3665"/>
                <a:ext cx="0" cy="57"/>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93" name="Line 55"/>
              <p:cNvSpPr>
                <a:spLocks noChangeShapeType="1"/>
              </p:cNvSpPr>
              <p:nvPr/>
            </p:nvSpPr>
            <p:spPr bwMode="auto">
              <a:xfrm>
                <a:off x="3362" y="3211"/>
                <a:ext cx="0" cy="57"/>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94" name="Line 56"/>
              <p:cNvSpPr>
                <a:spLocks noChangeShapeType="1"/>
              </p:cNvSpPr>
              <p:nvPr/>
            </p:nvSpPr>
            <p:spPr bwMode="auto">
              <a:xfrm>
                <a:off x="3362" y="3324"/>
                <a:ext cx="0" cy="284"/>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95" name="Line 57"/>
              <p:cNvSpPr>
                <a:spLocks noChangeShapeType="1"/>
              </p:cNvSpPr>
              <p:nvPr/>
            </p:nvSpPr>
            <p:spPr bwMode="auto">
              <a:xfrm>
                <a:off x="3362" y="3665"/>
                <a:ext cx="0" cy="57"/>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799" name="Line 61"/>
              <p:cNvSpPr>
                <a:spLocks noChangeShapeType="1"/>
              </p:cNvSpPr>
              <p:nvPr/>
            </p:nvSpPr>
            <p:spPr bwMode="auto">
              <a:xfrm>
                <a:off x="3929" y="3209"/>
                <a:ext cx="0" cy="57"/>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800" name="Line 62"/>
              <p:cNvSpPr>
                <a:spLocks noChangeShapeType="1"/>
              </p:cNvSpPr>
              <p:nvPr/>
            </p:nvSpPr>
            <p:spPr bwMode="auto">
              <a:xfrm>
                <a:off x="3929" y="3322"/>
                <a:ext cx="0" cy="114"/>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sp>
            <p:nvSpPr>
              <p:cNvPr id="30801" name="Line 63"/>
              <p:cNvSpPr>
                <a:spLocks noChangeShapeType="1"/>
              </p:cNvSpPr>
              <p:nvPr/>
            </p:nvSpPr>
            <p:spPr bwMode="auto">
              <a:xfrm>
                <a:off x="3929" y="3663"/>
                <a:ext cx="0" cy="57"/>
              </a:xfrm>
              <a:prstGeom prst="line">
                <a:avLst/>
              </a:prstGeom>
              <a:noFill/>
              <a:ln w="12700">
                <a:solidFill>
                  <a:srgbClr val="D1D2D4"/>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grpSp>
        <p:sp>
          <p:nvSpPr>
            <p:cNvPr id="30736" name="Freeform 7"/>
            <p:cNvSpPr>
              <a:spLocks noChangeAspect="1"/>
            </p:cNvSpPr>
            <p:nvPr/>
          </p:nvSpPr>
          <p:spPr bwMode="auto">
            <a:xfrm flipV="1">
              <a:off x="1359801" y="5535612"/>
              <a:ext cx="495729" cy="317500"/>
            </a:xfrm>
            <a:custGeom>
              <a:avLst/>
              <a:gdLst>
                <a:gd name="T0" fmla="*/ 2147483647 w 265"/>
                <a:gd name="T1" fmla="*/ 2147483647 h 211"/>
                <a:gd name="T2" fmla="*/ 2147483647 w 265"/>
                <a:gd name="T3" fmla="*/ 2147483647 h 211"/>
                <a:gd name="T4" fmla="*/ 2147483647 w 265"/>
                <a:gd name="T5" fmla="*/ 0 h 211"/>
                <a:gd name="T6" fmla="*/ 2147483647 w 265"/>
                <a:gd name="T7" fmla="*/ 2147483647 h 211"/>
                <a:gd name="T8" fmla="*/ 2147483647 w 265"/>
                <a:gd name="T9" fmla="*/ 2147483647 h 211"/>
                <a:gd name="T10" fmla="*/ 0 w 265"/>
                <a:gd name="T11" fmla="*/ 2147483647 h 211"/>
                <a:gd name="T12" fmla="*/ 0 w 265"/>
                <a:gd name="T13" fmla="*/ 2147483647 h 211"/>
                <a:gd name="T14" fmla="*/ 2147483647 w 265"/>
                <a:gd name="T15" fmla="*/ 2147483647 h 211"/>
                <a:gd name="T16" fmla="*/ 2147483647 w 265"/>
                <a:gd name="T17" fmla="*/ 2147483647 h 211"/>
                <a:gd name="T18" fmla="*/ 2147483647 w 265"/>
                <a:gd name="T19" fmla="*/ 2147483647 h 211"/>
                <a:gd name="T20" fmla="*/ 2147483647 w 265"/>
                <a:gd name="T21" fmla="*/ 2147483647 h 211"/>
                <a:gd name="T22" fmla="*/ 2147483647 w 265"/>
                <a:gd name="T23" fmla="*/ 2147483647 h 2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5"/>
                <a:gd name="T37" fmla="*/ 0 h 211"/>
                <a:gd name="T38" fmla="*/ 265 w 265"/>
                <a:gd name="T39" fmla="*/ 211 h 2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5" h="211">
                  <a:moveTo>
                    <a:pt x="247" y="85"/>
                  </a:moveTo>
                  <a:cubicBezTo>
                    <a:pt x="154" y="6"/>
                    <a:pt x="154" y="6"/>
                    <a:pt x="154" y="6"/>
                  </a:cubicBezTo>
                  <a:cubicBezTo>
                    <a:pt x="154" y="6"/>
                    <a:pt x="146" y="0"/>
                    <a:pt x="132" y="0"/>
                  </a:cubicBezTo>
                  <a:cubicBezTo>
                    <a:pt x="119" y="0"/>
                    <a:pt x="111" y="6"/>
                    <a:pt x="111" y="6"/>
                  </a:cubicBezTo>
                  <a:cubicBezTo>
                    <a:pt x="21" y="82"/>
                    <a:pt x="21" y="82"/>
                    <a:pt x="21" y="82"/>
                  </a:cubicBezTo>
                  <a:cubicBezTo>
                    <a:pt x="21" y="82"/>
                    <a:pt x="0" y="100"/>
                    <a:pt x="0" y="118"/>
                  </a:cubicBezTo>
                  <a:cubicBezTo>
                    <a:pt x="0" y="125"/>
                    <a:pt x="0" y="176"/>
                    <a:pt x="0" y="190"/>
                  </a:cubicBezTo>
                  <a:cubicBezTo>
                    <a:pt x="0" y="202"/>
                    <a:pt x="10" y="211"/>
                    <a:pt x="21" y="211"/>
                  </a:cubicBezTo>
                  <a:cubicBezTo>
                    <a:pt x="243" y="211"/>
                    <a:pt x="243" y="211"/>
                    <a:pt x="243" y="211"/>
                  </a:cubicBezTo>
                  <a:cubicBezTo>
                    <a:pt x="255" y="211"/>
                    <a:pt x="265" y="202"/>
                    <a:pt x="265" y="190"/>
                  </a:cubicBezTo>
                  <a:cubicBezTo>
                    <a:pt x="265" y="175"/>
                    <a:pt x="265" y="125"/>
                    <a:pt x="265" y="118"/>
                  </a:cubicBezTo>
                  <a:cubicBezTo>
                    <a:pt x="265" y="100"/>
                    <a:pt x="247" y="85"/>
                    <a:pt x="247" y="85"/>
                  </a:cubicBezTo>
                  <a:close/>
                </a:path>
              </a:pathLst>
            </a:custGeom>
            <a:solidFill>
              <a:srgbClr val="89BA17"/>
            </a:solidFill>
            <a:ln>
              <a:noFill/>
            </a:ln>
            <a:extLst/>
          </p:spPr>
          <p:txBody>
            <a:bodyPr rot="10800000"/>
            <a:lstStyle/>
            <a:p>
              <a:pPr algn="ctr">
                <a:spcBef>
                  <a:spcPct val="50000"/>
                </a:spcBef>
              </a:pPr>
              <a:r>
                <a:rPr lang="en-US" sz="1200" b="1">
                  <a:solidFill>
                    <a:schemeClr val="bg1"/>
                  </a:solidFill>
                  <a:cs typeface="Times New Roman" pitchFamily="18" charset="0"/>
                </a:rPr>
                <a:t>14.1</a:t>
              </a:r>
              <a:endParaRPr lang="en-US" sz="1200" b="1">
                <a:solidFill>
                  <a:schemeClr val="bg1"/>
                </a:solidFill>
              </a:endParaRPr>
            </a:p>
          </p:txBody>
        </p:sp>
        <p:sp>
          <p:nvSpPr>
            <p:cNvPr id="30738" name="Freeform 7"/>
            <p:cNvSpPr>
              <a:spLocks noChangeAspect="1"/>
            </p:cNvSpPr>
            <p:nvPr/>
          </p:nvSpPr>
          <p:spPr bwMode="auto">
            <a:xfrm flipV="1">
              <a:off x="3184912" y="5522913"/>
              <a:ext cx="547700" cy="317500"/>
            </a:xfrm>
            <a:custGeom>
              <a:avLst/>
              <a:gdLst>
                <a:gd name="T0" fmla="*/ 2147483647 w 265"/>
                <a:gd name="T1" fmla="*/ 2147483647 h 211"/>
                <a:gd name="T2" fmla="*/ 2147483647 w 265"/>
                <a:gd name="T3" fmla="*/ 2147483647 h 211"/>
                <a:gd name="T4" fmla="*/ 2147483647 w 265"/>
                <a:gd name="T5" fmla="*/ 0 h 211"/>
                <a:gd name="T6" fmla="*/ 2147483647 w 265"/>
                <a:gd name="T7" fmla="*/ 2147483647 h 211"/>
                <a:gd name="T8" fmla="*/ 2147483647 w 265"/>
                <a:gd name="T9" fmla="*/ 2147483647 h 211"/>
                <a:gd name="T10" fmla="*/ 0 w 265"/>
                <a:gd name="T11" fmla="*/ 2147483647 h 211"/>
                <a:gd name="T12" fmla="*/ 0 w 265"/>
                <a:gd name="T13" fmla="*/ 2147483647 h 211"/>
                <a:gd name="T14" fmla="*/ 2147483647 w 265"/>
                <a:gd name="T15" fmla="*/ 2147483647 h 211"/>
                <a:gd name="T16" fmla="*/ 2147483647 w 265"/>
                <a:gd name="T17" fmla="*/ 2147483647 h 211"/>
                <a:gd name="T18" fmla="*/ 2147483647 w 265"/>
                <a:gd name="T19" fmla="*/ 2147483647 h 211"/>
                <a:gd name="T20" fmla="*/ 2147483647 w 265"/>
                <a:gd name="T21" fmla="*/ 2147483647 h 211"/>
                <a:gd name="T22" fmla="*/ 2147483647 w 265"/>
                <a:gd name="T23" fmla="*/ 2147483647 h 2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5"/>
                <a:gd name="T37" fmla="*/ 0 h 211"/>
                <a:gd name="T38" fmla="*/ 265 w 265"/>
                <a:gd name="T39" fmla="*/ 211 h 2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5" h="211">
                  <a:moveTo>
                    <a:pt x="247" y="85"/>
                  </a:moveTo>
                  <a:cubicBezTo>
                    <a:pt x="154" y="6"/>
                    <a:pt x="154" y="6"/>
                    <a:pt x="154" y="6"/>
                  </a:cubicBezTo>
                  <a:cubicBezTo>
                    <a:pt x="154" y="6"/>
                    <a:pt x="146" y="0"/>
                    <a:pt x="132" y="0"/>
                  </a:cubicBezTo>
                  <a:cubicBezTo>
                    <a:pt x="119" y="0"/>
                    <a:pt x="111" y="6"/>
                    <a:pt x="111" y="6"/>
                  </a:cubicBezTo>
                  <a:cubicBezTo>
                    <a:pt x="21" y="82"/>
                    <a:pt x="21" y="82"/>
                    <a:pt x="21" y="82"/>
                  </a:cubicBezTo>
                  <a:cubicBezTo>
                    <a:pt x="21" y="82"/>
                    <a:pt x="0" y="100"/>
                    <a:pt x="0" y="118"/>
                  </a:cubicBezTo>
                  <a:cubicBezTo>
                    <a:pt x="0" y="125"/>
                    <a:pt x="0" y="176"/>
                    <a:pt x="0" y="190"/>
                  </a:cubicBezTo>
                  <a:cubicBezTo>
                    <a:pt x="0" y="202"/>
                    <a:pt x="10" y="211"/>
                    <a:pt x="21" y="211"/>
                  </a:cubicBezTo>
                  <a:cubicBezTo>
                    <a:pt x="243" y="211"/>
                    <a:pt x="243" y="211"/>
                    <a:pt x="243" y="211"/>
                  </a:cubicBezTo>
                  <a:cubicBezTo>
                    <a:pt x="255" y="211"/>
                    <a:pt x="265" y="202"/>
                    <a:pt x="265" y="190"/>
                  </a:cubicBezTo>
                  <a:cubicBezTo>
                    <a:pt x="265" y="175"/>
                    <a:pt x="265" y="125"/>
                    <a:pt x="265" y="118"/>
                  </a:cubicBezTo>
                  <a:cubicBezTo>
                    <a:pt x="265" y="100"/>
                    <a:pt x="247" y="85"/>
                    <a:pt x="247" y="85"/>
                  </a:cubicBezTo>
                  <a:close/>
                </a:path>
              </a:pathLst>
            </a:custGeom>
            <a:solidFill>
              <a:srgbClr val="5B6592"/>
            </a:solidFill>
            <a:ln>
              <a:noFill/>
            </a:ln>
            <a:extLst/>
          </p:spPr>
          <p:txBody>
            <a:bodyPr rot="10800000"/>
            <a:lstStyle/>
            <a:p>
              <a:pPr algn="ctr">
                <a:spcBef>
                  <a:spcPct val="50000"/>
                </a:spcBef>
              </a:pPr>
              <a:r>
                <a:rPr lang="en-US" sz="1200" b="1" dirty="0">
                  <a:solidFill>
                    <a:schemeClr val="bg1"/>
                  </a:solidFill>
                  <a:cs typeface="Times New Roman" pitchFamily="18" charset="0"/>
                </a:rPr>
                <a:t>14.2</a:t>
              </a:r>
              <a:endParaRPr lang="sv-SE" sz="1200" b="1" dirty="0">
                <a:solidFill>
                  <a:schemeClr val="bg1"/>
                </a:solidFill>
                <a:cs typeface="Times New Roman" pitchFamily="18" charset="0"/>
              </a:endParaRPr>
            </a:p>
          </p:txBody>
        </p:sp>
        <p:sp>
          <p:nvSpPr>
            <p:cNvPr id="30739" name="Freeform 7"/>
            <p:cNvSpPr>
              <a:spLocks noChangeAspect="1"/>
            </p:cNvSpPr>
            <p:nvPr/>
          </p:nvSpPr>
          <p:spPr bwMode="auto">
            <a:xfrm flipV="1">
              <a:off x="4980373" y="5538788"/>
              <a:ext cx="545318" cy="317500"/>
            </a:xfrm>
            <a:custGeom>
              <a:avLst/>
              <a:gdLst>
                <a:gd name="T0" fmla="*/ 2147483647 w 265"/>
                <a:gd name="T1" fmla="*/ 2147483647 h 211"/>
                <a:gd name="T2" fmla="*/ 2147483647 w 265"/>
                <a:gd name="T3" fmla="*/ 2147483647 h 211"/>
                <a:gd name="T4" fmla="*/ 2147483647 w 265"/>
                <a:gd name="T5" fmla="*/ 0 h 211"/>
                <a:gd name="T6" fmla="*/ 2147483647 w 265"/>
                <a:gd name="T7" fmla="*/ 2147483647 h 211"/>
                <a:gd name="T8" fmla="*/ 2147483647 w 265"/>
                <a:gd name="T9" fmla="*/ 2147483647 h 211"/>
                <a:gd name="T10" fmla="*/ 0 w 265"/>
                <a:gd name="T11" fmla="*/ 2147483647 h 211"/>
                <a:gd name="T12" fmla="*/ 0 w 265"/>
                <a:gd name="T13" fmla="*/ 2147483647 h 211"/>
                <a:gd name="T14" fmla="*/ 2147483647 w 265"/>
                <a:gd name="T15" fmla="*/ 2147483647 h 211"/>
                <a:gd name="T16" fmla="*/ 2147483647 w 265"/>
                <a:gd name="T17" fmla="*/ 2147483647 h 211"/>
                <a:gd name="T18" fmla="*/ 2147483647 w 265"/>
                <a:gd name="T19" fmla="*/ 2147483647 h 211"/>
                <a:gd name="T20" fmla="*/ 2147483647 w 265"/>
                <a:gd name="T21" fmla="*/ 2147483647 h 211"/>
                <a:gd name="T22" fmla="*/ 2147483647 w 265"/>
                <a:gd name="T23" fmla="*/ 2147483647 h 2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5"/>
                <a:gd name="T37" fmla="*/ 0 h 211"/>
                <a:gd name="T38" fmla="*/ 265 w 265"/>
                <a:gd name="T39" fmla="*/ 211 h 2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5" h="211">
                  <a:moveTo>
                    <a:pt x="247" y="85"/>
                  </a:moveTo>
                  <a:cubicBezTo>
                    <a:pt x="154" y="6"/>
                    <a:pt x="154" y="6"/>
                    <a:pt x="154" y="6"/>
                  </a:cubicBezTo>
                  <a:cubicBezTo>
                    <a:pt x="154" y="6"/>
                    <a:pt x="146" y="0"/>
                    <a:pt x="132" y="0"/>
                  </a:cubicBezTo>
                  <a:cubicBezTo>
                    <a:pt x="119" y="0"/>
                    <a:pt x="111" y="6"/>
                    <a:pt x="111" y="6"/>
                  </a:cubicBezTo>
                  <a:cubicBezTo>
                    <a:pt x="21" y="82"/>
                    <a:pt x="21" y="82"/>
                    <a:pt x="21" y="82"/>
                  </a:cubicBezTo>
                  <a:cubicBezTo>
                    <a:pt x="21" y="82"/>
                    <a:pt x="0" y="100"/>
                    <a:pt x="0" y="118"/>
                  </a:cubicBezTo>
                  <a:cubicBezTo>
                    <a:pt x="0" y="125"/>
                    <a:pt x="0" y="176"/>
                    <a:pt x="0" y="190"/>
                  </a:cubicBezTo>
                  <a:cubicBezTo>
                    <a:pt x="0" y="202"/>
                    <a:pt x="10" y="211"/>
                    <a:pt x="21" y="211"/>
                  </a:cubicBezTo>
                  <a:cubicBezTo>
                    <a:pt x="243" y="211"/>
                    <a:pt x="243" y="211"/>
                    <a:pt x="243" y="211"/>
                  </a:cubicBezTo>
                  <a:cubicBezTo>
                    <a:pt x="255" y="211"/>
                    <a:pt x="265" y="202"/>
                    <a:pt x="265" y="190"/>
                  </a:cubicBezTo>
                  <a:cubicBezTo>
                    <a:pt x="265" y="175"/>
                    <a:pt x="265" y="125"/>
                    <a:pt x="265" y="118"/>
                  </a:cubicBezTo>
                  <a:cubicBezTo>
                    <a:pt x="265" y="100"/>
                    <a:pt x="247" y="85"/>
                    <a:pt x="247" y="85"/>
                  </a:cubicBezTo>
                  <a:close/>
                </a:path>
              </a:pathLst>
            </a:custGeom>
            <a:solidFill>
              <a:srgbClr val="92CCE5"/>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a:lstStyle/>
            <a:p>
              <a:pPr algn="ctr"/>
              <a:r>
                <a:rPr lang="en-US" sz="1200" b="1" dirty="0">
                  <a:solidFill>
                    <a:schemeClr val="bg1"/>
                  </a:solidFill>
                  <a:cs typeface="Times New Roman" pitchFamily="18" charset="0"/>
                </a:rPr>
                <a:t>16.0</a:t>
              </a:r>
              <a:endParaRPr lang="sv-SE" sz="1200" b="1" dirty="0">
                <a:solidFill>
                  <a:schemeClr val="bg1"/>
                </a:solidFill>
              </a:endParaRPr>
            </a:p>
          </p:txBody>
        </p:sp>
        <p:sp>
          <p:nvSpPr>
            <p:cNvPr id="86" name="Line 41"/>
            <p:cNvSpPr>
              <a:spLocks noChangeShapeType="1"/>
            </p:cNvSpPr>
            <p:nvPr/>
          </p:nvSpPr>
          <p:spPr bwMode="auto">
            <a:xfrm>
              <a:off x="3525441" y="5959475"/>
              <a:ext cx="0" cy="180975"/>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wrap="none" lIns="72000" rIns="72000"/>
            <a:lstStyle/>
            <a:p>
              <a:endParaRPr lang="en-US"/>
            </a:p>
          </p:txBody>
        </p:sp>
      </p:grpSp>
    </p:spTree>
    <p:extLst>
      <p:ext uri="{BB962C8B-B14F-4D97-AF65-F5344CB8AC3E}">
        <p14:creationId xmlns:p14="http://schemas.microsoft.com/office/powerpoint/2010/main" val="136233294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Content Placeholder 3"/>
          <p:cNvSpPr>
            <a:spLocks noGrp="1"/>
          </p:cNvSpPr>
          <p:nvPr>
            <p:ph sz="quarter" idx="3"/>
          </p:nvPr>
        </p:nvSpPr>
        <p:spPr>
          <a:xfrm>
            <a:off x="4645025" y="1991412"/>
            <a:ext cx="4100513" cy="4284662"/>
          </a:xfrm>
        </p:spPr>
        <p:txBody>
          <a:bodyPr/>
          <a:lstStyle/>
          <a:p>
            <a:r>
              <a:rPr lang="en-CA" sz="1800" dirty="0">
                <a:solidFill>
                  <a:srgbClr val="7B0663"/>
                </a:solidFill>
                <a:ea typeface="ＭＳ Ｐゴシック" pitchFamily="34" charset="-128"/>
              </a:rPr>
              <a:t>Service Registry</a:t>
            </a:r>
          </a:p>
          <a:p>
            <a:pPr marL="403225" lvl="1" indent="-174625"/>
            <a:r>
              <a:rPr lang="en-US" sz="1600" dirty="0">
                <a:ea typeface="ＭＳ Ｐゴシック" pitchFamily="34" charset="-128"/>
              </a:rPr>
              <a:t>SID* / TM Forum based REST API </a:t>
            </a:r>
            <a:r>
              <a:rPr lang="en-US" sz="1600" dirty="0" smtClean="0">
                <a:ea typeface="ＭＳ Ｐゴシック" pitchFamily="34" charset="-128"/>
              </a:rPr>
              <a:t>support</a:t>
            </a:r>
            <a:endParaRPr lang="en-CA" sz="2000" dirty="0">
              <a:ea typeface="ＭＳ Ｐゴシック" pitchFamily="34" charset="-128"/>
            </a:endParaRPr>
          </a:p>
          <a:p>
            <a:pPr>
              <a:spcBef>
                <a:spcPts val="1200"/>
              </a:spcBef>
            </a:pPr>
            <a:r>
              <a:rPr lang="en-US" sz="1800" dirty="0" smtClean="0">
                <a:solidFill>
                  <a:srgbClr val="7B0663"/>
                </a:solidFill>
                <a:ea typeface="ＭＳ Ｐゴシック" pitchFamily="34" charset="-128"/>
              </a:rPr>
              <a:t>Order </a:t>
            </a:r>
            <a:r>
              <a:rPr lang="en-US" sz="1800" dirty="0">
                <a:solidFill>
                  <a:srgbClr val="7B0663"/>
                </a:solidFill>
                <a:ea typeface="ＭＳ Ｐゴシック" pitchFamily="34" charset="-128"/>
              </a:rPr>
              <a:t>Management</a:t>
            </a:r>
          </a:p>
          <a:p>
            <a:pPr marL="403225" lvl="1" indent="-174625"/>
            <a:r>
              <a:rPr lang="en-CA" sz="1600" dirty="0">
                <a:ea typeface="ＭＳ Ｐゴシック" pitchFamily="34" charset="-128"/>
              </a:rPr>
              <a:t>SID* / TM Forum based REST API support</a:t>
            </a:r>
          </a:p>
          <a:p>
            <a:pPr marL="403225" lvl="1" indent="-174625"/>
            <a:r>
              <a:rPr lang="en-CA" sz="1600" dirty="0">
                <a:ea typeface="ＭＳ Ｐゴシック" pitchFamily="34" charset="-128"/>
              </a:rPr>
              <a:t>Expose OM fulfillment for execution as a </a:t>
            </a:r>
            <a:r>
              <a:rPr lang="en-CA" sz="1600" dirty="0" smtClean="0">
                <a:ea typeface="ＭＳ Ｐゴシック" pitchFamily="34" charset="-128"/>
              </a:rPr>
              <a:t>service</a:t>
            </a:r>
            <a:endParaRPr lang="en-CA" sz="1400" dirty="0" smtClean="0">
              <a:ea typeface="ＭＳ Ｐゴシック" pitchFamily="34" charset="-128"/>
            </a:endParaRPr>
          </a:p>
          <a:p>
            <a:pPr>
              <a:spcBef>
                <a:spcPts val="1200"/>
              </a:spcBef>
            </a:pPr>
            <a:r>
              <a:rPr lang="en-CA" sz="1800" dirty="0">
                <a:solidFill>
                  <a:srgbClr val="7B0663"/>
                </a:solidFill>
                <a:ea typeface="ＭＳ Ｐゴシック" pitchFamily="34" charset="-128"/>
              </a:rPr>
              <a:t>Orchestration Framework</a:t>
            </a:r>
          </a:p>
          <a:p>
            <a:pPr marL="403225" lvl="1" indent="-174625"/>
            <a:r>
              <a:rPr lang="en-US" sz="1600" dirty="0">
                <a:ea typeface="ＭＳ Ｐゴシック" pitchFamily="34" charset="-128"/>
              </a:rPr>
              <a:t>Enhanced Fulfillment Plan Specification (FPS) to provide workflow Checkpoints</a:t>
            </a:r>
          </a:p>
          <a:p>
            <a:pPr marL="403225" lvl="1" indent="-174625"/>
            <a:r>
              <a:rPr lang="en-US" sz="1600" dirty="0">
                <a:ea typeface="ＭＳ Ｐゴシック" pitchFamily="34" charset="-128"/>
              </a:rPr>
              <a:t>Enhanced OF to support dynamic construction of Fulfillment Plan Instance’s (FPI)</a:t>
            </a:r>
            <a:endParaRPr lang="en-CA" sz="1600" dirty="0">
              <a:ea typeface="ＭＳ Ｐゴシック" pitchFamily="34" charset="-128"/>
            </a:endParaRPr>
          </a:p>
        </p:txBody>
      </p:sp>
      <p:sp>
        <p:nvSpPr>
          <p:cNvPr id="31747" name="Content Placeholder 2"/>
          <p:cNvSpPr>
            <a:spLocks noGrp="1"/>
          </p:cNvSpPr>
          <p:nvPr>
            <p:ph sz="half" idx="1"/>
          </p:nvPr>
        </p:nvSpPr>
        <p:spPr>
          <a:xfrm>
            <a:off x="393700" y="1991411"/>
            <a:ext cx="4098925" cy="4284662"/>
          </a:xfrm>
        </p:spPr>
        <p:txBody>
          <a:bodyPr/>
          <a:lstStyle/>
          <a:p>
            <a:r>
              <a:rPr lang="en-CA" sz="1800" dirty="0" smtClean="0">
                <a:solidFill>
                  <a:srgbClr val="7B0663"/>
                </a:solidFill>
                <a:ea typeface="ＭＳ Ｐゴシック" pitchFamily="34" charset="-128"/>
              </a:rPr>
              <a:t>REST APIs</a:t>
            </a:r>
          </a:p>
          <a:p>
            <a:pPr marL="403225" lvl="1" indent="-174625"/>
            <a:r>
              <a:rPr lang="en-CA" sz="1600" dirty="0" smtClean="0">
                <a:ea typeface="ＭＳ Ｐゴシック" pitchFamily="34" charset="-128"/>
              </a:rPr>
              <a:t>New Interface Provider in platform allowing REST support</a:t>
            </a:r>
          </a:p>
          <a:p>
            <a:pPr marL="403225" lvl="1" indent="-174625"/>
            <a:r>
              <a:rPr lang="en-CA" sz="1600" dirty="0" smtClean="0">
                <a:ea typeface="ＭＳ Ｐゴシック" pitchFamily="34" charset="-128"/>
              </a:rPr>
              <a:t>Standard compliance for REST APIs based on TM Forum specifications</a:t>
            </a:r>
            <a:endParaRPr lang="en-CA" sz="1800" dirty="0" smtClean="0">
              <a:ea typeface="ＭＳ Ｐゴシック" pitchFamily="34" charset="-128"/>
            </a:endParaRPr>
          </a:p>
          <a:p>
            <a:pPr>
              <a:spcBef>
                <a:spcPts val="1200"/>
              </a:spcBef>
            </a:pPr>
            <a:r>
              <a:rPr lang="en-CA" sz="1800" dirty="0">
                <a:solidFill>
                  <a:srgbClr val="7B0663"/>
                </a:solidFill>
                <a:ea typeface="ＭＳ Ｐゴシック" pitchFamily="34" charset="-128"/>
              </a:rPr>
              <a:t>Order Negotiations</a:t>
            </a:r>
          </a:p>
          <a:p>
            <a:pPr marL="403225" lvl="1" indent="-174625"/>
            <a:r>
              <a:rPr lang="en-US" sz="1600" dirty="0">
                <a:ea typeface="ＭＳ Ｐゴシック" pitchFamily="34" charset="-128"/>
              </a:rPr>
              <a:t>SID* / TM Forum based REST API support</a:t>
            </a:r>
          </a:p>
          <a:p>
            <a:pPr marL="403225" lvl="1" indent="-174625"/>
            <a:r>
              <a:rPr lang="en-US" sz="1600" dirty="0">
                <a:ea typeface="ＭＳ Ｐゴシック" pitchFamily="34" charset="-128"/>
              </a:rPr>
              <a:t>Additional support to catalog relationship</a:t>
            </a:r>
          </a:p>
          <a:p>
            <a:pPr marL="403225" lvl="1" indent="-174625"/>
            <a:r>
              <a:rPr lang="en-US" sz="1600" dirty="0">
                <a:ea typeface="ＭＳ Ｐゴシック" pitchFamily="34" charset="-128"/>
              </a:rPr>
              <a:t>Additional support for non-catalog items</a:t>
            </a:r>
          </a:p>
          <a:p>
            <a:pPr marL="355600" lvl="1" indent="0">
              <a:buNone/>
            </a:pPr>
            <a:endParaRPr lang="en-US" sz="1400" dirty="0" smtClean="0">
              <a:ea typeface="ＭＳ Ｐゴシック" pitchFamily="34" charset="-128"/>
            </a:endParaRPr>
          </a:p>
        </p:txBody>
      </p:sp>
      <p:sp>
        <p:nvSpPr>
          <p:cNvPr id="31748" name="Title 1"/>
          <p:cNvSpPr>
            <a:spLocks noGrp="1"/>
          </p:cNvSpPr>
          <p:nvPr>
            <p:ph type="title"/>
          </p:nvPr>
        </p:nvSpPr>
        <p:spPr/>
        <p:txBody>
          <a:bodyPr/>
          <a:lstStyle/>
          <a:p>
            <a:r>
              <a:rPr lang="en-CA" dirty="0" smtClean="0">
                <a:latin typeface="Ericsson Capital TT" pitchFamily="2" charset="0"/>
                <a:ea typeface="ＭＳ Ｐゴシック" pitchFamily="34" charset="-128"/>
              </a:rPr>
              <a:t>Select Features</a:t>
            </a:r>
            <a:endParaRPr lang="en-CA" sz="2800" dirty="0" smtClean="0">
              <a:latin typeface="Ericsson Capital TT" pitchFamily="2" charset="0"/>
              <a:ea typeface="ＭＳ Ｐゴシック" pitchFamily="34" charset="-128"/>
            </a:endParaRPr>
          </a:p>
        </p:txBody>
      </p:sp>
      <p:sp>
        <p:nvSpPr>
          <p:cNvPr id="31749" name="TextBox 1"/>
          <p:cNvSpPr txBox="1">
            <a:spLocks noChangeArrowheads="1"/>
          </p:cNvSpPr>
          <p:nvPr/>
        </p:nvSpPr>
        <p:spPr bwMode="auto">
          <a:xfrm>
            <a:off x="584356" y="6001290"/>
            <a:ext cx="358623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eaLnBrk="1" hangingPunct="1"/>
            <a:r>
              <a:rPr lang="en-US" b="1" dirty="0">
                <a:cs typeface="Arial" charset="0"/>
              </a:rPr>
              <a:t>*</a:t>
            </a:r>
            <a:r>
              <a:rPr lang="en-US" sz="1400" dirty="0">
                <a:cs typeface="Arial" charset="0"/>
              </a:rPr>
              <a:t>Shared </a:t>
            </a:r>
            <a:r>
              <a:rPr lang="en-US" sz="1400" dirty="0" smtClean="0">
                <a:cs typeface="Arial" charset="0"/>
              </a:rPr>
              <a:t>Information and </a:t>
            </a:r>
            <a:r>
              <a:rPr lang="en-US" sz="1400" dirty="0">
                <a:cs typeface="Arial" charset="0"/>
              </a:rPr>
              <a:t>Data (SID) Model</a:t>
            </a:r>
          </a:p>
        </p:txBody>
      </p:sp>
      <p:sp>
        <p:nvSpPr>
          <p:cNvPr id="6" name="Rectangle 51"/>
          <p:cNvSpPr>
            <a:spLocks noChangeArrowheads="1"/>
          </p:cNvSpPr>
          <p:nvPr/>
        </p:nvSpPr>
        <p:spPr bwMode="auto">
          <a:xfrm>
            <a:off x="484581" y="1086027"/>
            <a:ext cx="3152529" cy="619125"/>
          </a:xfrm>
          <a:prstGeom prst="roundRect">
            <a:avLst/>
          </a:prstGeom>
          <a:solidFill>
            <a:srgbClr val="8F3F7B"/>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nchor="ctr"/>
          <a:lstStyle/>
          <a:p>
            <a:pPr>
              <a:lnSpc>
                <a:spcPct val="90000"/>
              </a:lnSpc>
            </a:pPr>
            <a:r>
              <a:rPr lang="en-US" sz="2800" dirty="0" smtClean="0">
                <a:solidFill>
                  <a:srgbClr val="FFFFFF"/>
                </a:solidFill>
                <a:ea typeface="MS PGothic" pitchFamily="34" charset="-128"/>
              </a:rPr>
              <a:t>Release 14.1 GA</a:t>
            </a:r>
            <a:endParaRPr lang="en-US" sz="2800" dirty="0">
              <a:solidFill>
                <a:srgbClr val="FFFFFF"/>
              </a:solidFill>
              <a:ea typeface="MS PGothic" pitchFamily="34" charset="-128"/>
            </a:endParaRPr>
          </a:p>
        </p:txBody>
      </p:sp>
    </p:spTree>
    <p:extLst>
      <p:ext uri="{BB962C8B-B14F-4D97-AF65-F5344CB8AC3E}">
        <p14:creationId xmlns:p14="http://schemas.microsoft.com/office/powerpoint/2010/main" val="285918847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37"/>
          <p:cNvSpPr>
            <a:spLocks noChangeArrowheads="1"/>
          </p:cNvSpPr>
          <p:nvPr/>
        </p:nvSpPr>
        <p:spPr bwMode="auto">
          <a:xfrm>
            <a:off x="5344887" y="4"/>
            <a:ext cx="3799118" cy="6857999"/>
          </a:xfrm>
          <a:prstGeom prst="rect">
            <a:avLst/>
          </a:prstGeom>
          <a:solidFill>
            <a:srgbClr val="7B0663"/>
          </a:solidFill>
          <a:ln>
            <a:noFill/>
          </a:ln>
        </p:spPr>
        <p:txBody>
          <a:bodyPr lIns="82800" rIns="0" anchor="ctr"/>
          <a:lstStyle/>
          <a:p>
            <a:pPr>
              <a:spcBef>
                <a:spcPts val="300"/>
              </a:spcBef>
            </a:pPr>
            <a:endParaRPr lang="en-US">
              <a:solidFill>
                <a:srgbClr val="7B0663"/>
              </a:solidFill>
            </a:endParaRPr>
          </a:p>
        </p:txBody>
      </p:sp>
      <p:sp>
        <p:nvSpPr>
          <p:cNvPr id="4" name="Content Placeholder 3"/>
          <p:cNvSpPr>
            <a:spLocks noGrp="1"/>
          </p:cNvSpPr>
          <p:nvPr>
            <p:ph sz="quarter" idx="3"/>
          </p:nvPr>
        </p:nvSpPr>
        <p:spPr>
          <a:xfrm>
            <a:off x="5519057" y="1795464"/>
            <a:ext cx="3550331" cy="4284662"/>
          </a:xfrm>
        </p:spPr>
        <p:txBody>
          <a:bodyPr/>
          <a:lstStyle/>
          <a:p>
            <a:pPr>
              <a:buClr>
                <a:schemeClr val="bg1"/>
              </a:buClr>
            </a:pPr>
            <a:r>
              <a:rPr lang="en-US" sz="2000" dirty="0" smtClean="0">
                <a:solidFill>
                  <a:schemeClr val="bg1"/>
                </a:solidFill>
              </a:rPr>
              <a:t>Accelerates time-to-market for Metro Ethernet launches</a:t>
            </a:r>
          </a:p>
          <a:p>
            <a:pPr>
              <a:buClr>
                <a:schemeClr val="bg1"/>
              </a:buClr>
            </a:pPr>
            <a:r>
              <a:rPr lang="en-US" sz="2000" dirty="0" smtClean="0">
                <a:solidFill>
                  <a:schemeClr val="bg1"/>
                </a:solidFill>
              </a:rPr>
              <a:t>Pre-configured solution drives down total cost of ownership</a:t>
            </a:r>
          </a:p>
          <a:p>
            <a:pPr>
              <a:buClr>
                <a:schemeClr val="bg1"/>
              </a:buClr>
            </a:pPr>
            <a:r>
              <a:rPr lang="en-US" sz="2000" dirty="0" smtClean="0">
                <a:solidFill>
                  <a:schemeClr val="bg1"/>
                </a:solidFill>
              </a:rPr>
              <a:t>Metro Ethernet Forum standards compliance facilitates back-end office integration compatibility</a:t>
            </a:r>
          </a:p>
          <a:p>
            <a:pPr>
              <a:buClr>
                <a:schemeClr val="bg1"/>
              </a:buClr>
            </a:pPr>
            <a:endParaRPr lang="en-US" dirty="0">
              <a:solidFill>
                <a:schemeClr val="bg1"/>
              </a:solidFill>
            </a:endParaRPr>
          </a:p>
        </p:txBody>
      </p:sp>
      <p:sp>
        <p:nvSpPr>
          <p:cNvPr id="2" name="Content Placeholder 1"/>
          <p:cNvSpPr>
            <a:spLocks noGrp="1"/>
          </p:cNvSpPr>
          <p:nvPr>
            <p:ph sz="half" idx="1"/>
          </p:nvPr>
        </p:nvSpPr>
        <p:spPr>
          <a:xfrm>
            <a:off x="393700" y="1969635"/>
            <a:ext cx="4689929" cy="4284662"/>
          </a:xfrm>
        </p:spPr>
        <p:txBody>
          <a:bodyPr/>
          <a:lstStyle/>
          <a:p>
            <a:pPr marL="0" indent="0">
              <a:buNone/>
            </a:pPr>
            <a:r>
              <a:rPr lang="en-US" sz="2000" dirty="0" smtClean="0"/>
              <a:t>A </a:t>
            </a:r>
            <a:r>
              <a:rPr lang="en-US" sz="2000" b="1" dirty="0">
                <a:solidFill>
                  <a:srgbClr val="7B0663"/>
                </a:solidFill>
              </a:rPr>
              <a:t>pre-configured</a:t>
            </a:r>
            <a:r>
              <a:rPr lang="en-US" sz="2000" dirty="0" smtClean="0"/>
              <a:t> </a:t>
            </a:r>
            <a:r>
              <a:rPr lang="en-US" sz="2000" dirty="0"/>
              <a:t>Ericsson Catalog Manager and Ericsson Order Care solution </a:t>
            </a:r>
            <a:r>
              <a:rPr lang="en-US" sz="2000" dirty="0" smtClean="0"/>
              <a:t>for </a:t>
            </a:r>
            <a:r>
              <a:rPr lang="en-US" sz="2000" b="1" dirty="0" smtClean="0">
                <a:solidFill>
                  <a:srgbClr val="7B0663"/>
                </a:solidFill>
              </a:rPr>
              <a:t>Metro Ethernet</a:t>
            </a:r>
            <a:endParaRPr lang="en-US" sz="2000" b="1" dirty="0">
              <a:solidFill>
                <a:srgbClr val="7B0663"/>
              </a:solidFill>
            </a:endParaRPr>
          </a:p>
          <a:p>
            <a:pPr>
              <a:spcBef>
                <a:spcPts val="1200"/>
              </a:spcBef>
            </a:pPr>
            <a:r>
              <a:rPr lang="en-US" sz="2000" dirty="0" smtClean="0"/>
              <a:t>Ericsson Catalog Manager model leverages TM Forum and Metro Ethernet Forum standards</a:t>
            </a:r>
          </a:p>
          <a:p>
            <a:r>
              <a:rPr lang="en-US" sz="2000" dirty="0" smtClean="0"/>
              <a:t>Ericsson Order Care provides fully customizable Configuration, Price and Quote (CPQ) capability and Order Lifecycle Management and Handling</a:t>
            </a:r>
          </a:p>
          <a:p>
            <a:r>
              <a:rPr lang="en-US" sz="2000" dirty="0" smtClean="0"/>
              <a:t>Pre-defined fulfilment workflows and business layer interaction logic delivers robust automation</a:t>
            </a:r>
            <a:endParaRPr lang="en-US" sz="2000" dirty="0"/>
          </a:p>
        </p:txBody>
      </p:sp>
      <p:sp>
        <p:nvSpPr>
          <p:cNvPr id="5123" name="Title 3"/>
          <p:cNvSpPr>
            <a:spLocks noGrp="1"/>
          </p:cNvSpPr>
          <p:nvPr>
            <p:ph type="title"/>
          </p:nvPr>
        </p:nvSpPr>
        <p:spPr>
          <a:xfrm>
            <a:off x="250371" y="239713"/>
            <a:ext cx="5268686" cy="1085371"/>
          </a:xfrm>
        </p:spPr>
        <p:txBody>
          <a:bodyPr/>
          <a:lstStyle/>
          <a:p>
            <a:pPr eaLnBrk="1" hangingPunct="1">
              <a:defRPr/>
            </a:pPr>
            <a:r>
              <a:rPr lang="en-US" sz="4000" dirty="0" smtClean="0">
                <a:latin typeface="Ericsson Capital TT" pitchFamily="2" charset="0"/>
              </a:rPr>
              <a:t>Metro Ethernet</a:t>
            </a:r>
            <a:endParaRPr lang="en-US" sz="4800" dirty="0" smtClean="0">
              <a:latin typeface="+mn-lt"/>
            </a:endParaRPr>
          </a:p>
        </p:txBody>
      </p:sp>
      <p:pic>
        <p:nvPicPr>
          <p:cNvPr id="55" name="Picture 5" descr="White Logotype"/>
          <p:cNvPicPr>
            <a:picLocks noChangeAspect="1" noChangeArrowheads="1"/>
          </p:cNvPicPr>
          <p:nvPr/>
        </p:nvPicPr>
        <p:blipFill rotWithShape="1">
          <a:blip r:embed="rId3"/>
          <a:srcRect b="22453"/>
          <a:stretch/>
        </p:blipFill>
        <p:spPr bwMode="auto">
          <a:xfrm>
            <a:off x="8021638" y="341321"/>
            <a:ext cx="1047750" cy="712787"/>
          </a:xfrm>
          <a:prstGeom prst="rect">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3" name="Rectangle 2"/>
          <p:cNvSpPr>
            <a:spLocks noChangeArrowheads="1"/>
          </p:cNvSpPr>
          <p:nvPr/>
        </p:nvSpPr>
        <p:spPr bwMode="auto">
          <a:xfrm>
            <a:off x="4479638" y="-200055"/>
            <a:ext cx="18473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pSp>
        <p:nvGrpSpPr>
          <p:cNvPr id="6" name="Group 5"/>
          <p:cNvGrpSpPr/>
          <p:nvPr/>
        </p:nvGrpSpPr>
        <p:grpSpPr>
          <a:xfrm>
            <a:off x="5959168" y="4975298"/>
            <a:ext cx="2825601" cy="1507398"/>
            <a:chOff x="6050938" y="4876800"/>
            <a:chExt cx="2635862" cy="1507398"/>
          </a:xfrm>
        </p:grpSpPr>
        <p:sp>
          <p:nvSpPr>
            <p:cNvPr id="5" name="Rectangle 4"/>
            <p:cNvSpPr/>
            <p:nvPr/>
          </p:nvSpPr>
          <p:spPr bwMode="auto">
            <a:xfrm>
              <a:off x="6050938" y="4876800"/>
              <a:ext cx="2635862" cy="1507398"/>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pic>
          <p:nvPicPr>
            <p:cNvPr id="1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13929" y="5046201"/>
              <a:ext cx="2498192" cy="1337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1" name="Rectangle 51"/>
          <p:cNvSpPr>
            <a:spLocks noChangeArrowheads="1"/>
          </p:cNvSpPr>
          <p:nvPr/>
        </p:nvSpPr>
        <p:spPr bwMode="auto">
          <a:xfrm>
            <a:off x="484581" y="1086027"/>
            <a:ext cx="3152529" cy="619125"/>
          </a:xfrm>
          <a:prstGeom prst="roundRect">
            <a:avLst/>
          </a:prstGeom>
          <a:solidFill>
            <a:srgbClr val="8F3F7B"/>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nchor="ctr"/>
          <a:lstStyle/>
          <a:p>
            <a:pPr>
              <a:lnSpc>
                <a:spcPct val="90000"/>
              </a:lnSpc>
            </a:pPr>
            <a:r>
              <a:rPr lang="en-US" sz="2800" dirty="0" smtClean="0">
                <a:solidFill>
                  <a:srgbClr val="FFFFFF"/>
                </a:solidFill>
                <a:ea typeface="MS PGothic" pitchFamily="34" charset="-128"/>
              </a:rPr>
              <a:t>Release 14.1 GA</a:t>
            </a:r>
            <a:endParaRPr lang="en-US" sz="2800" dirty="0">
              <a:solidFill>
                <a:srgbClr val="FFFFFF"/>
              </a:solidFill>
              <a:ea typeface="MS PGothic" pitchFamily="34" charset="-128"/>
            </a:endParaRPr>
          </a:p>
        </p:txBody>
      </p:sp>
      <p:sp>
        <p:nvSpPr>
          <p:cNvPr id="7" name="Rectangle 6"/>
          <p:cNvSpPr/>
          <p:nvPr/>
        </p:nvSpPr>
        <p:spPr>
          <a:xfrm>
            <a:off x="6523736" y="1200443"/>
            <a:ext cx="1441420" cy="400110"/>
          </a:xfrm>
          <a:prstGeom prst="rect">
            <a:avLst/>
          </a:prstGeom>
        </p:spPr>
        <p:txBody>
          <a:bodyPr wrap="none">
            <a:spAutoFit/>
          </a:bodyPr>
          <a:lstStyle/>
          <a:p>
            <a:r>
              <a:rPr lang="en-US" dirty="0" smtClean="0">
                <a:solidFill>
                  <a:srgbClr val="FFFFFF"/>
                </a:solidFill>
                <a:ea typeface="MS PGothic" pitchFamily="34" charset="-128"/>
              </a:rPr>
              <a:t>BENEFITS</a:t>
            </a:r>
            <a:endParaRPr lang="en-US" dirty="0"/>
          </a:p>
        </p:txBody>
      </p:sp>
    </p:spTree>
    <p:extLst>
      <p:ext uri="{BB962C8B-B14F-4D97-AF65-F5344CB8AC3E}">
        <p14:creationId xmlns:p14="http://schemas.microsoft.com/office/powerpoint/2010/main" val="19655685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half" idx="1"/>
          </p:nvPr>
        </p:nvSpPr>
        <p:spPr>
          <a:xfrm>
            <a:off x="6019800" y="2318656"/>
            <a:ext cx="2950029" cy="3880856"/>
          </a:xfrm>
        </p:spPr>
        <p:txBody>
          <a:bodyPr/>
          <a:lstStyle/>
          <a:p>
            <a:pPr>
              <a:spcAft>
                <a:spcPts val="600"/>
              </a:spcAft>
            </a:pPr>
            <a:r>
              <a:rPr lang="en-US" sz="2000" dirty="0" smtClean="0"/>
              <a:t>Introduction of new, enhanced </a:t>
            </a:r>
            <a:r>
              <a:rPr lang="en-US" sz="2000" b="1" dirty="0" smtClean="0">
                <a:solidFill>
                  <a:srgbClr val="7B0663"/>
                </a:solidFill>
              </a:rPr>
              <a:t>HTML5-based User Interface</a:t>
            </a:r>
          </a:p>
          <a:p>
            <a:pPr>
              <a:spcAft>
                <a:spcPts val="600"/>
              </a:spcAft>
            </a:pPr>
            <a:r>
              <a:rPr lang="en-US" sz="2000" b="1" dirty="0" smtClean="0">
                <a:solidFill>
                  <a:srgbClr val="7B0663"/>
                </a:solidFill>
              </a:rPr>
              <a:t>Pre-configured</a:t>
            </a:r>
            <a:r>
              <a:rPr lang="en-US" sz="2000" dirty="0" smtClean="0"/>
              <a:t> user dashboards and operational workflows to support Metro Ethernet services</a:t>
            </a:r>
          </a:p>
          <a:p>
            <a:pPr>
              <a:spcAft>
                <a:spcPts val="600"/>
              </a:spcAft>
            </a:pPr>
            <a:r>
              <a:rPr lang="en-US" sz="2000" b="1" dirty="0" smtClean="0">
                <a:solidFill>
                  <a:srgbClr val="7B0663"/>
                </a:solidFill>
              </a:rPr>
              <a:t>One-click access </a:t>
            </a:r>
            <a:r>
              <a:rPr lang="en-US" sz="2000" dirty="0" smtClean="0"/>
              <a:t>to key info and processes</a:t>
            </a:r>
            <a:endParaRPr lang="en-US" sz="2000" dirty="0"/>
          </a:p>
        </p:txBody>
      </p:sp>
      <p:sp>
        <p:nvSpPr>
          <p:cNvPr id="4" name="Title 3"/>
          <p:cNvSpPr>
            <a:spLocks noGrp="1"/>
          </p:cNvSpPr>
          <p:nvPr>
            <p:ph type="title"/>
          </p:nvPr>
        </p:nvSpPr>
        <p:spPr/>
        <p:txBody>
          <a:bodyPr/>
          <a:lstStyle/>
          <a:p>
            <a:r>
              <a:rPr lang="en-US" dirty="0" smtClean="0"/>
              <a:t>UNIFIED WORKSTATION Evolution</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3701" y="2318656"/>
            <a:ext cx="5425446" cy="3815897"/>
          </a:xfrm>
          <a:prstGeom prst="rect">
            <a:avLst/>
          </a:prstGeom>
          <a:noFill/>
          <a:ln w="57150" cap="flat" cmpd="sng" algn="ctr">
            <a:solidFill>
              <a:srgbClr val="7B0663"/>
            </a:solidFill>
            <a:prstDash val="solid"/>
            <a:miter lim="800000"/>
            <a:headEnd type="none" w="med" len="med"/>
            <a:tailEnd type="none" w="med" len="med"/>
          </a:ln>
        </p:spPr>
      </p:pic>
      <p:sp>
        <p:nvSpPr>
          <p:cNvPr id="7" name="Rectangle 51"/>
          <p:cNvSpPr>
            <a:spLocks noChangeArrowheads="1"/>
          </p:cNvSpPr>
          <p:nvPr/>
        </p:nvSpPr>
        <p:spPr bwMode="auto">
          <a:xfrm>
            <a:off x="481136" y="1400891"/>
            <a:ext cx="3152529" cy="619125"/>
          </a:xfrm>
          <a:prstGeom prst="roundRect">
            <a:avLst/>
          </a:prstGeom>
          <a:solidFill>
            <a:srgbClr val="8F3F7B"/>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nchor="ctr"/>
          <a:lstStyle/>
          <a:p>
            <a:pPr>
              <a:lnSpc>
                <a:spcPct val="90000"/>
              </a:lnSpc>
            </a:pPr>
            <a:r>
              <a:rPr lang="en-US" sz="2800" dirty="0" smtClean="0">
                <a:solidFill>
                  <a:srgbClr val="FFFFFF"/>
                </a:solidFill>
                <a:ea typeface="MS PGothic" pitchFamily="34" charset="-128"/>
              </a:rPr>
              <a:t>Release 14.1 GA</a:t>
            </a:r>
            <a:endParaRPr lang="en-US" sz="2800" dirty="0">
              <a:solidFill>
                <a:srgbClr val="FFFFFF"/>
              </a:solidFill>
              <a:ea typeface="MS PGothic" pitchFamily="34" charset="-128"/>
            </a:endParaRPr>
          </a:p>
        </p:txBody>
      </p:sp>
    </p:spTree>
    <p:extLst>
      <p:ext uri="{BB962C8B-B14F-4D97-AF65-F5344CB8AC3E}">
        <p14:creationId xmlns:p14="http://schemas.microsoft.com/office/powerpoint/2010/main" val="78270950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Title 1"/>
          <p:cNvSpPr>
            <a:spLocks noGrp="1"/>
          </p:cNvSpPr>
          <p:nvPr>
            <p:ph type="title"/>
          </p:nvPr>
        </p:nvSpPr>
        <p:spPr/>
        <p:txBody>
          <a:bodyPr/>
          <a:lstStyle/>
          <a:p>
            <a:r>
              <a:rPr lang="en-US" smtClean="0">
                <a:latin typeface="Ericsson Capital TT" pitchFamily="2" charset="0"/>
              </a:rPr>
              <a:t>Today’s Agenda</a:t>
            </a:r>
          </a:p>
        </p:txBody>
      </p:sp>
      <p:sp>
        <p:nvSpPr>
          <p:cNvPr id="6" name="Freeform 4"/>
          <p:cNvSpPr>
            <a:spLocks noChangeAspect="1" noEditPoints="1"/>
          </p:cNvSpPr>
          <p:nvPr/>
        </p:nvSpPr>
        <p:spPr bwMode="auto">
          <a:xfrm>
            <a:off x="527050" y="2150905"/>
            <a:ext cx="4741636" cy="3497800"/>
          </a:xfrm>
          <a:custGeom>
            <a:avLst/>
            <a:gdLst>
              <a:gd name="T0" fmla="*/ 2147483647 w 305"/>
              <a:gd name="T1" fmla="*/ 2147483647 h 300"/>
              <a:gd name="T2" fmla="*/ 2147483647 w 305"/>
              <a:gd name="T3" fmla="*/ 2147483647 h 300"/>
              <a:gd name="T4" fmla="*/ 2147483647 w 305"/>
              <a:gd name="T5" fmla="*/ 0 h 300"/>
              <a:gd name="T6" fmla="*/ 2147483647 w 305"/>
              <a:gd name="T7" fmla="*/ 2147483647 h 300"/>
              <a:gd name="T8" fmla="*/ 2147483647 w 305"/>
              <a:gd name="T9" fmla="*/ 2147483647 h 300"/>
              <a:gd name="T10" fmla="*/ 2147483647 w 305"/>
              <a:gd name="T11" fmla="*/ 2147483647 h 300"/>
              <a:gd name="T12" fmla="*/ 2147483647 w 305"/>
              <a:gd name="T13" fmla="*/ 2147483647 h 300"/>
              <a:gd name="T14" fmla="*/ 2147483647 w 305"/>
              <a:gd name="T15" fmla="*/ 2147483647 h 300"/>
              <a:gd name="T16" fmla="*/ 2147483647 w 305"/>
              <a:gd name="T17" fmla="*/ 2147483647 h 300"/>
              <a:gd name="T18" fmla="*/ 2147483647 w 305"/>
              <a:gd name="T19" fmla="*/ 2147483647 h 300"/>
              <a:gd name="T20" fmla="*/ 2147483647 w 305"/>
              <a:gd name="T21" fmla="*/ 2147483647 h 300"/>
              <a:gd name="T22" fmla="*/ 2147483647 w 305"/>
              <a:gd name="T23" fmla="*/ 2147483647 h 300"/>
              <a:gd name="T24" fmla="*/ 2147483647 w 305"/>
              <a:gd name="T25" fmla="*/ 2147483647 h 300"/>
              <a:gd name="T26" fmla="*/ 2147483647 w 305"/>
              <a:gd name="T27" fmla="*/ 2147483647 h 300"/>
              <a:gd name="T28" fmla="*/ 2147483647 w 305"/>
              <a:gd name="T29" fmla="*/ 2147483647 h 300"/>
              <a:gd name="T30" fmla="*/ 2147483647 w 305"/>
              <a:gd name="T31" fmla="*/ 2147483647 h 300"/>
              <a:gd name="T32" fmla="*/ 2147483647 w 305"/>
              <a:gd name="T33" fmla="*/ 2147483647 h 300"/>
              <a:gd name="T34" fmla="*/ 2147483647 w 305"/>
              <a:gd name="T35" fmla="*/ 2147483647 h 300"/>
              <a:gd name="T36" fmla="*/ 2147483647 w 305"/>
              <a:gd name="T37" fmla="*/ 2147483647 h 300"/>
              <a:gd name="T38" fmla="*/ 2147483647 w 305"/>
              <a:gd name="T39" fmla="*/ 2147483647 h 300"/>
              <a:gd name="T40" fmla="*/ 2147483647 w 305"/>
              <a:gd name="T41" fmla="*/ 2147483647 h 300"/>
              <a:gd name="T42" fmla="*/ 2147483647 w 305"/>
              <a:gd name="T43" fmla="*/ 2147483647 h 300"/>
              <a:gd name="T44" fmla="*/ 2147483647 w 305"/>
              <a:gd name="T45" fmla="*/ 2147483647 h 300"/>
              <a:gd name="T46" fmla="*/ 2147483647 w 305"/>
              <a:gd name="T47" fmla="*/ 2147483647 h 300"/>
              <a:gd name="T48" fmla="*/ 2147483647 w 305"/>
              <a:gd name="T49" fmla="*/ 2147483647 h 300"/>
              <a:gd name="T50" fmla="*/ 2147483647 w 305"/>
              <a:gd name="T51" fmla="*/ 2147483647 h 300"/>
              <a:gd name="T52" fmla="*/ 2147483647 w 305"/>
              <a:gd name="T53" fmla="*/ 2147483647 h 300"/>
              <a:gd name="T54" fmla="*/ 2147483647 w 305"/>
              <a:gd name="T55" fmla="*/ 2147483647 h 300"/>
              <a:gd name="T56" fmla="*/ 2147483647 w 305"/>
              <a:gd name="T57" fmla="*/ 2147483647 h 300"/>
              <a:gd name="T58" fmla="*/ 2147483647 w 305"/>
              <a:gd name="T59" fmla="*/ 2147483647 h 300"/>
              <a:gd name="T60" fmla="*/ 2147483647 w 305"/>
              <a:gd name="T61" fmla="*/ 2147483647 h 300"/>
              <a:gd name="T62" fmla="*/ 2147483647 w 305"/>
              <a:gd name="T63" fmla="*/ 2147483647 h 300"/>
              <a:gd name="T64" fmla="*/ 2147483647 w 305"/>
              <a:gd name="T65" fmla="*/ 2147483647 h 300"/>
              <a:gd name="T66" fmla="*/ 2147483647 w 305"/>
              <a:gd name="T67" fmla="*/ 2147483647 h 300"/>
              <a:gd name="T68" fmla="*/ 2147483647 w 305"/>
              <a:gd name="T69" fmla="*/ 2147483647 h 300"/>
              <a:gd name="T70" fmla="*/ 2147483647 w 305"/>
              <a:gd name="T71" fmla="*/ 2147483647 h 300"/>
              <a:gd name="T72" fmla="*/ 2147483647 w 305"/>
              <a:gd name="T73" fmla="*/ 2147483647 h 300"/>
              <a:gd name="T74" fmla="*/ 2147483647 w 305"/>
              <a:gd name="T75" fmla="*/ 2147483647 h 300"/>
              <a:gd name="T76" fmla="*/ 2147483647 w 305"/>
              <a:gd name="T77" fmla="*/ 2147483647 h 300"/>
              <a:gd name="T78" fmla="*/ 2147483647 w 305"/>
              <a:gd name="T79" fmla="*/ 2147483647 h 300"/>
              <a:gd name="T80" fmla="*/ 2147483647 w 305"/>
              <a:gd name="T81" fmla="*/ 2147483647 h 300"/>
              <a:gd name="T82" fmla="*/ 2147483647 w 305"/>
              <a:gd name="T83" fmla="*/ 2147483647 h 300"/>
              <a:gd name="T84" fmla="*/ 2147483647 w 305"/>
              <a:gd name="T85" fmla="*/ 2147483647 h 300"/>
              <a:gd name="T86" fmla="*/ 2147483647 w 305"/>
              <a:gd name="T87" fmla="*/ 2147483647 h 300"/>
              <a:gd name="T88" fmla="*/ 2147483647 w 305"/>
              <a:gd name="T89" fmla="*/ 2147483647 h 300"/>
              <a:gd name="T90" fmla="*/ 2147483647 w 305"/>
              <a:gd name="T91" fmla="*/ 2147483647 h 300"/>
              <a:gd name="T92" fmla="*/ 2147483647 w 305"/>
              <a:gd name="T93" fmla="*/ 2147483647 h 3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05"/>
              <a:gd name="T142" fmla="*/ 0 h 300"/>
              <a:gd name="T143" fmla="*/ 305 w 305"/>
              <a:gd name="T144" fmla="*/ 300 h 3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05" h="300">
                <a:moveTo>
                  <a:pt x="289" y="26"/>
                </a:moveTo>
                <a:cubicBezTo>
                  <a:pt x="287" y="26"/>
                  <a:pt x="286" y="27"/>
                  <a:pt x="284" y="27"/>
                </a:cubicBezTo>
                <a:cubicBezTo>
                  <a:pt x="284" y="27"/>
                  <a:pt x="267" y="34"/>
                  <a:pt x="243" y="43"/>
                </a:cubicBezTo>
                <a:cubicBezTo>
                  <a:pt x="240" y="18"/>
                  <a:pt x="240" y="18"/>
                  <a:pt x="240" y="18"/>
                </a:cubicBezTo>
                <a:cubicBezTo>
                  <a:pt x="240" y="13"/>
                  <a:pt x="238" y="10"/>
                  <a:pt x="236" y="6"/>
                </a:cubicBezTo>
                <a:cubicBezTo>
                  <a:pt x="233" y="3"/>
                  <a:pt x="229" y="0"/>
                  <a:pt x="224" y="0"/>
                </a:cubicBezTo>
                <a:cubicBezTo>
                  <a:pt x="222" y="0"/>
                  <a:pt x="221" y="0"/>
                  <a:pt x="219" y="1"/>
                </a:cubicBezTo>
                <a:cubicBezTo>
                  <a:pt x="219" y="1"/>
                  <a:pt x="196" y="9"/>
                  <a:pt x="171" y="19"/>
                </a:cubicBezTo>
                <a:cubicBezTo>
                  <a:pt x="147" y="28"/>
                  <a:pt x="121" y="38"/>
                  <a:pt x="114" y="40"/>
                </a:cubicBezTo>
                <a:cubicBezTo>
                  <a:pt x="114" y="40"/>
                  <a:pt x="114" y="40"/>
                  <a:pt x="114" y="40"/>
                </a:cubicBezTo>
                <a:cubicBezTo>
                  <a:pt x="113" y="39"/>
                  <a:pt x="112" y="35"/>
                  <a:pt x="110" y="31"/>
                </a:cubicBezTo>
                <a:cubicBezTo>
                  <a:pt x="109" y="29"/>
                  <a:pt x="108" y="27"/>
                  <a:pt x="105" y="25"/>
                </a:cubicBezTo>
                <a:cubicBezTo>
                  <a:pt x="103" y="22"/>
                  <a:pt x="99" y="21"/>
                  <a:pt x="96" y="21"/>
                </a:cubicBezTo>
                <a:cubicBezTo>
                  <a:pt x="93" y="21"/>
                  <a:pt x="90" y="22"/>
                  <a:pt x="88" y="23"/>
                </a:cubicBezTo>
                <a:cubicBezTo>
                  <a:pt x="69" y="30"/>
                  <a:pt x="18" y="49"/>
                  <a:pt x="18" y="49"/>
                </a:cubicBezTo>
                <a:cubicBezTo>
                  <a:pt x="13" y="50"/>
                  <a:pt x="9" y="52"/>
                  <a:pt x="5" y="56"/>
                </a:cubicBezTo>
                <a:cubicBezTo>
                  <a:pt x="2" y="60"/>
                  <a:pt x="0" y="66"/>
                  <a:pt x="0" y="72"/>
                </a:cubicBezTo>
                <a:cubicBezTo>
                  <a:pt x="0" y="73"/>
                  <a:pt x="0" y="75"/>
                  <a:pt x="1" y="77"/>
                </a:cubicBezTo>
                <a:cubicBezTo>
                  <a:pt x="1" y="77"/>
                  <a:pt x="1" y="77"/>
                  <a:pt x="1" y="77"/>
                </a:cubicBezTo>
                <a:cubicBezTo>
                  <a:pt x="30" y="285"/>
                  <a:pt x="30" y="285"/>
                  <a:pt x="30" y="285"/>
                </a:cubicBezTo>
                <a:cubicBezTo>
                  <a:pt x="30" y="285"/>
                  <a:pt x="30" y="285"/>
                  <a:pt x="30" y="285"/>
                </a:cubicBezTo>
                <a:cubicBezTo>
                  <a:pt x="30" y="286"/>
                  <a:pt x="31" y="287"/>
                  <a:pt x="31" y="288"/>
                </a:cubicBezTo>
                <a:cubicBezTo>
                  <a:pt x="32" y="291"/>
                  <a:pt x="34" y="294"/>
                  <a:pt x="36" y="296"/>
                </a:cubicBezTo>
                <a:cubicBezTo>
                  <a:pt x="39" y="299"/>
                  <a:pt x="44" y="300"/>
                  <a:pt x="48" y="300"/>
                </a:cubicBezTo>
                <a:cubicBezTo>
                  <a:pt x="51" y="300"/>
                  <a:pt x="54" y="300"/>
                  <a:pt x="56" y="299"/>
                </a:cubicBezTo>
                <a:cubicBezTo>
                  <a:pt x="204" y="243"/>
                  <a:pt x="204" y="243"/>
                  <a:pt x="204" y="243"/>
                </a:cubicBezTo>
                <a:cubicBezTo>
                  <a:pt x="208" y="241"/>
                  <a:pt x="210" y="237"/>
                  <a:pt x="209" y="233"/>
                </a:cubicBezTo>
                <a:cubicBezTo>
                  <a:pt x="207" y="228"/>
                  <a:pt x="202" y="226"/>
                  <a:pt x="198" y="228"/>
                </a:cubicBezTo>
                <a:cubicBezTo>
                  <a:pt x="51" y="284"/>
                  <a:pt x="51" y="284"/>
                  <a:pt x="51" y="284"/>
                </a:cubicBezTo>
                <a:cubicBezTo>
                  <a:pt x="50" y="284"/>
                  <a:pt x="49" y="284"/>
                  <a:pt x="48" y="284"/>
                </a:cubicBezTo>
                <a:cubicBezTo>
                  <a:pt x="47" y="284"/>
                  <a:pt x="47" y="284"/>
                  <a:pt x="46" y="284"/>
                </a:cubicBezTo>
                <a:cubicBezTo>
                  <a:pt x="46" y="284"/>
                  <a:pt x="46" y="284"/>
                  <a:pt x="46" y="284"/>
                </a:cubicBezTo>
                <a:cubicBezTo>
                  <a:pt x="46" y="283"/>
                  <a:pt x="46" y="283"/>
                  <a:pt x="46" y="283"/>
                </a:cubicBezTo>
                <a:cubicBezTo>
                  <a:pt x="46" y="283"/>
                  <a:pt x="46" y="283"/>
                  <a:pt x="46" y="283"/>
                </a:cubicBezTo>
                <a:cubicBezTo>
                  <a:pt x="46" y="283"/>
                  <a:pt x="46" y="283"/>
                  <a:pt x="46" y="283"/>
                </a:cubicBezTo>
                <a:cubicBezTo>
                  <a:pt x="46" y="283"/>
                  <a:pt x="46" y="283"/>
                  <a:pt x="46" y="283"/>
                </a:cubicBezTo>
                <a:cubicBezTo>
                  <a:pt x="79" y="123"/>
                  <a:pt x="79" y="123"/>
                  <a:pt x="79" y="123"/>
                </a:cubicBezTo>
                <a:cubicBezTo>
                  <a:pt x="79" y="123"/>
                  <a:pt x="80" y="123"/>
                  <a:pt x="80" y="122"/>
                </a:cubicBezTo>
                <a:cubicBezTo>
                  <a:pt x="80" y="122"/>
                  <a:pt x="80" y="122"/>
                  <a:pt x="80" y="122"/>
                </a:cubicBezTo>
                <a:cubicBezTo>
                  <a:pt x="80" y="122"/>
                  <a:pt x="80" y="121"/>
                  <a:pt x="81" y="121"/>
                </a:cubicBezTo>
                <a:cubicBezTo>
                  <a:pt x="81" y="121"/>
                  <a:pt x="81" y="121"/>
                  <a:pt x="81" y="121"/>
                </a:cubicBezTo>
                <a:cubicBezTo>
                  <a:pt x="81" y="120"/>
                  <a:pt x="82" y="120"/>
                  <a:pt x="84" y="119"/>
                </a:cubicBezTo>
                <a:cubicBezTo>
                  <a:pt x="84" y="119"/>
                  <a:pt x="84" y="119"/>
                  <a:pt x="84" y="119"/>
                </a:cubicBezTo>
                <a:cubicBezTo>
                  <a:pt x="84" y="119"/>
                  <a:pt x="84" y="119"/>
                  <a:pt x="84" y="119"/>
                </a:cubicBezTo>
                <a:cubicBezTo>
                  <a:pt x="84" y="119"/>
                  <a:pt x="123" y="104"/>
                  <a:pt x="163" y="89"/>
                </a:cubicBezTo>
                <a:cubicBezTo>
                  <a:pt x="211" y="72"/>
                  <a:pt x="282" y="45"/>
                  <a:pt x="289" y="43"/>
                </a:cubicBezTo>
                <a:cubicBezTo>
                  <a:pt x="289" y="43"/>
                  <a:pt x="289" y="43"/>
                  <a:pt x="289" y="43"/>
                </a:cubicBezTo>
                <a:cubicBezTo>
                  <a:pt x="289" y="43"/>
                  <a:pt x="289" y="43"/>
                  <a:pt x="289" y="43"/>
                </a:cubicBezTo>
                <a:cubicBezTo>
                  <a:pt x="253" y="203"/>
                  <a:pt x="253" y="203"/>
                  <a:pt x="253" y="203"/>
                </a:cubicBezTo>
                <a:cubicBezTo>
                  <a:pt x="252" y="205"/>
                  <a:pt x="251" y="207"/>
                  <a:pt x="251" y="207"/>
                </a:cubicBezTo>
                <a:cubicBezTo>
                  <a:pt x="250" y="208"/>
                  <a:pt x="250" y="208"/>
                  <a:pt x="248" y="209"/>
                </a:cubicBezTo>
                <a:cubicBezTo>
                  <a:pt x="248" y="209"/>
                  <a:pt x="248" y="209"/>
                  <a:pt x="248" y="209"/>
                </a:cubicBezTo>
                <a:cubicBezTo>
                  <a:pt x="226" y="217"/>
                  <a:pt x="226" y="217"/>
                  <a:pt x="226" y="217"/>
                </a:cubicBezTo>
                <a:cubicBezTo>
                  <a:pt x="222" y="219"/>
                  <a:pt x="219" y="224"/>
                  <a:pt x="221" y="228"/>
                </a:cubicBezTo>
                <a:cubicBezTo>
                  <a:pt x="223" y="232"/>
                  <a:pt x="227" y="234"/>
                  <a:pt x="231" y="232"/>
                </a:cubicBezTo>
                <a:cubicBezTo>
                  <a:pt x="231" y="232"/>
                  <a:pt x="231" y="232"/>
                  <a:pt x="231" y="232"/>
                </a:cubicBezTo>
                <a:cubicBezTo>
                  <a:pt x="253" y="224"/>
                  <a:pt x="253" y="224"/>
                  <a:pt x="253" y="224"/>
                </a:cubicBezTo>
                <a:cubicBezTo>
                  <a:pt x="257" y="223"/>
                  <a:pt x="261" y="220"/>
                  <a:pt x="263" y="217"/>
                </a:cubicBezTo>
                <a:cubicBezTo>
                  <a:pt x="266" y="214"/>
                  <a:pt x="267" y="211"/>
                  <a:pt x="268" y="208"/>
                </a:cubicBezTo>
                <a:cubicBezTo>
                  <a:pt x="268" y="208"/>
                  <a:pt x="268" y="208"/>
                  <a:pt x="268" y="208"/>
                </a:cubicBezTo>
                <a:cubicBezTo>
                  <a:pt x="305" y="47"/>
                  <a:pt x="305" y="47"/>
                  <a:pt x="305" y="47"/>
                </a:cubicBezTo>
                <a:cubicBezTo>
                  <a:pt x="305" y="45"/>
                  <a:pt x="305" y="44"/>
                  <a:pt x="305" y="43"/>
                </a:cubicBezTo>
                <a:cubicBezTo>
                  <a:pt x="305" y="34"/>
                  <a:pt x="298" y="27"/>
                  <a:pt x="289" y="26"/>
                </a:cubicBezTo>
                <a:close/>
                <a:moveTo>
                  <a:pt x="16" y="75"/>
                </a:moveTo>
                <a:cubicBezTo>
                  <a:pt x="16" y="74"/>
                  <a:pt x="16" y="73"/>
                  <a:pt x="16" y="72"/>
                </a:cubicBezTo>
                <a:cubicBezTo>
                  <a:pt x="16" y="68"/>
                  <a:pt x="17" y="67"/>
                  <a:pt x="17" y="67"/>
                </a:cubicBezTo>
                <a:cubicBezTo>
                  <a:pt x="18" y="66"/>
                  <a:pt x="19" y="65"/>
                  <a:pt x="23" y="64"/>
                </a:cubicBezTo>
                <a:cubicBezTo>
                  <a:pt x="23" y="64"/>
                  <a:pt x="23" y="64"/>
                  <a:pt x="23" y="64"/>
                </a:cubicBezTo>
                <a:cubicBezTo>
                  <a:pt x="23" y="64"/>
                  <a:pt x="23" y="64"/>
                  <a:pt x="23" y="64"/>
                </a:cubicBezTo>
                <a:cubicBezTo>
                  <a:pt x="23" y="64"/>
                  <a:pt x="75" y="44"/>
                  <a:pt x="93" y="38"/>
                </a:cubicBezTo>
                <a:cubicBezTo>
                  <a:pt x="94" y="37"/>
                  <a:pt x="95" y="37"/>
                  <a:pt x="95" y="37"/>
                </a:cubicBezTo>
                <a:cubicBezTo>
                  <a:pt x="96" y="37"/>
                  <a:pt x="96" y="38"/>
                  <a:pt x="96" y="39"/>
                </a:cubicBezTo>
                <a:cubicBezTo>
                  <a:pt x="97" y="41"/>
                  <a:pt x="98" y="44"/>
                  <a:pt x="100" y="48"/>
                </a:cubicBezTo>
                <a:cubicBezTo>
                  <a:pt x="102" y="51"/>
                  <a:pt x="107" y="56"/>
                  <a:pt x="114" y="56"/>
                </a:cubicBezTo>
                <a:cubicBezTo>
                  <a:pt x="116" y="56"/>
                  <a:pt x="118" y="56"/>
                  <a:pt x="119" y="55"/>
                </a:cubicBezTo>
                <a:cubicBezTo>
                  <a:pt x="132" y="51"/>
                  <a:pt x="211" y="21"/>
                  <a:pt x="223" y="16"/>
                </a:cubicBezTo>
                <a:cubicBezTo>
                  <a:pt x="223" y="17"/>
                  <a:pt x="224" y="18"/>
                  <a:pt x="224" y="18"/>
                </a:cubicBezTo>
                <a:cubicBezTo>
                  <a:pt x="224" y="19"/>
                  <a:pt x="224" y="19"/>
                  <a:pt x="224" y="19"/>
                </a:cubicBezTo>
                <a:cubicBezTo>
                  <a:pt x="224" y="19"/>
                  <a:pt x="224" y="19"/>
                  <a:pt x="224" y="19"/>
                </a:cubicBezTo>
                <a:cubicBezTo>
                  <a:pt x="228" y="48"/>
                  <a:pt x="228" y="48"/>
                  <a:pt x="228" y="48"/>
                </a:cubicBezTo>
                <a:cubicBezTo>
                  <a:pt x="195" y="61"/>
                  <a:pt x="155" y="75"/>
                  <a:pt x="133" y="84"/>
                </a:cubicBezTo>
                <a:cubicBezTo>
                  <a:pt x="113" y="91"/>
                  <a:pt x="113" y="91"/>
                  <a:pt x="113" y="91"/>
                </a:cubicBezTo>
                <a:cubicBezTo>
                  <a:pt x="100" y="96"/>
                  <a:pt x="100" y="96"/>
                  <a:pt x="100" y="96"/>
                </a:cubicBezTo>
                <a:cubicBezTo>
                  <a:pt x="88" y="100"/>
                  <a:pt x="81" y="103"/>
                  <a:pt x="79" y="104"/>
                </a:cubicBezTo>
                <a:cubicBezTo>
                  <a:pt x="74" y="105"/>
                  <a:pt x="70" y="108"/>
                  <a:pt x="67" y="112"/>
                </a:cubicBezTo>
                <a:cubicBezTo>
                  <a:pt x="67" y="113"/>
                  <a:pt x="67" y="113"/>
                  <a:pt x="66" y="114"/>
                </a:cubicBezTo>
                <a:cubicBezTo>
                  <a:pt x="66" y="114"/>
                  <a:pt x="66" y="114"/>
                  <a:pt x="66" y="114"/>
                </a:cubicBezTo>
                <a:cubicBezTo>
                  <a:pt x="66" y="115"/>
                  <a:pt x="65" y="115"/>
                  <a:pt x="65" y="116"/>
                </a:cubicBezTo>
                <a:cubicBezTo>
                  <a:pt x="65" y="116"/>
                  <a:pt x="65" y="116"/>
                  <a:pt x="65" y="117"/>
                </a:cubicBezTo>
                <a:cubicBezTo>
                  <a:pt x="65" y="117"/>
                  <a:pt x="65" y="117"/>
                  <a:pt x="65" y="117"/>
                </a:cubicBezTo>
                <a:cubicBezTo>
                  <a:pt x="64" y="118"/>
                  <a:pt x="64" y="119"/>
                  <a:pt x="64" y="119"/>
                </a:cubicBezTo>
                <a:cubicBezTo>
                  <a:pt x="64" y="119"/>
                  <a:pt x="64" y="119"/>
                  <a:pt x="64" y="119"/>
                </a:cubicBezTo>
                <a:cubicBezTo>
                  <a:pt x="64" y="120"/>
                  <a:pt x="64" y="120"/>
                  <a:pt x="64" y="120"/>
                </a:cubicBezTo>
                <a:cubicBezTo>
                  <a:pt x="39" y="237"/>
                  <a:pt x="39" y="237"/>
                  <a:pt x="39" y="237"/>
                </a:cubicBezTo>
                <a:lnTo>
                  <a:pt x="16" y="75"/>
                </a:lnTo>
                <a:close/>
              </a:path>
            </a:pathLst>
          </a:custGeom>
          <a:solidFill>
            <a:srgbClr val="E1E2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 name="Rectangle 4"/>
          <p:cNvSpPr>
            <a:spLocks noChangeArrowheads="1"/>
          </p:cNvSpPr>
          <p:nvPr/>
        </p:nvSpPr>
        <p:spPr bwMode="gray">
          <a:xfrm>
            <a:off x="2971799" y="1716311"/>
            <a:ext cx="5827373" cy="705404"/>
          </a:xfrm>
          <a:prstGeom prst="roundRect">
            <a:avLst>
              <a:gd name="adj" fmla="val 16667"/>
            </a:avLst>
          </a:prstGeom>
          <a:blipFill dpi="0" rotWithShape="1">
            <a:blip r:embed="rId3"/>
            <a:srcRect/>
            <a:stretch>
              <a:fillRect/>
            </a:stretch>
          </a:blipFill>
          <a:ln>
            <a:noFill/>
          </a:ln>
          <a:extLst>
            <a:ext uri="{91240B29-F687-4F45-9708-019B960494DF}">
              <a14:hiddenLine xmlns:a14="http://schemas.microsoft.com/office/drawing/2010/main" w="9525" algn="ctr">
                <a:solidFill>
                  <a:srgbClr val="000000"/>
                </a:solidFill>
                <a:round/>
                <a:headEnd/>
                <a:tailEnd/>
              </a14:hiddenLine>
            </a:ext>
          </a:extLst>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pPr>
            <a:r>
              <a:rPr lang="en-US" sz="1800" dirty="0" smtClean="0">
                <a:solidFill>
                  <a:schemeClr val="bg1"/>
                </a:solidFill>
              </a:rPr>
              <a:t>ERICSSON VISION AND STRATEGY</a:t>
            </a:r>
            <a:endParaRPr lang="en-US" sz="1800" dirty="0">
              <a:solidFill>
                <a:schemeClr val="bg1"/>
              </a:solidFill>
            </a:endParaRPr>
          </a:p>
        </p:txBody>
      </p:sp>
      <p:sp>
        <p:nvSpPr>
          <p:cNvPr id="8" name="Rectangle 4"/>
          <p:cNvSpPr>
            <a:spLocks noChangeArrowheads="1"/>
          </p:cNvSpPr>
          <p:nvPr/>
        </p:nvSpPr>
        <p:spPr bwMode="gray">
          <a:xfrm>
            <a:off x="2971799" y="2596328"/>
            <a:ext cx="5827373" cy="705404"/>
          </a:xfrm>
          <a:prstGeom prst="roundRect">
            <a:avLst>
              <a:gd name="adj" fmla="val 16667"/>
            </a:avLst>
          </a:prstGeom>
          <a:blipFill>
            <a:blip r:embed="rId4" cstate="print"/>
            <a:stretch>
              <a:fillRect/>
            </a:stretch>
          </a:blipFill>
          <a:ln>
            <a:noFill/>
          </a:ln>
          <a:extLst/>
        </p:spPr>
        <p:txBody>
          <a:bodyPr lIns="72009" tIns="72009" rIns="72009" bIns="72009" anchor="ctr"/>
          <a:lstStyle/>
          <a:p>
            <a:pPr marL="228600" indent="-228600" algn="l" eaLnBrk="0" hangingPunct="0">
              <a:lnSpc>
                <a:spcPct val="90000"/>
              </a:lnSpc>
              <a:spcAft>
                <a:spcPct val="70000"/>
              </a:spcAft>
              <a:buClr>
                <a:schemeClr val="hlink"/>
              </a:buClr>
              <a:buFont typeface="Ericsson Capital TT" pitchFamily="2" charset="0"/>
              <a:buNone/>
              <a:tabLst>
                <a:tab pos="1701800" algn="l"/>
              </a:tabLst>
            </a:pPr>
            <a:r>
              <a:rPr lang="en-US" sz="1800" dirty="0" smtClean="0">
                <a:solidFill>
                  <a:schemeClr val="bg1"/>
                </a:solidFill>
                <a:cs typeface="Arial" charset="0"/>
              </a:rPr>
              <a:t>ERICSSON CATALOG MANAGER</a:t>
            </a:r>
            <a:br>
              <a:rPr lang="en-US" sz="1800" dirty="0" smtClean="0">
                <a:solidFill>
                  <a:schemeClr val="bg1"/>
                </a:solidFill>
                <a:cs typeface="Arial" charset="0"/>
              </a:rPr>
            </a:br>
            <a:r>
              <a:rPr lang="en-US" sz="1800" dirty="0" smtClean="0">
                <a:solidFill>
                  <a:schemeClr val="bg1"/>
                </a:solidFill>
                <a:cs typeface="Arial" charset="0"/>
              </a:rPr>
              <a:t>RELEASE 14 ENHANCEMENTS AND ROADMAP</a:t>
            </a:r>
            <a:endParaRPr lang="en-US" sz="1800" dirty="0">
              <a:solidFill>
                <a:schemeClr val="bg1"/>
              </a:solidFill>
              <a:cs typeface="Arial" charset="0"/>
            </a:endParaRPr>
          </a:p>
        </p:txBody>
      </p:sp>
      <p:sp>
        <p:nvSpPr>
          <p:cNvPr id="9" name="Rectangle 4"/>
          <p:cNvSpPr>
            <a:spLocks noChangeArrowheads="1"/>
          </p:cNvSpPr>
          <p:nvPr/>
        </p:nvSpPr>
        <p:spPr bwMode="gray">
          <a:xfrm>
            <a:off x="2971799" y="3476345"/>
            <a:ext cx="5827373" cy="705404"/>
          </a:xfrm>
          <a:prstGeom prst="roundRect">
            <a:avLst>
              <a:gd name="adj" fmla="val 16667"/>
            </a:avLst>
          </a:prstGeom>
          <a:blipFill dpi="0" rotWithShape="1">
            <a:blip r:embed="rId5"/>
            <a:srcRect/>
            <a:stretch>
              <a:fillRect/>
            </a:stretch>
          </a:blipFill>
          <a:ln>
            <a:noFill/>
          </a:ln>
          <a:extLst>
            <a:ext uri="{91240B29-F687-4F45-9708-019B960494DF}">
              <a14:hiddenLine xmlns:a14="http://schemas.microsoft.com/office/drawing/2010/main" w="9525" algn="ctr">
                <a:solidFill>
                  <a:srgbClr val="000000"/>
                </a:solidFill>
                <a:round/>
                <a:headEnd/>
                <a:tailEnd/>
              </a14:hiddenLine>
            </a:ext>
          </a:extLst>
        </p:spPr>
        <p:txBody>
          <a:bodyPr lIns="72009" tIns="72009" rIns="72009" bIns="72009" anchor="ctr"/>
          <a:lstStyle/>
          <a:p>
            <a:pPr marL="228600" indent="-228600" algn="l" eaLnBrk="0" hangingPunct="0">
              <a:lnSpc>
                <a:spcPct val="90000"/>
              </a:lnSpc>
              <a:spcAft>
                <a:spcPct val="70000"/>
              </a:spcAft>
              <a:buClr>
                <a:schemeClr val="hlink"/>
              </a:buClr>
              <a:buFont typeface="Ericsson Capital TT" pitchFamily="2" charset="0"/>
              <a:buNone/>
              <a:tabLst>
                <a:tab pos="1701800" algn="l"/>
              </a:tabLst>
            </a:pPr>
            <a:r>
              <a:rPr lang="en-US" sz="1800" dirty="0" smtClean="0">
                <a:solidFill>
                  <a:schemeClr val="bg1"/>
                </a:solidFill>
              </a:rPr>
              <a:t>ERICSSON ORDER CARE</a:t>
            </a:r>
            <a:br>
              <a:rPr lang="en-US" sz="1800" dirty="0" smtClean="0">
                <a:solidFill>
                  <a:schemeClr val="bg1"/>
                </a:solidFill>
              </a:rPr>
            </a:br>
            <a:r>
              <a:rPr lang="en-US" sz="1800" dirty="0" smtClean="0">
                <a:solidFill>
                  <a:schemeClr val="bg1"/>
                </a:solidFill>
              </a:rPr>
              <a:t>RELEASE 14 ENHANCEMENTS AND ROADMAP</a:t>
            </a:r>
            <a:endParaRPr lang="en-US" sz="1800" dirty="0">
              <a:solidFill>
                <a:schemeClr val="bg1"/>
              </a:solidFill>
            </a:endParaRPr>
          </a:p>
        </p:txBody>
      </p:sp>
      <p:sp>
        <p:nvSpPr>
          <p:cNvPr id="10" name="Rectangle 4"/>
          <p:cNvSpPr>
            <a:spLocks noChangeArrowheads="1"/>
          </p:cNvSpPr>
          <p:nvPr/>
        </p:nvSpPr>
        <p:spPr bwMode="gray">
          <a:xfrm>
            <a:off x="2971799" y="4356362"/>
            <a:ext cx="5827373" cy="705404"/>
          </a:xfrm>
          <a:prstGeom prst="roundRect">
            <a:avLst>
              <a:gd name="adj" fmla="val 16667"/>
            </a:avLst>
          </a:prstGeom>
          <a:blipFill dpi="0" rotWithShape="1">
            <a:blip r:embed="rId6"/>
            <a:srcRect/>
            <a:stretch>
              <a:fillRect/>
            </a:stretch>
          </a:blipFill>
          <a:ln>
            <a:noFill/>
          </a:ln>
          <a:extLst/>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defRPr/>
            </a:pPr>
            <a:r>
              <a:rPr lang="en-US" sz="1800" dirty="0" smtClean="0">
                <a:solidFill>
                  <a:schemeClr val="bg1"/>
                </a:solidFill>
                <a:latin typeface="Arial" charset="0"/>
                <a:cs typeface="Arial" charset="0"/>
              </a:rPr>
              <a:t>BEST PRACTICES FOR UPGRADING TO 14.X</a:t>
            </a:r>
            <a:endParaRPr lang="en-US" sz="1800" dirty="0">
              <a:solidFill>
                <a:schemeClr val="bg1"/>
              </a:solidFill>
              <a:latin typeface="Arial" charset="0"/>
              <a:cs typeface="Arial" charset="0"/>
            </a:endParaRPr>
          </a:p>
        </p:txBody>
      </p:sp>
      <p:sp>
        <p:nvSpPr>
          <p:cNvPr id="19" name="Rectangle 4"/>
          <p:cNvSpPr>
            <a:spLocks noChangeArrowheads="1"/>
          </p:cNvSpPr>
          <p:nvPr/>
        </p:nvSpPr>
        <p:spPr bwMode="gray">
          <a:xfrm>
            <a:off x="2971799" y="5236378"/>
            <a:ext cx="5827373" cy="705404"/>
          </a:xfrm>
          <a:prstGeom prst="roundRect">
            <a:avLst>
              <a:gd name="adj" fmla="val 16667"/>
            </a:avLst>
          </a:prstGeom>
          <a:blipFill dpi="0" rotWithShape="1">
            <a:blip r:embed="rId7"/>
            <a:srcRect/>
            <a:stretch>
              <a:fillRect/>
            </a:stretch>
          </a:blipFill>
          <a:ln>
            <a:noFill/>
          </a:ln>
          <a:extLst/>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defRPr/>
            </a:pPr>
            <a:r>
              <a:rPr lang="en-US" sz="1800" dirty="0" smtClean="0">
                <a:solidFill>
                  <a:schemeClr val="bg1"/>
                </a:solidFill>
                <a:latin typeface="Arial" charset="0"/>
                <a:cs typeface="Arial" charset="0"/>
              </a:rPr>
              <a:t>WRAP-UP AND Q&amp;A</a:t>
            </a:r>
            <a:endParaRPr lang="en-US" sz="1800" dirty="0">
              <a:solidFill>
                <a:schemeClr val="bg1"/>
              </a:solidFill>
              <a:latin typeface="Arial" charset="0"/>
              <a:cs typeface="Arial" charset="0"/>
            </a:endParaRPr>
          </a:p>
        </p:txBody>
      </p:sp>
      <p:sp>
        <p:nvSpPr>
          <p:cNvPr id="12" name="Freeform 8"/>
          <p:cNvSpPr>
            <a:spLocks noChangeAspect="1"/>
          </p:cNvSpPr>
          <p:nvPr/>
        </p:nvSpPr>
        <p:spPr bwMode="auto">
          <a:xfrm>
            <a:off x="1901819" y="4279565"/>
            <a:ext cx="996049" cy="847719"/>
          </a:xfrm>
          <a:custGeom>
            <a:avLst/>
            <a:gdLst>
              <a:gd name="T0" fmla="*/ 2147483647 w 529"/>
              <a:gd name="T1" fmla="*/ 2147483647 h 450"/>
              <a:gd name="T2" fmla="*/ 2147483647 w 529"/>
              <a:gd name="T3" fmla="*/ 2147483647 h 450"/>
              <a:gd name="T4" fmla="*/ 2147483647 w 529"/>
              <a:gd name="T5" fmla="*/ 2147483647 h 450"/>
              <a:gd name="T6" fmla="*/ 2147483647 w 529"/>
              <a:gd name="T7" fmla="*/ 2147483647 h 450"/>
              <a:gd name="T8" fmla="*/ 2147483647 w 529"/>
              <a:gd name="T9" fmla="*/ 2147483647 h 450"/>
              <a:gd name="T10" fmla="*/ 2147483647 w 529"/>
              <a:gd name="T11" fmla="*/ 2147483647 h 450"/>
              <a:gd name="T12" fmla="*/ 2147483647 w 529"/>
              <a:gd name="T13" fmla="*/ 2147483647 h 450"/>
              <a:gd name="T14" fmla="*/ 0 w 529"/>
              <a:gd name="T15" fmla="*/ 2147483647 h 450"/>
              <a:gd name="T16" fmla="*/ 0 w 529"/>
              <a:gd name="T17" fmla="*/ 2147483647 h 450"/>
              <a:gd name="T18" fmla="*/ 2147483647 w 529"/>
              <a:gd name="T19" fmla="*/ 2147483647 h 450"/>
              <a:gd name="T20" fmla="*/ 2147483647 w 529"/>
              <a:gd name="T21" fmla="*/ 2147483647 h 450"/>
              <a:gd name="T22" fmla="*/ 2147483647 w 529"/>
              <a:gd name="T23" fmla="*/ 2147483647 h 450"/>
              <a:gd name="T24" fmla="*/ 2147483647 w 529"/>
              <a:gd name="T25" fmla="*/ 2147483647 h 450"/>
              <a:gd name="T26" fmla="*/ 2147483647 w 529"/>
              <a:gd name="T27" fmla="*/ 2147483647 h 4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9"/>
              <a:gd name="T43" fmla="*/ 0 h 450"/>
              <a:gd name="T44" fmla="*/ 529 w 529"/>
              <a:gd name="T45" fmla="*/ 450 h 4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9" h="450">
                <a:moveTo>
                  <a:pt x="524" y="241"/>
                </a:moveTo>
                <a:cubicBezTo>
                  <a:pt x="528" y="232"/>
                  <a:pt x="529" y="231"/>
                  <a:pt x="529" y="225"/>
                </a:cubicBezTo>
                <a:cubicBezTo>
                  <a:pt x="529" y="218"/>
                  <a:pt x="529" y="217"/>
                  <a:pt x="524" y="208"/>
                </a:cubicBezTo>
                <a:cubicBezTo>
                  <a:pt x="519" y="198"/>
                  <a:pt x="425" y="27"/>
                  <a:pt x="418" y="14"/>
                </a:cubicBezTo>
                <a:cubicBezTo>
                  <a:pt x="410" y="0"/>
                  <a:pt x="391" y="3"/>
                  <a:pt x="390" y="23"/>
                </a:cubicBezTo>
                <a:cubicBezTo>
                  <a:pt x="390" y="27"/>
                  <a:pt x="390" y="33"/>
                  <a:pt x="390" y="40"/>
                </a:cubicBezTo>
                <a:cubicBezTo>
                  <a:pt x="14" y="40"/>
                  <a:pt x="14" y="40"/>
                  <a:pt x="14" y="40"/>
                </a:cubicBezTo>
                <a:cubicBezTo>
                  <a:pt x="6" y="40"/>
                  <a:pt x="0" y="46"/>
                  <a:pt x="0" y="54"/>
                </a:cubicBezTo>
                <a:cubicBezTo>
                  <a:pt x="0" y="396"/>
                  <a:pt x="0" y="396"/>
                  <a:pt x="0" y="396"/>
                </a:cubicBezTo>
                <a:cubicBezTo>
                  <a:pt x="0" y="403"/>
                  <a:pt x="6" y="409"/>
                  <a:pt x="14" y="409"/>
                </a:cubicBezTo>
                <a:cubicBezTo>
                  <a:pt x="390" y="409"/>
                  <a:pt x="390" y="409"/>
                  <a:pt x="390" y="409"/>
                </a:cubicBezTo>
                <a:cubicBezTo>
                  <a:pt x="390" y="416"/>
                  <a:pt x="390" y="422"/>
                  <a:pt x="390" y="426"/>
                </a:cubicBezTo>
                <a:cubicBezTo>
                  <a:pt x="391" y="446"/>
                  <a:pt x="409" y="450"/>
                  <a:pt x="417" y="437"/>
                </a:cubicBezTo>
                <a:cubicBezTo>
                  <a:pt x="429" y="415"/>
                  <a:pt x="521" y="248"/>
                  <a:pt x="524" y="241"/>
                </a:cubicBezTo>
                <a:close/>
              </a:path>
            </a:pathLst>
          </a:custGeom>
          <a:blipFill dpi="0" rotWithShape="1">
            <a:blip r:embed="rId6"/>
            <a:srcRect/>
            <a:stretch>
              <a:fillRect/>
            </a:stretch>
          </a:blipFill>
          <a:ln>
            <a:noFill/>
          </a:ln>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pPr>
            <a:endParaRPr lang="en-US" sz="1800" dirty="0">
              <a:solidFill>
                <a:schemeClr val="bg1"/>
              </a:solidFill>
              <a:latin typeface="Arial" charset="0"/>
              <a:cs typeface="Arial" charset="0"/>
            </a:endParaRPr>
          </a:p>
        </p:txBody>
      </p:sp>
    </p:spTree>
    <p:extLst>
      <p:ext uri="{BB962C8B-B14F-4D97-AF65-F5344CB8AC3E}">
        <p14:creationId xmlns:p14="http://schemas.microsoft.com/office/powerpoint/2010/main" val="329593930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Benefit from </a:t>
            </a:r>
            <a:r>
              <a:rPr lang="en-US" dirty="0" smtClean="0"/>
              <a:t>platform </a:t>
            </a:r>
            <a:r>
              <a:rPr lang="en-US" dirty="0"/>
              <a:t>fixes and enhancements</a:t>
            </a:r>
          </a:p>
          <a:p>
            <a:r>
              <a:rPr lang="en-US" dirty="0"/>
              <a:t>Get access to new features</a:t>
            </a:r>
          </a:p>
          <a:p>
            <a:r>
              <a:rPr lang="en-US" dirty="0"/>
              <a:t>Get the latest </a:t>
            </a:r>
            <a:r>
              <a:rPr lang="en-US" dirty="0" smtClean="0"/>
              <a:t>product </a:t>
            </a:r>
            <a:r>
              <a:rPr lang="en-US" dirty="0"/>
              <a:t>c</a:t>
            </a:r>
            <a:r>
              <a:rPr lang="en-US" dirty="0" smtClean="0"/>
              <a:t>ertifications</a:t>
            </a:r>
            <a:endParaRPr lang="en-US" dirty="0"/>
          </a:p>
          <a:p>
            <a:r>
              <a:rPr lang="en-US" dirty="0" smtClean="0"/>
              <a:t>Ensure backward compatibility</a:t>
            </a:r>
            <a:endParaRPr lang="en-US" dirty="0"/>
          </a:p>
          <a:p>
            <a:endParaRPr lang="en-US" dirty="0"/>
          </a:p>
        </p:txBody>
      </p:sp>
      <p:sp>
        <p:nvSpPr>
          <p:cNvPr id="3" name="Title 2"/>
          <p:cNvSpPr>
            <a:spLocks noGrp="1"/>
          </p:cNvSpPr>
          <p:nvPr>
            <p:ph type="title"/>
          </p:nvPr>
        </p:nvSpPr>
        <p:spPr/>
        <p:txBody>
          <a:bodyPr/>
          <a:lstStyle/>
          <a:p>
            <a:r>
              <a:rPr lang="en-US" dirty="0" smtClean="0"/>
              <a:t>Why Upgrade </a:t>
            </a:r>
            <a:r>
              <a:rPr lang="en-US" dirty="0"/>
              <a:t>to </a:t>
            </a:r>
            <a:r>
              <a:rPr lang="en-US" dirty="0" smtClean="0"/>
              <a:t>14.x?</a:t>
            </a:r>
            <a:endParaRPr lang="en-US" dirty="0"/>
          </a:p>
        </p:txBody>
      </p:sp>
    </p:spTree>
    <p:extLst>
      <p:ext uri="{BB962C8B-B14F-4D97-AF65-F5344CB8AC3E}">
        <p14:creationId xmlns:p14="http://schemas.microsoft.com/office/powerpoint/2010/main" val="205338542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ln>
            <a:miter lim="800000"/>
            <a:headEnd/>
            <a:tailEnd/>
          </a:ln>
          <a:extLst/>
        </p:spPr>
        <p:txBody>
          <a:bodyPr>
            <a:normAutofit fontScale="90000"/>
          </a:bodyPr>
          <a:lstStyle/>
          <a:p>
            <a:pPr eaLnBrk="1" hangingPunct="1">
              <a:defRPr/>
            </a:pPr>
            <a:r>
              <a:rPr lang="en-US" dirty="0" smtClean="0">
                <a:solidFill>
                  <a:srgbClr val="00625F"/>
                </a:solidFill>
              </a:rPr>
              <a:t>Step 1: </a:t>
            </a:r>
            <a:br>
              <a:rPr lang="en-US" dirty="0" smtClean="0">
                <a:solidFill>
                  <a:srgbClr val="00625F"/>
                </a:solidFill>
              </a:rPr>
            </a:br>
            <a:r>
              <a:rPr lang="en-US" dirty="0" smtClean="0">
                <a:solidFill>
                  <a:srgbClr val="E32119"/>
                </a:solidFill>
              </a:rPr>
              <a:t>Perform Solution Review</a:t>
            </a:r>
            <a:endParaRPr lang="en-US" dirty="0">
              <a:solidFill>
                <a:srgbClr val="E32119"/>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1132186007"/>
              </p:ext>
            </p:extLst>
          </p:nvPr>
        </p:nvGraphicFramePr>
        <p:xfrm>
          <a:off x="533399" y="1361370"/>
          <a:ext cx="8218715" cy="5074920"/>
        </p:xfrm>
        <a:graphic>
          <a:graphicData uri="http://schemas.openxmlformats.org/drawingml/2006/table">
            <a:tbl>
              <a:tblPr firstRow="1" bandRow="1">
                <a:tableStyleId>{5C22544A-7EE6-4342-B048-85BDC9FD1C3A}</a:tableStyleId>
              </a:tblPr>
              <a:tblGrid>
                <a:gridCol w="3813039"/>
                <a:gridCol w="1241193"/>
                <a:gridCol w="3164483"/>
              </a:tblGrid>
              <a:tr h="370840">
                <a:tc>
                  <a:txBody>
                    <a:bodyPr/>
                    <a:lstStyle/>
                    <a:p>
                      <a:pPr algn="ctr"/>
                      <a:r>
                        <a:rPr lang="en-CA" dirty="0" smtClean="0"/>
                        <a:t>Component</a:t>
                      </a:r>
                      <a:endParaRPr lang="en-CA" dirty="0"/>
                    </a:p>
                  </a:txBody>
                  <a:tcPr/>
                </a:tc>
                <a:tc>
                  <a:txBody>
                    <a:bodyPr/>
                    <a:lstStyle/>
                    <a:p>
                      <a:pPr algn="ctr"/>
                      <a:r>
                        <a:rPr lang="en-CA" dirty="0" smtClean="0"/>
                        <a:t>Needs Detail Review?</a:t>
                      </a:r>
                      <a:endParaRPr lang="en-CA" dirty="0"/>
                    </a:p>
                  </a:txBody>
                  <a:tcPr/>
                </a:tc>
                <a:tc>
                  <a:txBody>
                    <a:bodyPr/>
                    <a:lstStyle/>
                    <a:p>
                      <a:pPr algn="ctr"/>
                      <a:r>
                        <a:rPr lang="en-CA" dirty="0" smtClean="0"/>
                        <a:t>Notes</a:t>
                      </a:r>
                      <a:endParaRPr lang="en-CA" dirty="0"/>
                    </a:p>
                  </a:txBody>
                  <a:tcPr/>
                </a:tc>
              </a:tr>
              <a:tr h="370840">
                <a:tc>
                  <a:txBody>
                    <a:bodyPr/>
                    <a:lstStyle/>
                    <a:p>
                      <a:pPr marL="285750" indent="-285750">
                        <a:buFont typeface="Arial" panose="020B0604020202020204" pitchFamily="34" charset="0"/>
                        <a:buChar char="•"/>
                      </a:pPr>
                      <a:r>
                        <a:rPr lang="en-CA" sz="1600" dirty="0" smtClean="0"/>
                        <a:t>Customer Information</a:t>
                      </a:r>
                      <a:r>
                        <a:rPr lang="en-CA" sz="1600" baseline="0" dirty="0" smtClean="0"/>
                        <a:t> Management</a:t>
                      </a:r>
                    </a:p>
                    <a:p>
                      <a:pPr marL="285750" indent="-285750">
                        <a:buFont typeface="Arial" panose="020B0604020202020204" pitchFamily="34" charset="0"/>
                        <a:buChar char="•"/>
                      </a:pPr>
                      <a:r>
                        <a:rPr lang="en-CA" sz="1600" baseline="0" dirty="0" smtClean="0"/>
                        <a:t>Orchestration Framework</a:t>
                      </a:r>
                    </a:p>
                    <a:p>
                      <a:pPr marL="285750" indent="-285750">
                        <a:buFont typeface="Arial" panose="020B0604020202020204" pitchFamily="34" charset="0"/>
                        <a:buChar char="•"/>
                      </a:pPr>
                      <a:r>
                        <a:rPr lang="en-CA" sz="1600" baseline="0" dirty="0" smtClean="0"/>
                        <a:t>Order Management</a:t>
                      </a:r>
                    </a:p>
                  </a:txBody>
                  <a:tcPr anchor="ctr"/>
                </a:tc>
                <a:tc>
                  <a:txBody>
                    <a:bodyPr/>
                    <a:lstStyle/>
                    <a:p>
                      <a:pPr algn="ctr"/>
                      <a:r>
                        <a:rPr lang="en-CA" sz="1600" dirty="0" smtClean="0"/>
                        <a:t>No</a:t>
                      </a:r>
                      <a:endParaRPr lang="en-CA" sz="16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600" dirty="0" smtClean="0"/>
                        <a:t>New</a:t>
                      </a:r>
                      <a:r>
                        <a:rPr lang="en-CA" sz="1600" baseline="0" dirty="0" smtClean="0"/>
                        <a:t> features</a:t>
                      </a:r>
                      <a:endParaRPr lang="en-CA" sz="1600" dirty="0" smtClean="0"/>
                    </a:p>
                  </a:txBody>
                  <a:tcPr anchor="ctr"/>
                </a:tc>
              </a:tr>
              <a:tr h="370840">
                <a:tc>
                  <a:txBody>
                    <a:bodyPr/>
                    <a:lstStyle/>
                    <a:p>
                      <a:pPr marL="285750" indent="-285750" algn="l" defTabSz="914400" rtl="0" eaLnBrk="1" latinLnBrk="0" hangingPunct="1">
                        <a:buFont typeface="Arial" panose="020B0604020202020204" pitchFamily="34" charset="0"/>
                        <a:buChar char="•"/>
                      </a:pPr>
                      <a:r>
                        <a:rPr lang="en-CA" sz="1600" kern="1200" dirty="0" smtClean="0">
                          <a:solidFill>
                            <a:schemeClr val="dk1"/>
                          </a:solidFill>
                          <a:latin typeface="+mn-lt"/>
                          <a:ea typeface="+mn-ea"/>
                          <a:cs typeface="+mn-cs"/>
                        </a:rPr>
                        <a:t>Service Registry</a:t>
                      </a:r>
                      <a:endParaRPr lang="en-CA" sz="1600" kern="1200" dirty="0">
                        <a:solidFill>
                          <a:schemeClr val="dk1"/>
                        </a:solidFill>
                        <a:latin typeface="+mn-lt"/>
                        <a:ea typeface="+mn-ea"/>
                        <a:cs typeface="+mn-cs"/>
                      </a:endParaRPr>
                    </a:p>
                  </a:txBody>
                  <a:tcPr anchor="ctr"/>
                </a:tc>
                <a:tc>
                  <a:txBody>
                    <a:bodyPr/>
                    <a:lstStyle/>
                    <a:p>
                      <a:pPr algn="ctr"/>
                      <a:r>
                        <a:rPr lang="en-CA" sz="1600" dirty="0" smtClean="0"/>
                        <a:t>Yes</a:t>
                      </a:r>
                      <a:endParaRPr lang="en-CA" sz="1600" dirty="0"/>
                    </a:p>
                  </a:txBody>
                  <a:tcPr anchor="ctr"/>
                </a:tc>
                <a:tc>
                  <a:txBody>
                    <a:bodyPr/>
                    <a:lstStyle/>
                    <a:p>
                      <a:r>
                        <a:rPr lang="en-CA" sz="1600" dirty="0" smtClean="0"/>
                        <a:t>Impacts related to Unified Workstation, Ericsson Catalog Manager</a:t>
                      </a:r>
                      <a:endParaRPr lang="en-CA" sz="1600" dirty="0"/>
                    </a:p>
                  </a:txBody>
                  <a:tcPr anchor="ctr"/>
                </a:tc>
              </a:tr>
              <a:tr h="370840">
                <a:tc>
                  <a:txBody>
                    <a:bodyPr/>
                    <a:lstStyle/>
                    <a:p>
                      <a:pPr marL="285750" indent="-285750" algn="l" defTabSz="914400" rtl="0" eaLnBrk="1" latinLnBrk="0" hangingPunct="1">
                        <a:buFont typeface="Arial" panose="020B0604020202020204" pitchFamily="34" charset="0"/>
                        <a:buChar char="•"/>
                      </a:pPr>
                      <a:r>
                        <a:rPr lang="en-CA" sz="1600" kern="1200" dirty="0" smtClean="0">
                          <a:solidFill>
                            <a:schemeClr val="dk1"/>
                          </a:solidFill>
                          <a:latin typeface="+mn-lt"/>
                          <a:ea typeface="+mn-ea"/>
                          <a:cs typeface="+mn-cs"/>
                        </a:rPr>
                        <a:t>Unified Workstation</a:t>
                      </a:r>
                    </a:p>
                    <a:p>
                      <a:pPr marL="285750" indent="-285750" algn="l" defTabSz="914400" rtl="0" eaLnBrk="1" latinLnBrk="0" hangingPunct="1">
                        <a:buFont typeface="Arial" panose="020B0604020202020204" pitchFamily="34" charset="0"/>
                        <a:buChar char="•"/>
                      </a:pPr>
                      <a:r>
                        <a:rPr lang="en-CA" sz="1600" kern="1200" dirty="0" smtClean="0">
                          <a:solidFill>
                            <a:schemeClr val="dk1"/>
                          </a:solidFill>
                          <a:latin typeface="+mn-lt"/>
                          <a:ea typeface="+mn-ea"/>
                          <a:cs typeface="+mn-cs"/>
                        </a:rPr>
                        <a:t>Order Negotiations</a:t>
                      </a:r>
                    </a:p>
                  </a:txBody>
                  <a:tcPr anchor="ctr"/>
                </a:tc>
                <a:tc>
                  <a:txBody>
                    <a:bodyPr/>
                    <a:lstStyle/>
                    <a:p>
                      <a:pPr algn="ctr"/>
                      <a:r>
                        <a:rPr lang="en-CA" sz="1600" dirty="0" smtClean="0"/>
                        <a:t>Yes</a:t>
                      </a:r>
                      <a:endParaRPr lang="en-CA" sz="1600" dirty="0"/>
                    </a:p>
                  </a:txBody>
                  <a:tcPr anchor="ctr"/>
                </a:tc>
                <a:tc>
                  <a:txBody>
                    <a:bodyPr/>
                    <a:lstStyle/>
                    <a:p>
                      <a:r>
                        <a:rPr lang="en-CA" sz="1600" dirty="0" smtClean="0"/>
                        <a:t>Impacts related to Ericsson Catalog Manager, New Unified Workstation</a:t>
                      </a:r>
                      <a:endParaRPr lang="en-CA" sz="1600" dirty="0"/>
                    </a:p>
                  </a:txBody>
                  <a:tcPr anchor="ctr"/>
                </a:tc>
              </a:tr>
              <a:tr h="370840">
                <a:tc>
                  <a:txBody>
                    <a:bodyPr/>
                    <a:lstStyle/>
                    <a:p>
                      <a:pPr marL="285750" indent="-285750" algn="l" defTabSz="914400" rtl="0" eaLnBrk="1" latinLnBrk="0" hangingPunct="1">
                        <a:buFont typeface="Arial" panose="020B0604020202020204" pitchFamily="34" charset="0"/>
                        <a:buChar char="•"/>
                      </a:pPr>
                      <a:r>
                        <a:rPr lang="en-CA" sz="1600" kern="1200" dirty="0" smtClean="0">
                          <a:solidFill>
                            <a:schemeClr val="dk1"/>
                          </a:solidFill>
                          <a:latin typeface="+mn-lt"/>
                          <a:ea typeface="+mn-ea"/>
                          <a:cs typeface="+mn-cs"/>
                        </a:rPr>
                        <a:t>Ericsson Catalog Manager</a:t>
                      </a:r>
                      <a:endParaRPr lang="en-CA" sz="1600" kern="1200" dirty="0">
                        <a:solidFill>
                          <a:schemeClr val="dk1"/>
                        </a:solidFill>
                        <a:latin typeface="+mn-lt"/>
                        <a:ea typeface="+mn-ea"/>
                        <a:cs typeface="+mn-cs"/>
                      </a:endParaRPr>
                    </a:p>
                  </a:txBody>
                  <a:tcPr anchor="ctr"/>
                </a:tc>
                <a:tc>
                  <a:txBody>
                    <a:bodyPr/>
                    <a:lstStyle/>
                    <a:p>
                      <a:pPr algn="ctr"/>
                      <a:r>
                        <a:rPr lang="en-CA" sz="1600" dirty="0" smtClean="0"/>
                        <a:t>Yes</a:t>
                      </a:r>
                      <a:endParaRPr lang="en-CA" sz="1600" dirty="0"/>
                    </a:p>
                  </a:txBody>
                  <a:tcPr anchor="ctr"/>
                </a:tc>
                <a:tc>
                  <a:txBody>
                    <a:bodyPr/>
                    <a:lstStyle/>
                    <a:p>
                      <a:r>
                        <a:rPr lang="en-CA" sz="1600" dirty="0" smtClean="0"/>
                        <a:t>New Model</a:t>
                      </a:r>
                      <a:endParaRPr lang="en-CA" sz="1600" dirty="0"/>
                    </a:p>
                  </a:txBody>
                  <a:tcPr anchor="ctr"/>
                </a:tc>
              </a:tr>
              <a:tr h="370840">
                <a:tc>
                  <a:txBody>
                    <a:bodyPr/>
                    <a:lstStyle/>
                    <a:p>
                      <a:pPr marL="285750" indent="-285750">
                        <a:buFont typeface="Arial" panose="020B0604020202020204" pitchFamily="34" charset="0"/>
                        <a:buChar char="•"/>
                      </a:pPr>
                      <a:r>
                        <a:rPr lang="en-CA" sz="1600" dirty="0" smtClean="0"/>
                        <a:t>Integrations</a:t>
                      </a:r>
                      <a:endParaRPr lang="en-CA" sz="16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600" dirty="0" smtClean="0"/>
                        <a:t>No</a:t>
                      </a:r>
                    </a:p>
                  </a:txBody>
                  <a:tcPr anchor="ctr"/>
                </a:tc>
                <a:tc>
                  <a:txBody>
                    <a:bodyPr/>
                    <a:lstStyle/>
                    <a:p>
                      <a:r>
                        <a:rPr lang="en-CA" sz="1600" dirty="0" smtClean="0"/>
                        <a:t>Limited change</a:t>
                      </a:r>
                      <a:endParaRPr lang="en-CA" sz="1600" dirty="0"/>
                    </a:p>
                  </a:txBody>
                  <a:tcPr anchor="ctr"/>
                </a:tc>
              </a:tr>
              <a:tr h="370840">
                <a:tc>
                  <a:txBody>
                    <a:bodyPr/>
                    <a:lstStyle/>
                    <a:p>
                      <a:pPr marL="285750" indent="-285750">
                        <a:buFont typeface="Arial" panose="020B0604020202020204" pitchFamily="34" charset="0"/>
                        <a:buChar char="•"/>
                      </a:pPr>
                      <a:r>
                        <a:rPr lang="en-CA" sz="1600" dirty="0" smtClean="0"/>
                        <a:t>Data Model</a:t>
                      </a:r>
                      <a:endParaRPr lang="en-CA" sz="16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600" dirty="0" smtClean="0"/>
                        <a:t>No</a:t>
                      </a:r>
                    </a:p>
                  </a:txBody>
                  <a:tcPr anchor="ctr"/>
                </a:tc>
                <a:tc>
                  <a:txBody>
                    <a:bodyPr/>
                    <a:lstStyle/>
                    <a:p>
                      <a:r>
                        <a:rPr lang="en-CA" sz="1600" dirty="0" smtClean="0"/>
                        <a:t>Limited change</a:t>
                      </a:r>
                      <a:endParaRPr lang="en-CA" sz="1600" dirty="0"/>
                    </a:p>
                  </a:txBody>
                  <a:tcPr anchor="ctr"/>
                </a:tc>
              </a:tr>
              <a:tr h="370840">
                <a:tc>
                  <a:txBody>
                    <a:bodyPr/>
                    <a:lstStyle/>
                    <a:p>
                      <a:pPr marL="285750" indent="-285750">
                        <a:buFont typeface="Arial" panose="020B0604020202020204" pitchFamily="34" charset="0"/>
                        <a:buChar char="•"/>
                      </a:pPr>
                      <a:r>
                        <a:rPr lang="en-CA" sz="1600" dirty="0" smtClean="0"/>
                        <a:t>Operations</a:t>
                      </a:r>
                    </a:p>
                    <a:p>
                      <a:pPr marL="285750" indent="-285750">
                        <a:buFont typeface="Arial" panose="020B0604020202020204" pitchFamily="34" charset="0"/>
                        <a:buChar char="•"/>
                      </a:pPr>
                      <a:r>
                        <a:rPr lang="en-CA" sz="1600" dirty="0" smtClean="0"/>
                        <a:t>Environments</a:t>
                      </a:r>
                      <a:endParaRPr lang="en-CA" sz="16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600" dirty="0" smtClean="0"/>
                        <a:t>No</a:t>
                      </a:r>
                    </a:p>
                  </a:txBody>
                  <a:tcPr anchor="ctr"/>
                </a:tc>
                <a:tc>
                  <a:txBody>
                    <a:bodyPr/>
                    <a:lstStyle/>
                    <a:p>
                      <a:r>
                        <a:rPr lang="en-CA" sz="1600" dirty="0" smtClean="0"/>
                        <a:t>Limited change</a:t>
                      </a:r>
                      <a:endParaRPr lang="en-CA" sz="1600" dirty="0"/>
                    </a:p>
                  </a:txBody>
                  <a:tcPr anchor="ctr"/>
                </a:tc>
              </a:tr>
            </a:tbl>
          </a:graphicData>
        </a:graphic>
      </p:graphicFrame>
    </p:spTree>
    <p:extLst>
      <p:ext uri="{BB962C8B-B14F-4D97-AF65-F5344CB8AC3E}">
        <p14:creationId xmlns:p14="http://schemas.microsoft.com/office/powerpoint/2010/main" val="124437420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Content Placeholder 1"/>
          <p:cNvSpPr>
            <a:spLocks noGrp="1"/>
          </p:cNvSpPr>
          <p:nvPr>
            <p:ph idx="1"/>
          </p:nvPr>
        </p:nvSpPr>
        <p:spPr>
          <a:xfrm>
            <a:off x="396875" y="1790475"/>
            <a:ext cx="8351839" cy="3852000"/>
          </a:xfrm>
        </p:spPr>
        <p:txBody>
          <a:bodyPr/>
          <a:lstStyle/>
          <a:p>
            <a:pPr>
              <a:lnSpc>
                <a:spcPct val="90000"/>
              </a:lnSpc>
              <a:spcAft>
                <a:spcPts val="600"/>
              </a:spcAft>
            </a:pPr>
            <a:r>
              <a:rPr lang="en-US" sz="2200" dirty="0"/>
              <a:t>What modules are being used?</a:t>
            </a:r>
          </a:p>
          <a:p>
            <a:pPr>
              <a:lnSpc>
                <a:spcPct val="90000"/>
              </a:lnSpc>
              <a:spcAft>
                <a:spcPts val="600"/>
              </a:spcAft>
            </a:pPr>
            <a:r>
              <a:rPr lang="en-US" sz="2200" dirty="0"/>
              <a:t>Which version are you on now?</a:t>
            </a:r>
          </a:p>
          <a:p>
            <a:pPr>
              <a:lnSpc>
                <a:spcPct val="90000"/>
              </a:lnSpc>
              <a:spcAft>
                <a:spcPts val="600"/>
              </a:spcAft>
            </a:pPr>
            <a:r>
              <a:rPr lang="en-US" sz="2200" dirty="0"/>
              <a:t>How much customer adaptation is in place?</a:t>
            </a:r>
          </a:p>
          <a:p>
            <a:pPr>
              <a:lnSpc>
                <a:spcPct val="90000"/>
              </a:lnSpc>
              <a:spcAft>
                <a:spcPts val="600"/>
              </a:spcAft>
            </a:pPr>
            <a:r>
              <a:rPr lang="en-US" sz="2200" dirty="0"/>
              <a:t>Evaluate product release notes of changes</a:t>
            </a:r>
          </a:p>
          <a:p>
            <a:pPr>
              <a:lnSpc>
                <a:spcPct val="90000"/>
              </a:lnSpc>
              <a:spcAft>
                <a:spcPts val="600"/>
              </a:spcAft>
            </a:pPr>
            <a:r>
              <a:rPr lang="en-US" sz="2200" dirty="0"/>
              <a:t>How to manage current enhancement activities on existing platform?</a:t>
            </a:r>
          </a:p>
          <a:p>
            <a:pPr>
              <a:lnSpc>
                <a:spcPct val="90000"/>
              </a:lnSpc>
              <a:spcAft>
                <a:spcPts val="600"/>
              </a:spcAft>
            </a:pPr>
            <a:r>
              <a:rPr lang="en-US" sz="2200" dirty="0"/>
              <a:t>Determine new environments for development, system integration, load testing, and </a:t>
            </a:r>
            <a:r>
              <a:rPr lang="en-US" sz="2200" dirty="0" smtClean="0"/>
              <a:t>production, </a:t>
            </a:r>
            <a:r>
              <a:rPr lang="en-US" sz="2200" dirty="0"/>
              <a:t>etc</a:t>
            </a:r>
            <a:r>
              <a:rPr lang="en-US" sz="2200" dirty="0" smtClean="0"/>
              <a:t>.</a:t>
            </a:r>
            <a:endParaRPr lang="en-US" sz="2200" dirty="0"/>
          </a:p>
          <a:p>
            <a:pPr>
              <a:lnSpc>
                <a:spcPct val="90000"/>
              </a:lnSpc>
              <a:spcAft>
                <a:spcPts val="600"/>
              </a:spcAft>
            </a:pPr>
            <a:r>
              <a:rPr lang="en-US" sz="2200" dirty="0"/>
              <a:t>Data migration</a:t>
            </a:r>
          </a:p>
          <a:p>
            <a:pPr>
              <a:lnSpc>
                <a:spcPct val="90000"/>
              </a:lnSpc>
              <a:spcAft>
                <a:spcPts val="600"/>
              </a:spcAft>
            </a:pPr>
            <a:r>
              <a:rPr lang="en-US" sz="2200" dirty="0"/>
              <a:t>Training for staff on </a:t>
            </a:r>
            <a:r>
              <a:rPr lang="en-US" sz="2200" dirty="0" smtClean="0"/>
              <a:t>14.x</a:t>
            </a:r>
            <a:endParaRPr lang="en-US" sz="2200" dirty="0"/>
          </a:p>
          <a:p>
            <a:pPr>
              <a:lnSpc>
                <a:spcPct val="90000"/>
              </a:lnSpc>
              <a:spcAft>
                <a:spcPts val="600"/>
              </a:spcAft>
            </a:pPr>
            <a:r>
              <a:rPr lang="en-US" sz="2200" dirty="0"/>
              <a:t>Determine deployment plan based on your evaluation</a:t>
            </a:r>
          </a:p>
        </p:txBody>
      </p:sp>
      <p:sp>
        <p:nvSpPr>
          <p:cNvPr id="3" name="Title 2"/>
          <p:cNvSpPr>
            <a:spLocks noGrp="1"/>
          </p:cNvSpPr>
          <p:nvPr>
            <p:ph type="title"/>
          </p:nvPr>
        </p:nvSpPr>
        <p:spPr>
          <a:ln>
            <a:miter lim="800000"/>
            <a:headEnd/>
            <a:tailEnd/>
          </a:ln>
          <a:extLst/>
        </p:spPr>
        <p:txBody>
          <a:bodyPr>
            <a:normAutofit fontScale="90000"/>
          </a:bodyPr>
          <a:lstStyle/>
          <a:p>
            <a:pPr eaLnBrk="1" hangingPunct="1">
              <a:defRPr/>
            </a:pPr>
            <a:r>
              <a:rPr lang="en-US" dirty="0">
                <a:solidFill>
                  <a:srgbClr val="00625F"/>
                </a:solidFill>
              </a:rPr>
              <a:t>Step </a:t>
            </a:r>
            <a:r>
              <a:rPr lang="en-US" dirty="0" smtClean="0">
                <a:solidFill>
                  <a:srgbClr val="00625F"/>
                </a:solidFill>
              </a:rPr>
              <a:t>2: </a:t>
            </a:r>
            <a:br>
              <a:rPr lang="en-US" dirty="0" smtClean="0">
                <a:solidFill>
                  <a:srgbClr val="00625F"/>
                </a:solidFill>
              </a:rPr>
            </a:br>
            <a:r>
              <a:rPr lang="en-US" dirty="0" smtClean="0">
                <a:solidFill>
                  <a:srgbClr val="E32119"/>
                </a:solidFill>
              </a:rPr>
              <a:t>EVALUATE </a:t>
            </a:r>
            <a:r>
              <a:rPr lang="sv-SE" dirty="0" smtClean="0">
                <a:solidFill>
                  <a:srgbClr val="E32119"/>
                </a:solidFill>
                <a:ea typeface="ＭＳ Ｐゴシック" pitchFamily="34" charset="-128"/>
              </a:rPr>
              <a:t>your </a:t>
            </a:r>
            <a:r>
              <a:rPr lang="sv-SE" dirty="0">
                <a:solidFill>
                  <a:srgbClr val="E32119"/>
                </a:solidFill>
                <a:ea typeface="ＭＳ Ｐゴシック" pitchFamily="34" charset="-128"/>
              </a:rPr>
              <a:t>solution and </a:t>
            </a:r>
            <a:r>
              <a:rPr lang="sv-SE" dirty="0" smtClean="0">
                <a:solidFill>
                  <a:srgbClr val="E32119"/>
                </a:solidFill>
                <a:ea typeface="ＭＳ Ｐゴシック" pitchFamily="34" charset="-128"/>
              </a:rPr>
              <a:t>operational </a:t>
            </a:r>
            <a:r>
              <a:rPr lang="sv-SE" dirty="0">
                <a:solidFill>
                  <a:srgbClr val="E32119"/>
                </a:solidFill>
                <a:ea typeface="ＭＳ Ｐゴシック" pitchFamily="34" charset="-128"/>
              </a:rPr>
              <a:t>needs</a:t>
            </a:r>
            <a:endParaRPr lang="en-US" dirty="0">
              <a:solidFill>
                <a:srgbClr val="E32119"/>
              </a:solidFill>
            </a:endParaRPr>
          </a:p>
        </p:txBody>
      </p:sp>
    </p:spTree>
    <p:extLst>
      <p:ext uri="{BB962C8B-B14F-4D97-AF65-F5344CB8AC3E}">
        <p14:creationId xmlns:p14="http://schemas.microsoft.com/office/powerpoint/2010/main" val="348633687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ln>
            <a:miter lim="800000"/>
            <a:headEnd/>
            <a:tailEnd/>
          </a:ln>
          <a:extLst/>
        </p:spPr>
        <p:txBody>
          <a:bodyPr>
            <a:normAutofit fontScale="90000"/>
          </a:bodyPr>
          <a:lstStyle/>
          <a:p>
            <a:pPr eaLnBrk="1" hangingPunct="1">
              <a:defRPr/>
            </a:pPr>
            <a:r>
              <a:rPr lang="en-US" dirty="0">
                <a:solidFill>
                  <a:srgbClr val="00625F"/>
                </a:solidFill>
              </a:rPr>
              <a:t>Step </a:t>
            </a:r>
            <a:r>
              <a:rPr lang="en-US" dirty="0" smtClean="0">
                <a:solidFill>
                  <a:srgbClr val="00625F"/>
                </a:solidFill>
              </a:rPr>
              <a:t>3: </a:t>
            </a:r>
            <a:r>
              <a:rPr lang="en-US" dirty="0">
                <a:solidFill>
                  <a:srgbClr val="00625F"/>
                </a:solidFill>
              </a:rPr>
              <a:t/>
            </a:r>
            <a:br>
              <a:rPr lang="en-US" dirty="0">
                <a:solidFill>
                  <a:srgbClr val="00625F"/>
                </a:solidFill>
              </a:rPr>
            </a:br>
            <a:r>
              <a:rPr lang="sv-SE" dirty="0" smtClean="0">
                <a:solidFill>
                  <a:srgbClr val="E32119"/>
                </a:solidFill>
              </a:rPr>
              <a:t>DETERMINE </a:t>
            </a:r>
            <a:r>
              <a:rPr lang="en-US" dirty="0" smtClean="0">
                <a:solidFill>
                  <a:srgbClr val="E32119"/>
                </a:solidFill>
              </a:rPr>
              <a:t>Level </a:t>
            </a:r>
            <a:r>
              <a:rPr lang="en-US" dirty="0">
                <a:solidFill>
                  <a:srgbClr val="E32119"/>
                </a:solidFill>
              </a:rPr>
              <a:t>of </a:t>
            </a:r>
            <a:r>
              <a:rPr lang="en-US" dirty="0" smtClean="0">
                <a:solidFill>
                  <a:srgbClr val="E32119"/>
                </a:solidFill>
              </a:rPr>
              <a:t>effort NEEDED</a:t>
            </a:r>
            <a:endParaRPr lang="en-US" dirty="0">
              <a:solidFill>
                <a:srgbClr val="E32119"/>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327256726"/>
              </p:ext>
            </p:extLst>
          </p:nvPr>
        </p:nvGraphicFramePr>
        <p:xfrm>
          <a:off x="393701" y="1658256"/>
          <a:ext cx="8445499" cy="4577080"/>
        </p:xfrm>
        <a:graphic>
          <a:graphicData uri="http://schemas.openxmlformats.org/drawingml/2006/table">
            <a:tbl>
              <a:tblPr firstRow="1" bandRow="1">
                <a:tableStyleId>{5C22544A-7EE6-4342-B048-85BDC9FD1C3A}</a:tableStyleId>
              </a:tblPr>
              <a:tblGrid>
                <a:gridCol w="1975758"/>
                <a:gridCol w="1975758"/>
                <a:gridCol w="1975758"/>
                <a:gridCol w="2518225"/>
              </a:tblGrid>
              <a:tr h="370840">
                <a:tc>
                  <a:txBody>
                    <a:bodyPr/>
                    <a:lstStyle/>
                    <a:p>
                      <a:r>
                        <a:rPr lang="en-CA" dirty="0" smtClean="0"/>
                        <a:t>Scope</a:t>
                      </a:r>
                      <a:endParaRPr lang="en-CA" dirty="0"/>
                    </a:p>
                  </a:txBody>
                  <a:tcPr/>
                </a:tc>
                <a:tc>
                  <a:txBody>
                    <a:bodyPr/>
                    <a:lstStyle/>
                    <a:p>
                      <a:r>
                        <a:rPr lang="en-CA" dirty="0" smtClean="0"/>
                        <a:t>Low Effort</a:t>
                      </a:r>
                      <a:endParaRPr lang="en-CA" dirty="0"/>
                    </a:p>
                  </a:txBody>
                  <a:tcPr/>
                </a:tc>
                <a:tc>
                  <a:txBody>
                    <a:bodyPr/>
                    <a:lstStyle/>
                    <a:p>
                      <a:r>
                        <a:rPr lang="en-CA" dirty="0" smtClean="0"/>
                        <a:t>Med Effort</a:t>
                      </a:r>
                      <a:endParaRPr lang="en-CA" dirty="0"/>
                    </a:p>
                  </a:txBody>
                  <a:tcPr/>
                </a:tc>
                <a:tc>
                  <a:txBody>
                    <a:bodyPr/>
                    <a:lstStyle/>
                    <a:p>
                      <a:r>
                        <a:rPr lang="en-CA" dirty="0" smtClean="0"/>
                        <a:t>High Effort</a:t>
                      </a:r>
                      <a:endParaRPr lang="en-CA" dirty="0"/>
                    </a:p>
                  </a:txBody>
                  <a:tcPr/>
                </a:tc>
              </a:tr>
              <a:tr h="370840">
                <a:tc>
                  <a:txBody>
                    <a:bodyPr/>
                    <a:lstStyle/>
                    <a:p>
                      <a:r>
                        <a:rPr lang="en-CA" sz="1600" dirty="0" smtClean="0"/>
                        <a:t>Ericsson Order Care</a:t>
                      </a:r>
                      <a:endParaRPr lang="en-CA" sz="1600" dirty="0"/>
                    </a:p>
                  </a:txBody>
                  <a:tcPr anchor="ctr"/>
                </a:tc>
                <a:tc>
                  <a:txBody>
                    <a:bodyPr/>
                    <a:lstStyle/>
                    <a:p>
                      <a:r>
                        <a:rPr lang="en-CA" sz="1600" dirty="0" smtClean="0"/>
                        <a:t>Limited</a:t>
                      </a:r>
                      <a:r>
                        <a:rPr lang="en-CA" sz="1600" baseline="0" dirty="0" smtClean="0"/>
                        <a:t> Change</a:t>
                      </a:r>
                      <a:endParaRPr lang="en-CA" sz="16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600" dirty="0" smtClean="0"/>
                        <a:t>New Catalog</a:t>
                      </a:r>
                      <a:r>
                        <a:rPr lang="en-CA" sz="1600" baseline="0" dirty="0" smtClean="0"/>
                        <a:t> </a:t>
                      </a:r>
                      <a:r>
                        <a:rPr lang="en-CA" sz="1600" dirty="0" smtClean="0"/>
                        <a:t>Model</a:t>
                      </a:r>
                      <a:r>
                        <a:rPr lang="en-CA" sz="1600" baseline="0" dirty="0" smtClean="0"/>
                        <a:t> with </a:t>
                      </a:r>
                      <a:r>
                        <a:rPr lang="en-CA" sz="1600" dirty="0" smtClean="0"/>
                        <a:t>Order Management only</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600" dirty="0" smtClean="0"/>
                        <a:t>New Catalog</a:t>
                      </a:r>
                      <a:r>
                        <a:rPr lang="en-CA" sz="1600" baseline="0" dirty="0" smtClean="0"/>
                        <a:t> </a:t>
                      </a:r>
                      <a:r>
                        <a:rPr lang="en-CA" sz="1600" dirty="0" smtClean="0"/>
                        <a:t>Model</a:t>
                      </a:r>
                      <a:r>
                        <a:rPr lang="en-CA" sz="1600" baseline="0" dirty="0" smtClean="0"/>
                        <a:t> with Order Negotiations/ Unified Workstation</a:t>
                      </a:r>
                      <a:endParaRPr lang="en-CA" sz="1600" dirty="0" smtClean="0"/>
                    </a:p>
                  </a:txBody>
                  <a:tcPr anchor="ctr"/>
                </a:tc>
              </a:tr>
              <a:tr h="370840">
                <a:tc>
                  <a:txBody>
                    <a:bodyPr/>
                    <a:lstStyle/>
                    <a:p>
                      <a:r>
                        <a:rPr lang="en-CA" sz="1600" dirty="0" smtClean="0"/>
                        <a:t>Interfaces</a:t>
                      </a:r>
                      <a:endParaRPr lang="en-CA" sz="1600" dirty="0"/>
                    </a:p>
                  </a:txBody>
                  <a:tcPr anchor="ctr"/>
                </a:tc>
                <a:tc>
                  <a:txBody>
                    <a:bodyPr/>
                    <a:lstStyle/>
                    <a:p>
                      <a:r>
                        <a:rPr lang="en-CA" sz="1600" dirty="0" smtClean="0"/>
                        <a:t>Limited Change</a:t>
                      </a:r>
                      <a:endParaRPr lang="en-CA" sz="1600" dirty="0"/>
                    </a:p>
                  </a:txBody>
                  <a:tcPr anchor="ctr"/>
                </a:tc>
                <a:tc>
                  <a:txBody>
                    <a:bodyPr/>
                    <a:lstStyle/>
                    <a:p>
                      <a:endParaRPr lang="en-CA" sz="1600" dirty="0"/>
                    </a:p>
                  </a:txBody>
                  <a:tcPr anchor="ctr"/>
                </a:tc>
                <a:tc>
                  <a:txBody>
                    <a:bodyPr/>
                    <a:lstStyle/>
                    <a:p>
                      <a:r>
                        <a:rPr lang="en-CA" sz="1600" dirty="0" smtClean="0"/>
                        <a:t>New Rest API</a:t>
                      </a:r>
                      <a:endParaRPr lang="en-CA" sz="1600" dirty="0"/>
                    </a:p>
                  </a:txBody>
                  <a:tcPr anchor="ctr"/>
                </a:tc>
              </a:tr>
              <a:tr h="370840">
                <a:tc>
                  <a:txBody>
                    <a:bodyPr/>
                    <a:lstStyle/>
                    <a:p>
                      <a:r>
                        <a:rPr lang="en-CA" sz="1600" dirty="0" smtClean="0"/>
                        <a:t>Unified Workstation</a:t>
                      </a:r>
                      <a:endParaRPr lang="en-CA" sz="1600" dirty="0"/>
                    </a:p>
                  </a:txBody>
                  <a:tcPr anchor="ctr"/>
                </a:tc>
                <a:tc>
                  <a:txBody>
                    <a:bodyPr/>
                    <a:lstStyle/>
                    <a:p>
                      <a:r>
                        <a:rPr lang="en-CA" sz="1600" dirty="0" smtClean="0"/>
                        <a:t>As is</a:t>
                      </a:r>
                      <a:endParaRPr lang="en-CA" sz="1600" dirty="0"/>
                    </a:p>
                  </a:txBody>
                  <a:tcPr anchor="ctr"/>
                </a:tc>
                <a:tc>
                  <a:txBody>
                    <a:bodyPr/>
                    <a:lstStyle/>
                    <a:p>
                      <a:endParaRPr lang="en-CA" sz="1600" dirty="0"/>
                    </a:p>
                  </a:txBody>
                  <a:tcPr anchor="ctr"/>
                </a:tc>
                <a:tc>
                  <a:txBody>
                    <a:bodyPr/>
                    <a:lstStyle/>
                    <a:p>
                      <a:r>
                        <a:rPr lang="en-CA" sz="1600" dirty="0" smtClean="0"/>
                        <a:t>New Model</a:t>
                      </a:r>
                      <a:endParaRPr lang="en-CA" sz="1600" dirty="0"/>
                    </a:p>
                  </a:txBody>
                  <a:tcPr anchor="ctr"/>
                </a:tc>
              </a:tr>
              <a:tr h="370840">
                <a:tc>
                  <a:txBody>
                    <a:bodyPr/>
                    <a:lstStyle/>
                    <a:p>
                      <a:r>
                        <a:rPr lang="en-CA" sz="1600" dirty="0" smtClean="0"/>
                        <a:t>Ericsson Catalog Manager</a:t>
                      </a:r>
                      <a:endParaRPr lang="en-CA" sz="1600" dirty="0"/>
                    </a:p>
                  </a:txBody>
                  <a:tcPr anchor="ctr"/>
                </a:tc>
                <a:tc>
                  <a:txBody>
                    <a:bodyPr/>
                    <a:lstStyle/>
                    <a:p>
                      <a:r>
                        <a:rPr lang="en-CA" sz="1600" dirty="0" smtClean="0"/>
                        <a:t>As is</a:t>
                      </a:r>
                      <a:r>
                        <a:rPr lang="en-CA" sz="1600" baseline="0" dirty="0" smtClean="0"/>
                        <a:t> model</a:t>
                      </a:r>
                      <a:endParaRPr lang="en-CA" sz="1600" dirty="0"/>
                    </a:p>
                  </a:txBody>
                  <a:tcPr anchor="ctr"/>
                </a:tc>
                <a:tc>
                  <a:txBody>
                    <a:bodyPr/>
                    <a:lstStyle/>
                    <a:p>
                      <a:r>
                        <a:rPr lang="en-CA" sz="1600" dirty="0" smtClean="0"/>
                        <a:t>New Model</a:t>
                      </a:r>
                      <a:endParaRPr lang="en-CA" sz="1600" dirty="0"/>
                    </a:p>
                  </a:txBody>
                  <a:tcPr anchor="ctr"/>
                </a:tc>
                <a:tc>
                  <a:txBody>
                    <a:bodyPr/>
                    <a:lstStyle/>
                    <a:p>
                      <a:endParaRPr lang="en-CA" sz="1600" dirty="0"/>
                    </a:p>
                  </a:txBody>
                  <a:tcPr anchor="ctr"/>
                </a:tc>
              </a:tr>
              <a:tr h="370840">
                <a:tc>
                  <a:txBody>
                    <a:bodyPr/>
                    <a:lstStyle/>
                    <a:p>
                      <a:r>
                        <a:rPr lang="en-CA" sz="1600" dirty="0" smtClean="0"/>
                        <a:t>Service Registry</a:t>
                      </a:r>
                      <a:endParaRPr lang="en-CA" sz="1600" dirty="0"/>
                    </a:p>
                  </a:txBody>
                  <a:tcPr anchor="ctr"/>
                </a:tc>
                <a:tc>
                  <a:txBody>
                    <a:bodyPr/>
                    <a:lstStyle/>
                    <a:p>
                      <a:r>
                        <a:rPr lang="en-CA" sz="1600" dirty="0" smtClean="0"/>
                        <a:t>As is catalog model</a:t>
                      </a:r>
                      <a:endParaRPr lang="en-CA" sz="1600" dirty="0"/>
                    </a:p>
                  </a:txBody>
                  <a:tcPr anchor="ctr"/>
                </a:tc>
                <a:tc>
                  <a:txBody>
                    <a:bodyPr/>
                    <a:lstStyle/>
                    <a:p>
                      <a:endParaRPr lang="en-CA" sz="1600" dirty="0"/>
                    </a:p>
                  </a:txBody>
                  <a:tcPr anchor="ctr"/>
                </a:tc>
                <a:tc>
                  <a:txBody>
                    <a:bodyPr/>
                    <a:lstStyle/>
                    <a:p>
                      <a:r>
                        <a:rPr lang="en-CA" sz="1600" dirty="0" smtClean="0"/>
                        <a:t>New Catalog</a:t>
                      </a:r>
                      <a:r>
                        <a:rPr lang="en-CA" sz="1600" baseline="0" dirty="0" smtClean="0"/>
                        <a:t> </a:t>
                      </a:r>
                      <a:r>
                        <a:rPr lang="en-CA" sz="1600" dirty="0" smtClean="0"/>
                        <a:t>Model</a:t>
                      </a:r>
                      <a:r>
                        <a:rPr lang="en-CA" sz="1600" baseline="0" dirty="0" smtClean="0"/>
                        <a:t> </a:t>
                      </a:r>
                      <a:endParaRPr lang="en-CA" sz="1600" dirty="0"/>
                    </a:p>
                  </a:txBody>
                  <a:tcPr anchor="ctr"/>
                </a:tc>
              </a:tr>
              <a:tr h="370840">
                <a:tc>
                  <a:txBody>
                    <a:bodyPr/>
                    <a:lstStyle/>
                    <a:p>
                      <a:r>
                        <a:rPr lang="en-CA" sz="1600" dirty="0" smtClean="0"/>
                        <a:t>Data Model</a:t>
                      </a:r>
                      <a:endParaRPr lang="en-CA" sz="16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600" dirty="0" smtClean="0"/>
                        <a:t>Limited</a:t>
                      </a:r>
                      <a:r>
                        <a:rPr lang="en-CA" sz="1600" baseline="0" dirty="0" smtClean="0"/>
                        <a:t> Change</a:t>
                      </a:r>
                      <a:endParaRPr lang="en-CA" sz="1600" dirty="0" smtClean="0"/>
                    </a:p>
                  </a:txBody>
                  <a:tcPr anchor="ctr"/>
                </a:tc>
                <a:tc>
                  <a:txBody>
                    <a:bodyPr/>
                    <a:lstStyle/>
                    <a:p>
                      <a:endParaRPr lang="en-CA" sz="1600" dirty="0"/>
                    </a:p>
                  </a:txBody>
                  <a:tcPr anchor="ctr"/>
                </a:tc>
                <a:tc>
                  <a:txBody>
                    <a:bodyPr/>
                    <a:lstStyle/>
                    <a:p>
                      <a:endParaRPr lang="en-CA" sz="1600" dirty="0"/>
                    </a:p>
                  </a:txBody>
                  <a:tcPr anchor="ctr"/>
                </a:tc>
              </a:tr>
              <a:tr h="370840">
                <a:tc>
                  <a:txBody>
                    <a:bodyPr/>
                    <a:lstStyle/>
                    <a:p>
                      <a:r>
                        <a:rPr lang="en-CA" sz="1600" dirty="0" smtClean="0"/>
                        <a:t>Operations, Environments</a:t>
                      </a:r>
                      <a:endParaRPr lang="en-CA" sz="16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600" dirty="0" smtClean="0"/>
                        <a:t>Limited</a:t>
                      </a:r>
                      <a:r>
                        <a:rPr lang="en-CA" sz="1600" baseline="0" dirty="0" smtClean="0"/>
                        <a:t> Change</a:t>
                      </a:r>
                      <a:endParaRPr lang="en-CA" sz="16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CA" sz="1600" dirty="0" smtClean="0"/>
                    </a:p>
                  </a:txBody>
                  <a:tcPr anchor="ctr"/>
                </a:tc>
                <a:tc>
                  <a:txBody>
                    <a:bodyPr/>
                    <a:lstStyle/>
                    <a:p>
                      <a:endParaRPr lang="en-CA" sz="1600" dirty="0"/>
                    </a:p>
                  </a:txBody>
                  <a:tcPr anchor="ctr"/>
                </a:tc>
                <a:tc>
                  <a:txBody>
                    <a:bodyPr/>
                    <a:lstStyle/>
                    <a:p>
                      <a:endParaRPr lang="en-CA" sz="1600" dirty="0"/>
                    </a:p>
                  </a:txBody>
                  <a:tcPr anchor="ctr"/>
                </a:tc>
              </a:tr>
              <a:tr h="370840">
                <a:tc>
                  <a:txBody>
                    <a:bodyPr/>
                    <a:lstStyle/>
                    <a:p>
                      <a:r>
                        <a:rPr lang="en-CA" sz="1600" dirty="0" smtClean="0"/>
                        <a:t>Training</a:t>
                      </a:r>
                      <a:endParaRPr lang="en-CA" sz="16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600" dirty="0" smtClean="0"/>
                        <a:t>Limited Change</a:t>
                      </a:r>
                    </a:p>
                  </a:txBody>
                  <a:tcPr anchor="ctr"/>
                </a:tc>
                <a:tc>
                  <a:txBody>
                    <a:bodyPr/>
                    <a:lstStyle/>
                    <a:p>
                      <a:endParaRPr lang="en-CA" sz="1600" dirty="0"/>
                    </a:p>
                  </a:txBody>
                  <a:tcPr anchor="ctr"/>
                </a:tc>
                <a:tc>
                  <a:txBody>
                    <a:bodyPr/>
                    <a:lstStyle/>
                    <a:p>
                      <a:endParaRPr lang="en-CA" sz="1600" dirty="0"/>
                    </a:p>
                  </a:txBody>
                  <a:tcPr anchor="ctr"/>
                </a:tc>
              </a:tr>
              <a:tr h="370840">
                <a:tc>
                  <a:txBody>
                    <a:bodyPr/>
                    <a:lstStyle/>
                    <a:p>
                      <a:r>
                        <a:rPr lang="en-CA" sz="1600" dirty="0" smtClean="0"/>
                        <a:t>Adaptations</a:t>
                      </a:r>
                      <a:endParaRPr lang="en-CA" sz="1600" dirty="0"/>
                    </a:p>
                  </a:txBody>
                  <a:tcPr anchor="ct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600" dirty="0" smtClean="0"/>
                        <a:t>Customer-specific</a:t>
                      </a:r>
                    </a:p>
                  </a:txBody>
                  <a:tcPr anchor="ctr"/>
                </a:tc>
                <a:tc hMerge="1">
                  <a:txBody>
                    <a:bodyPr/>
                    <a:lstStyle/>
                    <a:p>
                      <a:endParaRPr lang="en-CA" sz="1600" dirty="0"/>
                    </a:p>
                  </a:txBody>
                  <a:tcPr anchor="ctr"/>
                </a:tc>
                <a:tc hMerge="1">
                  <a:txBody>
                    <a:bodyPr/>
                    <a:lstStyle/>
                    <a:p>
                      <a:endParaRPr lang="en-CA" sz="1600" dirty="0"/>
                    </a:p>
                  </a:txBody>
                  <a:tcPr anchor="ctr"/>
                </a:tc>
              </a:tr>
            </a:tbl>
          </a:graphicData>
        </a:graphic>
      </p:graphicFrame>
    </p:spTree>
    <p:extLst>
      <p:ext uri="{BB962C8B-B14F-4D97-AF65-F5344CB8AC3E}">
        <p14:creationId xmlns:p14="http://schemas.microsoft.com/office/powerpoint/2010/main" val="75148650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Content Placeholder 1"/>
          <p:cNvSpPr>
            <a:spLocks noGrp="1"/>
          </p:cNvSpPr>
          <p:nvPr>
            <p:ph idx="1"/>
          </p:nvPr>
        </p:nvSpPr>
        <p:spPr>
          <a:xfrm>
            <a:off x="396478" y="1702255"/>
            <a:ext cx="8352234" cy="3851275"/>
          </a:xfrm>
        </p:spPr>
        <p:txBody>
          <a:bodyPr/>
          <a:lstStyle/>
          <a:p>
            <a:pPr marL="0" indent="0">
              <a:lnSpc>
                <a:spcPct val="90000"/>
              </a:lnSpc>
              <a:spcBef>
                <a:spcPct val="0"/>
              </a:spcBef>
              <a:spcAft>
                <a:spcPts val="1200"/>
              </a:spcAft>
              <a:buClr>
                <a:srgbClr val="002060"/>
              </a:buClr>
              <a:buNone/>
            </a:pPr>
            <a:r>
              <a:rPr lang="sv-SE" dirty="0">
                <a:solidFill>
                  <a:srgbClr val="00A9D4"/>
                </a:solidFill>
              </a:rPr>
              <a:t>Recommended process:</a:t>
            </a:r>
          </a:p>
          <a:p>
            <a:pPr marL="457200" lvl="1" indent="-457200">
              <a:lnSpc>
                <a:spcPct val="90000"/>
              </a:lnSpc>
              <a:spcAft>
                <a:spcPts val="600"/>
              </a:spcAft>
              <a:buClr>
                <a:srgbClr val="00A9D4"/>
              </a:buClr>
              <a:buFont typeface="+mj-lt"/>
              <a:buAutoNum type="arabicPeriod"/>
            </a:pPr>
            <a:r>
              <a:rPr lang="en-US" sz="2200" dirty="0" smtClean="0">
                <a:ea typeface="+mn-ea"/>
                <a:cs typeface="+mn-cs"/>
              </a:rPr>
              <a:t>Set up environment</a:t>
            </a:r>
            <a:endParaRPr lang="en-US" sz="2200" dirty="0">
              <a:ea typeface="+mn-ea"/>
              <a:cs typeface="+mn-cs"/>
            </a:endParaRPr>
          </a:p>
          <a:p>
            <a:pPr marL="457200" lvl="1" indent="-457200">
              <a:lnSpc>
                <a:spcPct val="90000"/>
              </a:lnSpc>
              <a:spcAft>
                <a:spcPts val="600"/>
              </a:spcAft>
              <a:buClr>
                <a:srgbClr val="00A9D4"/>
              </a:buClr>
              <a:buFont typeface="+mj-lt"/>
              <a:buAutoNum type="arabicPeriod"/>
            </a:pPr>
            <a:r>
              <a:rPr lang="en-US" sz="2200" dirty="0">
                <a:ea typeface="+mn-ea"/>
                <a:cs typeface="+mn-cs"/>
              </a:rPr>
              <a:t>Install any new </a:t>
            </a:r>
            <a:r>
              <a:rPr lang="en-US" sz="2200" dirty="0" smtClean="0">
                <a:ea typeface="+mn-ea"/>
                <a:cs typeface="+mn-cs"/>
              </a:rPr>
              <a:t>3</a:t>
            </a:r>
            <a:r>
              <a:rPr lang="en-US" sz="2200" baseline="30000" dirty="0" smtClean="0">
                <a:ea typeface="+mn-ea"/>
                <a:cs typeface="+mn-cs"/>
              </a:rPr>
              <a:t>rd</a:t>
            </a:r>
            <a:r>
              <a:rPr lang="en-US" sz="2200" dirty="0" smtClean="0">
                <a:ea typeface="+mn-ea"/>
                <a:cs typeface="+mn-cs"/>
              </a:rPr>
              <a:t> party software, </a:t>
            </a:r>
            <a:r>
              <a:rPr lang="en-US" sz="2200" dirty="0">
                <a:ea typeface="+mn-ea"/>
                <a:cs typeface="+mn-cs"/>
              </a:rPr>
              <a:t>if required</a:t>
            </a:r>
          </a:p>
          <a:p>
            <a:pPr marL="457200" lvl="1" indent="-457200">
              <a:lnSpc>
                <a:spcPct val="90000"/>
              </a:lnSpc>
              <a:spcAft>
                <a:spcPts val="600"/>
              </a:spcAft>
              <a:buClr>
                <a:srgbClr val="00A9D4"/>
              </a:buClr>
              <a:buFont typeface="+mj-lt"/>
              <a:buAutoNum type="arabicPeriod"/>
            </a:pPr>
            <a:r>
              <a:rPr lang="en-US" sz="2200" dirty="0">
                <a:ea typeface="+mn-ea"/>
                <a:cs typeface="+mn-cs"/>
              </a:rPr>
              <a:t>Install Ericsson Order Care and Ericsson Catalog Manager (standard installation with modules)</a:t>
            </a:r>
          </a:p>
          <a:p>
            <a:pPr marL="457200" lvl="1" indent="-457200">
              <a:lnSpc>
                <a:spcPct val="90000"/>
              </a:lnSpc>
              <a:spcAft>
                <a:spcPts val="600"/>
              </a:spcAft>
              <a:buClr>
                <a:srgbClr val="00A9D4"/>
              </a:buClr>
              <a:buFont typeface="+mj-lt"/>
              <a:buAutoNum type="arabicPeriod"/>
            </a:pPr>
            <a:r>
              <a:rPr lang="en-US" sz="2200" dirty="0">
                <a:ea typeface="+mn-ea"/>
                <a:cs typeface="+mn-cs"/>
              </a:rPr>
              <a:t>Migrate existing metadata (import, migrate)</a:t>
            </a:r>
          </a:p>
          <a:p>
            <a:pPr marL="457200" lvl="1" indent="-457200">
              <a:lnSpc>
                <a:spcPct val="90000"/>
              </a:lnSpc>
              <a:spcAft>
                <a:spcPts val="600"/>
              </a:spcAft>
              <a:buClr>
                <a:srgbClr val="00A9D4"/>
              </a:buClr>
              <a:buFont typeface="+mj-lt"/>
              <a:buAutoNum type="arabicPeriod"/>
            </a:pPr>
            <a:r>
              <a:rPr lang="en-US" sz="2200" dirty="0">
                <a:ea typeface="+mn-ea"/>
                <a:cs typeface="+mn-cs"/>
              </a:rPr>
              <a:t>Upgrade database (generated upgrade script)</a:t>
            </a:r>
          </a:p>
          <a:p>
            <a:pPr marL="457200" lvl="1" indent="-457200">
              <a:lnSpc>
                <a:spcPct val="90000"/>
              </a:lnSpc>
              <a:spcAft>
                <a:spcPts val="600"/>
              </a:spcAft>
              <a:buClr>
                <a:srgbClr val="00A9D4"/>
              </a:buClr>
              <a:buFont typeface="+mj-lt"/>
              <a:buAutoNum type="arabicPeriod"/>
            </a:pPr>
            <a:r>
              <a:rPr lang="en-US" sz="2200" dirty="0">
                <a:ea typeface="+mn-ea"/>
                <a:cs typeface="+mn-cs"/>
              </a:rPr>
              <a:t>Evaluate and correct  errors for deprecated features</a:t>
            </a:r>
          </a:p>
          <a:p>
            <a:pPr marL="457200" lvl="1" indent="-457200">
              <a:lnSpc>
                <a:spcPct val="90000"/>
              </a:lnSpc>
              <a:spcAft>
                <a:spcPts val="600"/>
              </a:spcAft>
              <a:buClr>
                <a:srgbClr val="00A9D4"/>
              </a:buClr>
              <a:buFont typeface="+mj-lt"/>
              <a:buAutoNum type="arabicPeriod"/>
            </a:pPr>
            <a:r>
              <a:rPr lang="en-US" sz="2200" dirty="0">
                <a:ea typeface="+mn-ea"/>
                <a:cs typeface="+mn-cs"/>
              </a:rPr>
              <a:t>Implement any new features</a:t>
            </a:r>
          </a:p>
          <a:p>
            <a:pPr marL="457200" lvl="1" indent="-457200">
              <a:lnSpc>
                <a:spcPct val="90000"/>
              </a:lnSpc>
              <a:spcAft>
                <a:spcPts val="600"/>
              </a:spcAft>
              <a:buClr>
                <a:srgbClr val="00A9D4"/>
              </a:buClr>
              <a:buFont typeface="+mj-lt"/>
              <a:buAutoNum type="arabicPeriod"/>
            </a:pPr>
            <a:r>
              <a:rPr lang="en-US" sz="2200" dirty="0" smtClean="0">
                <a:ea typeface="+mn-ea"/>
                <a:cs typeface="+mn-cs"/>
              </a:rPr>
              <a:t>Perform regression </a:t>
            </a:r>
            <a:r>
              <a:rPr lang="en-US" sz="2200" dirty="0">
                <a:ea typeface="+mn-ea"/>
                <a:cs typeface="+mn-cs"/>
              </a:rPr>
              <a:t>test execution</a:t>
            </a:r>
          </a:p>
          <a:p>
            <a:pPr marL="457200" lvl="1" indent="-457200">
              <a:lnSpc>
                <a:spcPct val="90000"/>
              </a:lnSpc>
              <a:spcAft>
                <a:spcPts val="600"/>
              </a:spcAft>
              <a:buClr>
                <a:srgbClr val="00A9D4"/>
              </a:buClr>
              <a:buFont typeface="+mj-lt"/>
              <a:buAutoNum type="arabicPeriod"/>
            </a:pPr>
            <a:r>
              <a:rPr lang="en-US" sz="2200" dirty="0">
                <a:ea typeface="+mn-ea"/>
                <a:cs typeface="+mn-cs"/>
              </a:rPr>
              <a:t>Implement deployment plan</a:t>
            </a:r>
          </a:p>
        </p:txBody>
      </p:sp>
      <p:sp>
        <p:nvSpPr>
          <p:cNvPr id="3" name="Title 2"/>
          <p:cNvSpPr>
            <a:spLocks noGrp="1"/>
          </p:cNvSpPr>
          <p:nvPr>
            <p:ph type="title"/>
          </p:nvPr>
        </p:nvSpPr>
        <p:spPr>
          <a:ln>
            <a:miter lim="800000"/>
            <a:headEnd/>
            <a:tailEnd/>
          </a:ln>
          <a:extLst/>
        </p:spPr>
        <p:txBody>
          <a:bodyPr>
            <a:normAutofit fontScale="90000"/>
          </a:bodyPr>
          <a:lstStyle/>
          <a:p>
            <a:pPr eaLnBrk="1" hangingPunct="1">
              <a:defRPr/>
            </a:pPr>
            <a:r>
              <a:rPr lang="en-US" dirty="0">
                <a:solidFill>
                  <a:srgbClr val="00625F"/>
                </a:solidFill>
              </a:rPr>
              <a:t>Step </a:t>
            </a:r>
            <a:r>
              <a:rPr lang="en-US" dirty="0" smtClean="0">
                <a:solidFill>
                  <a:srgbClr val="00625F"/>
                </a:solidFill>
              </a:rPr>
              <a:t>4: </a:t>
            </a:r>
            <a:r>
              <a:rPr lang="en-US" dirty="0">
                <a:solidFill>
                  <a:srgbClr val="00625F"/>
                </a:solidFill>
              </a:rPr>
              <a:t/>
            </a:r>
            <a:br>
              <a:rPr lang="en-US" dirty="0">
                <a:solidFill>
                  <a:srgbClr val="00625F"/>
                </a:solidFill>
              </a:rPr>
            </a:br>
            <a:r>
              <a:rPr lang="en-US" dirty="0" smtClean="0">
                <a:solidFill>
                  <a:srgbClr val="E32119"/>
                </a:solidFill>
              </a:rPr>
              <a:t>UPGRADE YOUR SOLUTION</a:t>
            </a:r>
            <a:endParaRPr lang="en-US" dirty="0">
              <a:blipFill>
                <a:blip r:embed="rId3"/>
                <a:stretch>
                  <a:fillRect/>
                </a:stretch>
              </a:blipFill>
            </a:endParaRPr>
          </a:p>
        </p:txBody>
      </p:sp>
    </p:spTree>
    <p:extLst>
      <p:ext uri="{BB962C8B-B14F-4D97-AF65-F5344CB8AC3E}">
        <p14:creationId xmlns:p14="http://schemas.microsoft.com/office/powerpoint/2010/main" val="26624287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ChangeArrowheads="1"/>
          </p:cNvSpPr>
          <p:nvPr/>
        </p:nvSpPr>
        <p:spPr bwMode="auto">
          <a:xfrm>
            <a:off x="5454253" y="0"/>
            <a:ext cx="3689747" cy="6858000"/>
          </a:xfrm>
          <a:prstGeom prst="rect">
            <a:avLst/>
          </a:prstGeom>
          <a:solidFill>
            <a:srgbClr val="00285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sv-SE" sz="1200">
              <a:solidFill>
                <a:srgbClr val="00A9D4"/>
              </a:solidFill>
              <a:cs typeface="Arial" pitchFamily="34" charset="0"/>
            </a:endParaRPr>
          </a:p>
        </p:txBody>
      </p:sp>
      <p:sp>
        <p:nvSpPr>
          <p:cNvPr id="11267" name="Title 1"/>
          <p:cNvSpPr>
            <a:spLocks noGrp="1"/>
          </p:cNvSpPr>
          <p:nvPr>
            <p:ph type="title"/>
          </p:nvPr>
        </p:nvSpPr>
        <p:spPr>
          <a:xfrm>
            <a:off x="5979319" y="1736725"/>
            <a:ext cx="2739629" cy="1085850"/>
          </a:xfrm>
        </p:spPr>
        <p:txBody>
          <a:bodyPr/>
          <a:lstStyle/>
          <a:p>
            <a:pPr algn="ctr" eaLnBrk="1" hangingPunct="1"/>
            <a:r>
              <a:rPr lang="en-US" sz="3600" smtClean="0">
                <a:solidFill>
                  <a:srgbClr val="FFFFFF"/>
                </a:solidFill>
                <a:latin typeface="Ericsson Capital TT" pitchFamily="2" charset="0"/>
                <a:cs typeface="Geneva"/>
              </a:rPr>
              <a:t>SERVICE</a:t>
            </a:r>
            <a:br>
              <a:rPr lang="en-US" sz="3600" smtClean="0">
                <a:solidFill>
                  <a:srgbClr val="FFFFFF"/>
                </a:solidFill>
                <a:latin typeface="Ericsson Capital TT" pitchFamily="2" charset="0"/>
                <a:cs typeface="Geneva"/>
              </a:rPr>
            </a:br>
            <a:r>
              <a:rPr lang="en-US" sz="3600" smtClean="0">
                <a:solidFill>
                  <a:srgbClr val="FFFFFF"/>
                </a:solidFill>
                <a:latin typeface="Ericsson Capital TT" pitchFamily="2" charset="0"/>
                <a:cs typeface="Geneva"/>
              </a:rPr>
              <a:t>AGILITY</a:t>
            </a:r>
            <a:br>
              <a:rPr lang="en-US" sz="3600" smtClean="0">
                <a:solidFill>
                  <a:srgbClr val="FFFFFF"/>
                </a:solidFill>
                <a:latin typeface="Ericsson Capital TT" pitchFamily="2" charset="0"/>
                <a:cs typeface="Geneva"/>
              </a:rPr>
            </a:br>
            <a:endParaRPr lang="en-US" sz="3600" smtClean="0">
              <a:solidFill>
                <a:srgbClr val="FFFFFF"/>
              </a:solidFill>
              <a:latin typeface="Ericsson Capital TT" pitchFamily="2" charset="0"/>
              <a:cs typeface="Geneva"/>
            </a:endParaRPr>
          </a:p>
        </p:txBody>
      </p:sp>
      <p:sp>
        <p:nvSpPr>
          <p:cNvPr id="11269" name="Title 1"/>
          <p:cNvSpPr txBox="1">
            <a:spLocks/>
          </p:cNvSpPr>
          <p:nvPr/>
        </p:nvSpPr>
        <p:spPr bwMode="auto">
          <a:xfrm>
            <a:off x="5979319" y="5035550"/>
            <a:ext cx="2739629"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0" rIns="72000" b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lnSpc>
                <a:spcPct val="75000"/>
              </a:lnSpc>
            </a:pPr>
            <a:r>
              <a:rPr lang="en-US" sz="3600">
                <a:solidFill>
                  <a:srgbClr val="FFFFFF"/>
                </a:solidFill>
                <a:latin typeface="Ericsson Capital TT" pitchFamily="2" charset="0"/>
                <a:cs typeface="Arial" pitchFamily="34" charset="0"/>
              </a:rPr>
              <a:t>REALIZED</a:t>
            </a:r>
          </a:p>
        </p:txBody>
      </p:sp>
      <p:sp>
        <p:nvSpPr>
          <p:cNvPr id="11273" name="Freeform 11"/>
          <p:cNvSpPr>
            <a:spLocks noChangeAspect="1"/>
          </p:cNvSpPr>
          <p:nvPr/>
        </p:nvSpPr>
        <p:spPr bwMode="auto">
          <a:xfrm>
            <a:off x="303610" y="754064"/>
            <a:ext cx="5428059" cy="5578475"/>
          </a:xfrm>
          <a:custGeom>
            <a:avLst/>
            <a:gdLst>
              <a:gd name="T0" fmla="*/ 2147483647 w 1478"/>
              <a:gd name="T1" fmla="*/ 2147483647 h 1139"/>
              <a:gd name="T2" fmla="*/ 2147483647 w 1478"/>
              <a:gd name="T3" fmla="*/ 2147483647 h 1139"/>
              <a:gd name="T4" fmla="*/ 2147483647 w 1478"/>
              <a:gd name="T5" fmla="*/ 2147483647 h 1139"/>
              <a:gd name="T6" fmla="*/ 2147483647 w 1478"/>
              <a:gd name="T7" fmla="*/ 2147483647 h 1139"/>
              <a:gd name="T8" fmla="*/ 0 w 1478"/>
              <a:gd name="T9" fmla="*/ 2147483647 h 1139"/>
              <a:gd name="T10" fmla="*/ 0 w 1478"/>
              <a:gd name="T11" fmla="*/ 2147483647 h 1139"/>
              <a:gd name="T12" fmla="*/ 2147483647 w 1478"/>
              <a:gd name="T13" fmla="*/ 2147483647 h 1139"/>
              <a:gd name="T14" fmla="*/ 2147483647 w 1478"/>
              <a:gd name="T15" fmla="*/ 2147483647 h 1139"/>
              <a:gd name="T16" fmla="*/ 2147483647 w 1478"/>
              <a:gd name="T17" fmla="*/ 2147483647 h 1139"/>
              <a:gd name="T18" fmla="*/ 2147483647 w 1478"/>
              <a:gd name="T19" fmla="*/ 2147483647 h 1139"/>
              <a:gd name="T20" fmla="*/ 2147483647 w 1478"/>
              <a:gd name="T21" fmla="*/ 2147483647 h 1139"/>
              <a:gd name="T22" fmla="*/ 2147483647 w 1478"/>
              <a:gd name="T23" fmla="*/ 2147483647 h 1139"/>
              <a:gd name="T24" fmla="*/ 2147483647 w 1478"/>
              <a:gd name="T25" fmla="*/ 2147483647 h 1139"/>
              <a:gd name="T26" fmla="*/ 2147483647 w 1478"/>
              <a:gd name="T27" fmla="*/ 2147483647 h 11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78"/>
              <a:gd name="T43" fmla="*/ 0 h 1139"/>
              <a:gd name="T44" fmla="*/ 1478 w 1478"/>
              <a:gd name="T45" fmla="*/ 1139 h 11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78" h="1139">
                <a:moveTo>
                  <a:pt x="1367" y="16"/>
                </a:moveTo>
                <a:cubicBezTo>
                  <a:pt x="1363" y="0"/>
                  <a:pt x="1340" y="6"/>
                  <a:pt x="1339" y="26"/>
                </a:cubicBezTo>
                <a:cubicBezTo>
                  <a:pt x="1339" y="30"/>
                  <a:pt x="1339" y="35"/>
                  <a:pt x="1339" y="42"/>
                </a:cubicBezTo>
                <a:cubicBezTo>
                  <a:pt x="14" y="42"/>
                  <a:pt x="14" y="42"/>
                  <a:pt x="14" y="42"/>
                </a:cubicBezTo>
                <a:cubicBezTo>
                  <a:pt x="6" y="42"/>
                  <a:pt x="0" y="48"/>
                  <a:pt x="0" y="56"/>
                </a:cubicBezTo>
                <a:cubicBezTo>
                  <a:pt x="0" y="1082"/>
                  <a:pt x="0" y="1082"/>
                  <a:pt x="0" y="1082"/>
                </a:cubicBezTo>
                <a:cubicBezTo>
                  <a:pt x="0" y="1090"/>
                  <a:pt x="6" y="1096"/>
                  <a:pt x="14" y="1096"/>
                </a:cubicBezTo>
                <a:cubicBezTo>
                  <a:pt x="1339" y="1096"/>
                  <a:pt x="1339" y="1096"/>
                  <a:pt x="1339" y="1096"/>
                </a:cubicBezTo>
                <a:cubicBezTo>
                  <a:pt x="1339" y="1103"/>
                  <a:pt x="1339" y="1109"/>
                  <a:pt x="1339" y="1113"/>
                </a:cubicBezTo>
                <a:cubicBezTo>
                  <a:pt x="1340" y="1133"/>
                  <a:pt x="1362" y="1139"/>
                  <a:pt x="1366" y="1123"/>
                </a:cubicBezTo>
                <a:cubicBezTo>
                  <a:pt x="1372" y="1098"/>
                  <a:pt x="1476" y="586"/>
                  <a:pt x="1476" y="586"/>
                </a:cubicBezTo>
                <a:cubicBezTo>
                  <a:pt x="1476" y="586"/>
                  <a:pt x="1478" y="575"/>
                  <a:pt x="1478" y="569"/>
                </a:cubicBezTo>
                <a:cubicBezTo>
                  <a:pt x="1478" y="564"/>
                  <a:pt x="1476" y="553"/>
                  <a:pt x="1476" y="553"/>
                </a:cubicBezTo>
                <a:cubicBezTo>
                  <a:pt x="1476" y="553"/>
                  <a:pt x="1373" y="44"/>
                  <a:pt x="1367" y="16"/>
                </a:cubicBezTo>
                <a:close/>
              </a:path>
            </a:pathLst>
          </a:custGeom>
          <a:solidFill>
            <a:srgbClr val="FFFFFF"/>
          </a:solidFill>
          <a:ln w="38100" cap="flat" cmpd="sng" algn="ctr">
            <a:solidFill>
              <a:srgbClr val="00285F"/>
            </a:solidFill>
            <a:prstDash val="solid"/>
            <a:round/>
            <a:headEnd type="none" w="med" len="med"/>
            <a:tailEnd type="none" w="med" len="med"/>
          </a:ln>
        </p:spPr>
        <p:txBody>
          <a:bodyPr anchor="ctr"/>
          <a:lstStyle/>
          <a:p>
            <a:pPr algn="l"/>
            <a:endParaRPr lang="en-US" sz="1800"/>
          </a:p>
        </p:txBody>
      </p:sp>
      <p:grpSp>
        <p:nvGrpSpPr>
          <p:cNvPr id="11274" name="Group 13"/>
          <p:cNvGrpSpPr>
            <a:grpSpLocks/>
          </p:cNvGrpSpPr>
          <p:nvPr/>
        </p:nvGrpSpPr>
        <p:grpSpPr bwMode="auto">
          <a:xfrm>
            <a:off x="344768" y="4730749"/>
            <a:ext cx="5109486" cy="1272551"/>
            <a:chOff x="5182162" y="4687835"/>
            <a:chExt cx="6834187" cy="1272517"/>
          </a:xfrm>
        </p:grpSpPr>
        <p:grpSp>
          <p:nvGrpSpPr>
            <p:cNvPr id="11288" name="Group 2"/>
            <p:cNvGrpSpPr>
              <a:grpSpLocks/>
            </p:cNvGrpSpPr>
            <p:nvPr/>
          </p:nvGrpSpPr>
          <p:grpSpPr bwMode="auto">
            <a:xfrm>
              <a:off x="5182162" y="4687835"/>
              <a:ext cx="6834187" cy="1272517"/>
              <a:chOff x="4367138" y="1286781"/>
              <a:chExt cx="7465633" cy="1273509"/>
            </a:xfrm>
          </p:grpSpPr>
          <p:sp>
            <p:nvSpPr>
              <p:cNvPr id="11290" name="Rectangle 2"/>
              <p:cNvSpPr txBox="1">
                <a:spLocks noChangeArrowheads="1"/>
              </p:cNvSpPr>
              <p:nvPr/>
            </p:nvSpPr>
            <p:spPr bwMode="auto">
              <a:xfrm>
                <a:off x="4564063" y="1595041"/>
                <a:ext cx="7268708" cy="728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spcBef>
                    <a:spcPct val="50000"/>
                  </a:spcBef>
                </a:pPr>
                <a:r>
                  <a:rPr lang="en-US" sz="3600" dirty="0">
                    <a:solidFill>
                      <a:srgbClr val="00A9D4"/>
                    </a:solidFill>
                    <a:latin typeface="Ericsson Capital TT" pitchFamily="2" charset="0"/>
                    <a:cs typeface="Arial" pitchFamily="34" charset="0"/>
                  </a:rPr>
                  <a:t>18 </a:t>
                </a:r>
                <a:r>
                  <a:rPr lang="en-US" sz="3600" dirty="0" smtClean="0">
                    <a:solidFill>
                      <a:srgbClr val="00A9D4"/>
                    </a:solidFill>
                    <a:latin typeface="Ericsson Capital TT" pitchFamily="2" charset="0"/>
                    <a:cs typeface="Arial" pitchFamily="34" charset="0"/>
                  </a:rPr>
                  <a:t>MOS </a:t>
                </a:r>
                <a:r>
                  <a:rPr lang="en-US" sz="3600" dirty="0">
                    <a:solidFill>
                      <a:srgbClr val="FFFFFF"/>
                    </a:solidFill>
                    <a:cs typeface="Arial" pitchFamily="34" charset="0"/>
                  </a:rPr>
                  <a:t>↓ </a:t>
                </a:r>
                <a:r>
                  <a:rPr lang="en-US" sz="3600" dirty="0">
                    <a:solidFill>
                      <a:srgbClr val="00A9D4"/>
                    </a:solidFill>
                    <a:latin typeface="Ericsson Capital TT" pitchFamily="2" charset="0"/>
                    <a:cs typeface="Arial" pitchFamily="34" charset="0"/>
                  </a:rPr>
                  <a:t>2 WEEKS</a:t>
                </a:r>
              </a:p>
            </p:txBody>
          </p:sp>
          <p:sp>
            <p:nvSpPr>
              <p:cNvPr id="11291" name="Rectangle 2"/>
              <p:cNvSpPr txBox="1">
                <a:spLocks noChangeArrowheads="1"/>
              </p:cNvSpPr>
              <p:nvPr/>
            </p:nvSpPr>
            <p:spPr bwMode="auto">
              <a:xfrm>
                <a:off x="4367138" y="1286781"/>
                <a:ext cx="7128169" cy="384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ts val="2400"/>
                  </a:lnSpc>
                  <a:spcBef>
                    <a:spcPct val="50000"/>
                  </a:spcBef>
                </a:pPr>
                <a:r>
                  <a:rPr lang="en-US" sz="2800">
                    <a:solidFill>
                      <a:srgbClr val="00A9D4"/>
                    </a:solidFill>
                    <a:latin typeface="Ericsson Capital TT" pitchFamily="2" charset="0"/>
                    <a:cs typeface="Arial" pitchFamily="34" charset="0"/>
                  </a:rPr>
                  <a:t>concept to SALES  </a:t>
                </a:r>
              </a:p>
            </p:txBody>
          </p:sp>
          <p:sp>
            <p:nvSpPr>
              <p:cNvPr id="11292" name="textruta 82"/>
              <p:cNvSpPr txBox="1">
                <a:spLocks noChangeArrowheads="1"/>
              </p:cNvSpPr>
              <p:nvPr/>
            </p:nvSpPr>
            <p:spPr bwMode="auto">
              <a:xfrm>
                <a:off x="4527861" y="2221481"/>
                <a:ext cx="4219481" cy="338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eaLnBrk="1" hangingPunct="1">
                  <a:spcBef>
                    <a:spcPct val="50000"/>
                  </a:spcBef>
                </a:pPr>
                <a:r>
                  <a:rPr lang="en-US" sz="1600" b="1">
                    <a:solidFill>
                      <a:srgbClr val="00A9D4"/>
                    </a:solidFill>
                    <a:cs typeface="Arial" pitchFamily="34" charset="0"/>
                  </a:rPr>
                  <a:t>Leading European Operator</a:t>
                </a:r>
              </a:p>
            </p:txBody>
          </p:sp>
        </p:grpSp>
        <p:sp>
          <p:nvSpPr>
            <p:cNvPr id="11289" name="Rectangle 16"/>
            <p:cNvSpPr>
              <a:spLocks noChangeArrowheads="1"/>
            </p:cNvSpPr>
            <p:nvPr/>
          </p:nvSpPr>
          <p:spPr bwMode="auto">
            <a:xfrm>
              <a:off x="7761986" y="4956070"/>
              <a:ext cx="553997" cy="646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r>
                <a:rPr lang="en-US" sz="3600" b="1" dirty="0">
                  <a:solidFill>
                    <a:srgbClr val="00A9D4"/>
                  </a:solidFill>
                  <a:cs typeface="Arial" pitchFamily="34" charset="0"/>
                </a:rPr>
                <a:t>↓</a:t>
              </a:r>
            </a:p>
          </p:txBody>
        </p:sp>
      </p:grpSp>
      <p:grpSp>
        <p:nvGrpSpPr>
          <p:cNvPr id="11275" name="Group 14"/>
          <p:cNvGrpSpPr>
            <a:grpSpLocks/>
          </p:cNvGrpSpPr>
          <p:nvPr/>
        </p:nvGrpSpPr>
        <p:grpSpPr bwMode="auto">
          <a:xfrm>
            <a:off x="344767" y="2989264"/>
            <a:ext cx="5005387" cy="1261436"/>
            <a:chOff x="5172683" y="3216154"/>
            <a:chExt cx="6672886" cy="1261397"/>
          </a:xfrm>
        </p:grpSpPr>
        <p:grpSp>
          <p:nvGrpSpPr>
            <p:cNvPr id="11283" name="Group 14"/>
            <p:cNvGrpSpPr>
              <a:grpSpLocks/>
            </p:cNvGrpSpPr>
            <p:nvPr/>
          </p:nvGrpSpPr>
          <p:grpSpPr bwMode="auto">
            <a:xfrm>
              <a:off x="5172683" y="3216154"/>
              <a:ext cx="6672886" cy="1261397"/>
              <a:chOff x="4367139" y="4922161"/>
              <a:chExt cx="7289874" cy="1262246"/>
            </a:xfrm>
          </p:grpSpPr>
          <p:sp>
            <p:nvSpPr>
              <p:cNvPr id="11285" name="Rectangle 2"/>
              <p:cNvSpPr txBox="1">
                <a:spLocks noChangeArrowheads="1"/>
              </p:cNvSpPr>
              <p:nvPr/>
            </p:nvSpPr>
            <p:spPr bwMode="auto">
              <a:xfrm>
                <a:off x="4564063" y="5219441"/>
                <a:ext cx="7092950" cy="728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spcBef>
                    <a:spcPct val="50000"/>
                  </a:spcBef>
                </a:pPr>
                <a:r>
                  <a:rPr lang="en-US" sz="3600">
                    <a:solidFill>
                      <a:srgbClr val="8F3F7B"/>
                    </a:solidFill>
                    <a:latin typeface="Ericsson Capital TT" pitchFamily="2" charset="0"/>
                    <a:cs typeface="Arial" pitchFamily="34" charset="0"/>
                  </a:rPr>
                  <a:t>40% </a:t>
                </a:r>
                <a:r>
                  <a:rPr lang="en-US" sz="3600">
                    <a:solidFill>
                      <a:srgbClr val="FFFFFF"/>
                    </a:solidFill>
                    <a:cs typeface="Arial" pitchFamily="34" charset="0"/>
                  </a:rPr>
                  <a:t>↓</a:t>
                </a:r>
                <a:r>
                  <a:rPr lang="en-US" sz="3600">
                    <a:solidFill>
                      <a:srgbClr val="8F3F7B"/>
                    </a:solidFill>
                    <a:cs typeface="Arial" pitchFamily="34" charset="0"/>
                  </a:rPr>
                  <a:t> </a:t>
                </a:r>
                <a:r>
                  <a:rPr lang="en-US" sz="3600">
                    <a:solidFill>
                      <a:srgbClr val="8F3F7B"/>
                    </a:solidFill>
                    <a:latin typeface="Ericsson Capital TT" pitchFamily="2" charset="0"/>
                    <a:cs typeface="Arial" pitchFamily="34" charset="0"/>
                  </a:rPr>
                  <a:t>4%</a:t>
                </a:r>
              </a:p>
            </p:txBody>
          </p:sp>
          <p:sp>
            <p:nvSpPr>
              <p:cNvPr id="11286" name="Rectangle 2"/>
              <p:cNvSpPr txBox="1">
                <a:spLocks noChangeArrowheads="1"/>
              </p:cNvSpPr>
              <p:nvPr/>
            </p:nvSpPr>
            <p:spPr bwMode="auto">
              <a:xfrm>
                <a:off x="4367139" y="4922161"/>
                <a:ext cx="7128168" cy="384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ts val="2400"/>
                  </a:lnSpc>
                  <a:spcBef>
                    <a:spcPct val="50000"/>
                  </a:spcBef>
                </a:pPr>
                <a:r>
                  <a:rPr lang="en-US" sz="2800">
                    <a:solidFill>
                      <a:srgbClr val="8F3F7B"/>
                    </a:solidFill>
                    <a:latin typeface="Ericsson Capital TT" pitchFamily="2" charset="0"/>
                    <a:cs typeface="Arial" pitchFamily="34" charset="0"/>
                  </a:rPr>
                  <a:t>ORDER FALLOUT</a:t>
                </a:r>
              </a:p>
            </p:txBody>
          </p:sp>
          <p:sp>
            <p:nvSpPr>
              <p:cNvPr id="11287" name="textruta 82"/>
              <p:cNvSpPr txBox="1">
                <a:spLocks noChangeArrowheads="1"/>
              </p:cNvSpPr>
              <p:nvPr/>
            </p:nvSpPr>
            <p:spPr bwMode="auto">
              <a:xfrm>
                <a:off x="4517919" y="5845636"/>
                <a:ext cx="4772250" cy="338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eaLnBrk="1" hangingPunct="1">
                  <a:spcBef>
                    <a:spcPct val="50000"/>
                  </a:spcBef>
                </a:pPr>
                <a:r>
                  <a:rPr lang="en-US" sz="1600" b="1">
                    <a:solidFill>
                      <a:srgbClr val="8F3F7B"/>
                    </a:solidFill>
                    <a:cs typeface="Arial" pitchFamily="34" charset="0"/>
                  </a:rPr>
                  <a:t>Tier 1 South American Operator</a:t>
                </a:r>
                <a:endParaRPr lang="en-US" sz="1600" b="1">
                  <a:solidFill>
                    <a:srgbClr val="FF0000"/>
                  </a:solidFill>
                  <a:cs typeface="Arial" pitchFamily="34" charset="0"/>
                </a:endParaRPr>
              </a:p>
            </p:txBody>
          </p:sp>
        </p:grpSp>
        <p:sp>
          <p:nvSpPr>
            <p:cNvPr id="11284" name="Rectangle 19"/>
            <p:cNvSpPr>
              <a:spLocks noChangeArrowheads="1"/>
            </p:cNvSpPr>
            <p:nvPr/>
          </p:nvSpPr>
          <p:spPr bwMode="auto">
            <a:xfrm>
              <a:off x="6775552" y="3471699"/>
              <a:ext cx="553917" cy="646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r>
                <a:rPr lang="en-US" sz="3600" b="1" dirty="0">
                  <a:solidFill>
                    <a:srgbClr val="8F3F7B"/>
                  </a:solidFill>
                  <a:cs typeface="Arial" pitchFamily="34" charset="0"/>
                </a:rPr>
                <a:t>↓</a:t>
              </a:r>
              <a:endParaRPr lang="en-US" sz="3600" b="1" dirty="0">
                <a:solidFill>
                  <a:srgbClr val="58585A"/>
                </a:solidFill>
                <a:cs typeface="Arial" pitchFamily="34" charset="0"/>
              </a:endParaRPr>
            </a:p>
          </p:txBody>
        </p:sp>
      </p:grpSp>
      <p:grpSp>
        <p:nvGrpSpPr>
          <p:cNvPr id="11276" name="Group 15"/>
          <p:cNvGrpSpPr>
            <a:grpSpLocks/>
          </p:cNvGrpSpPr>
          <p:nvPr/>
        </p:nvGrpSpPr>
        <p:grpSpPr bwMode="auto">
          <a:xfrm>
            <a:off x="344767" y="1236664"/>
            <a:ext cx="5005388" cy="1272546"/>
            <a:chOff x="5172683" y="1322655"/>
            <a:chExt cx="6672887" cy="1272506"/>
          </a:xfrm>
        </p:grpSpPr>
        <p:grpSp>
          <p:nvGrpSpPr>
            <p:cNvPr id="11278" name="Group 13"/>
            <p:cNvGrpSpPr>
              <a:grpSpLocks/>
            </p:cNvGrpSpPr>
            <p:nvPr/>
          </p:nvGrpSpPr>
          <p:grpSpPr bwMode="auto">
            <a:xfrm>
              <a:off x="5172683" y="1322655"/>
              <a:ext cx="6672887" cy="1272506"/>
              <a:chOff x="4367139" y="3104561"/>
              <a:chExt cx="7289874" cy="1273288"/>
            </a:xfrm>
          </p:grpSpPr>
          <p:sp>
            <p:nvSpPr>
              <p:cNvPr id="11280" name="Rectangle 2"/>
              <p:cNvSpPr txBox="1">
                <a:spLocks noChangeArrowheads="1"/>
              </p:cNvSpPr>
              <p:nvPr/>
            </p:nvSpPr>
            <p:spPr bwMode="auto">
              <a:xfrm>
                <a:off x="4564063" y="3412776"/>
                <a:ext cx="7092950" cy="728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spcBef>
                    <a:spcPct val="50000"/>
                  </a:spcBef>
                </a:pPr>
                <a:r>
                  <a:rPr lang="en-US" sz="3600" dirty="0">
                    <a:solidFill>
                      <a:srgbClr val="F08A00"/>
                    </a:solidFill>
                    <a:latin typeface="Ericsson Capital TT" pitchFamily="2" charset="0"/>
                    <a:cs typeface="Arial" pitchFamily="34" charset="0"/>
                  </a:rPr>
                  <a:t>5 Days </a:t>
                </a:r>
                <a:r>
                  <a:rPr lang="en-US" sz="3600" dirty="0">
                    <a:solidFill>
                      <a:srgbClr val="FFFFFF"/>
                    </a:solidFill>
                    <a:cs typeface="Arial" pitchFamily="34" charset="0"/>
                  </a:rPr>
                  <a:t>↓</a:t>
                </a:r>
                <a:r>
                  <a:rPr lang="en-US" sz="3600" dirty="0">
                    <a:solidFill>
                      <a:srgbClr val="F08A00"/>
                    </a:solidFill>
                    <a:cs typeface="Arial" pitchFamily="34" charset="0"/>
                  </a:rPr>
                  <a:t> </a:t>
                </a:r>
                <a:r>
                  <a:rPr lang="en-US" sz="3600" dirty="0">
                    <a:solidFill>
                      <a:srgbClr val="F08A00"/>
                    </a:solidFill>
                    <a:latin typeface="Ericsson Capital TT" pitchFamily="2" charset="0"/>
                    <a:cs typeface="Arial" pitchFamily="34" charset="0"/>
                  </a:rPr>
                  <a:t>5 MINUTES</a:t>
                </a:r>
              </a:p>
            </p:txBody>
          </p:sp>
          <p:sp>
            <p:nvSpPr>
              <p:cNvPr id="11281" name="Rectangle 2"/>
              <p:cNvSpPr txBox="1">
                <a:spLocks noChangeArrowheads="1"/>
              </p:cNvSpPr>
              <p:nvPr/>
            </p:nvSpPr>
            <p:spPr bwMode="auto">
              <a:xfrm>
                <a:off x="4367139" y="3104561"/>
                <a:ext cx="7128168" cy="384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ts val="2400"/>
                  </a:lnSpc>
                  <a:spcBef>
                    <a:spcPct val="50000"/>
                  </a:spcBef>
                </a:pPr>
                <a:r>
                  <a:rPr lang="en-US" sz="2800">
                    <a:solidFill>
                      <a:srgbClr val="F08A00"/>
                    </a:solidFill>
                    <a:latin typeface="Ericsson Capital TT" pitchFamily="2" charset="0"/>
                    <a:cs typeface="Arial" pitchFamily="34" charset="0"/>
                  </a:rPr>
                  <a:t>ORDER CYCLE TIME</a:t>
                </a:r>
              </a:p>
            </p:txBody>
          </p:sp>
          <p:sp>
            <p:nvSpPr>
              <p:cNvPr id="11282" name="textruta 82"/>
              <p:cNvSpPr txBox="1">
                <a:spLocks noChangeArrowheads="1"/>
              </p:cNvSpPr>
              <p:nvPr/>
            </p:nvSpPr>
            <p:spPr bwMode="auto">
              <a:xfrm>
                <a:off x="4528229" y="4039098"/>
                <a:ext cx="4199705" cy="33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eaLnBrk="1" hangingPunct="1">
                  <a:spcBef>
                    <a:spcPct val="50000"/>
                  </a:spcBef>
                </a:pPr>
                <a:r>
                  <a:rPr lang="en-US" sz="1600" b="1">
                    <a:solidFill>
                      <a:srgbClr val="F08A00"/>
                    </a:solidFill>
                    <a:cs typeface="Arial" pitchFamily="34" charset="0"/>
                  </a:rPr>
                  <a:t>Tier 3 Caribbean Incumbent</a:t>
                </a:r>
              </a:p>
            </p:txBody>
          </p:sp>
        </p:grpSp>
        <p:sp>
          <p:nvSpPr>
            <p:cNvPr id="11279" name="Rectangle 17"/>
            <p:cNvSpPr>
              <a:spLocks noChangeArrowheads="1"/>
            </p:cNvSpPr>
            <p:nvPr/>
          </p:nvSpPr>
          <p:spPr bwMode="auto">
            <a:xfrm>
              <a:off x="7635002" y="1603578"/>
              <a:ext cx="553917" cy="646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r>
                <a:rPr lang="en-US" sz="3600" b="1" dirty="0">
                  <a:solidFill>
                    <a:srgbClr val="F08A00"/>
                  </a:solidFill>
                  <a:cs typeface="Arial" pitchFamily="34" charset="0"/>
                </a:rPr>
                <a:t>↓</a:t>
              </a:r>
              <a:endParaRPr lang="en-US" sz="3600" b="1" dirty="0">
                <a:solidFill>
                  <a:srgbClr val="58585A"/>
                </a:solidFill>
                <a:cs typeface="Arial" pitchFamily="34" charset="0"/>
              </a:endParaRPr>
            </a:p>
          </p:txBody>
        </p:sp>
      </p:grpSp>
      <p:pic>
        <p:nvPicPr>
          <p:cNvPr id="11277" name="Picture 4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273705" y="328613"/>
            <a:ext cx="480962"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9" name="Group 38"/>
          <p:cNvGrpSpPr/>
          <p:nvPr/>
        </p:nvGrpSpPr>
        <p:grpSpPr>
          <a:xfrm>
            <a:off x="5784577" y="2999599"/>
            <a:ext cx="3235563" cy="1825524"/>
            <a:chOff x="8181891" y="2995930"/>
            <a:chExt cx="3235563" cy="1825524"/>
          </a:xfrm>
        </p:grpSpPr>
        <p:grpSp>
          <p:nvGrpSpPr>
            <p:cNvPr id="40" name="Group 2"/>
            <p:cNvGrpSpPr>
              <a:grpSpLocks/>
            </p:cNvGrpSpPr>
            <p:nvPr/>
          </p:nvGrpSpPr>
          <p:grpSpPr bwMode="auto">
            <a:xfrm>
              <a:off x="8181891" y="2995930"/>
              <a:ext cx="3235563" cy="1825524"/>
              <a:chOff x="307975" y="1365250"/>
              <a:chExt cx="8512175" cy="4260850"/>
            </a:xfrm>
            <a:solidFill>
              <a:schemeClr val="tx1">
                <a:lumMod val="60000"/>
                <a:lumOff val="40000"/>
                <a:alpha val="17000"/>
              </a:schemeClr>
            </a:solidFill>
          </p:grpSpPr>
          <p:sp>
            <p:nvSpPr>
              <p:cNvPr id="44" name="Freeform 7"/>
              <p:cNvSpPr>
                <a:spLocks noChangeAspect="1" noEditPoints="1"/>
              </p:cNvSpPr>
              <p:nvPr/>
            </p:nvSpPr>
            <p:spPr bwMode="auto">
              <a:xfrm>
                <a:off x="3965575" y="3325813"/>
                <a:ext cx="1671638" cy="1647825"/>
              </a:xfrm>
              <a:custGeom>
                <a:avLst/>
                <a:gdLst>
                  <a:gd name="T0" fmla="*/ 2147483647 w 865"/>
                  <a:gd name="T1" fmla="*/ 2147483647 h 854"/>
                  <a:gd name="T2" fmla="*/ 2147483647 w 865"/>
                  <a:gd name="T3" fmla="*/ 2147483647 h 854"/>
                  <a:gd name="T4" fmla="*/ 2147483647 w 865"/>
                  <a:gd name="T5" fmla="*/ 2147483647 h 854"/>
                  <a:gd name="T6" fmla="*/ 2147483647 w 865"/>
                  <a:gd name="T7" fmla="*/ 2147483647 h 854"/>
                  <a:gd name="T8" fmla="*/ 2147483647 w 865"/>
                  <a:gd name="T9" fmla="*/ 2147483647 h 854"/>
                  <a:gd name="T10" fmla="*/ 2147483647 w 865"/>
                  <a:gd name="T11" fmla="*/ 2147483647 h 854"/>
                  <a:gd name="T12" fmla="*/ 2147483647 w 865"/>
                  <a:gd name="T13" fmla="*/ 2147483647 h 854"/>
                  <a:gd name="T14" fmla="*/ 2147483647 w 865"/>
                  <a:gd name="T15" fmla="*/ 2147483647 h 854"/>
                  <a:gd name="T16" fmla="*/ 2147483647 w 865"/>
                  <a:gd name="T17" fmla="*/ 2147483647 h 854"/>
                  <a:gd name="T18" fmla="*/ 2147483647 w 865"/>
                  <a:gd name="T19" fmla="*/ 2147483647 h 854"/>
                  <a:gd name="T20" fmla="*/ 2147483647 w 865"/>
                  <a:gd name="T21" fmla="*/ 2147483647 h 854"/>
                  <a:gd name="T22" fmla="*/ 2147483647 w 865"/>
                  <a:gd name="T23" fmla="*/ 2147483647 h 854"/>
                  <a:gd name="T24" fmla="*/ 2147483647 w 865"/>
                  <a:gd name="T25" fmla="*/ 2147483647 h 854"/>
                  <a:gd name="T26" fmla="*/ 2147483647 w 865"/>
                  <a:gd name="T27" fmla="*/ 2147483647 h 854"/>
                  <a:gd name="T28" fmla="*/ 2147483647 w 865"/>
                  <a:gd name="T29" fmla="*/ 2147483647 h 854"/>
                  <a:gd name="T30" fmla="*/ 2147483647 w 865"/>
                  <a:gd name="T31" fmla="*/ 2147483647 h 854"/>
                  <a:gd name="T32" fmla="*/ 2147483647 w 865"/>
                  <a:gd name="T33" fmla="*/ 2147483647 h 854"/>
                  <a:gd name="T34" fmla="*/ 2147483647 w 865"/>
                  <a:gd name="T35" fmla="*/ 2147483647 h 854"/>
                  <a:gd name="T36" fmla="*/ 2147483647 w 865"/>
                  <a:gd name="T37" fmla="*/ 2147483647 h 854"/>
                  <a:gd name="T38" fmla="*/ 2147483647 w 865"/>
                  <a:gd name="T39" fmla="*/ 2147483647 h 854"/>
                  <a:gd name="T40" fmla="*/ 2147483647 w 865"/>
                  <a:gd name="T41" fmla="*/ 2147483647 h 854"/>
                  <a:gd name="T42" fmla="*/ 2147483647 w 865"/>
                  <a:gd name="T43" fmla="*/ 2147483647 h 854"/>
                  <a:gd name="T44" fmla="*/ 2147483647 w 865"/>
                  <a:gd name="T45" fmla="*/ 2147483647 h 854"/>
                  <a:gd name="T46" fmla="*/ 2147483647 w 865"/>
                  <a:gd name="T47" fmla="*/ 2147483647 h 854"/>
                  <a:gd name="T48" fmla="*/ 2147483647 w 865"/>
                  <a:gd name="T49" fmla="*/ 2147483647 h 854"/>
                  <a:gd name="T50" fmla="*/ 2147483647 w 865"/>
                  <a:gd name="T51" fmla="*/ 2147483647 h 854"/>
                  <a:gd name="T52" fmla="*/ 2147483647 w 865"/>
                  <a:gd name="T53" fmla="*/ 2147483647 h 854"/>
                  <a:gd name="T54" fmla="*/ 2147483647 w 865"/>
                  <a:gd name="T55" fmla="*/ 2147483647 h 854"/>
                  <a:gd name="T56" fmla="*/ 2147483647 w 865"/>
                  <a:gd name="T57" fmla="*/ 2147483647 h 854"/>
                  <a:gd name="T58" fmla="*/ 2147483647 w 865"/>
                  <a:gd name="T59" fmla="*/ 2147483647 h 854"/>
                  <a:gd name="T60" fmla="*/ 2147483647 w 865"/>
                  <a:gd name="T61" fmla="*/ 2147483647 h 854"/>
                  <a:gd name="T62" fmla="*/ 2147483647 w 865"/>
                  <a:gd name="T63" fmla="*/ 2147483647 h 854"/>
                  <a:gd name="T64" fmla="*/ 2147483647 w 865"/>
                  <a:gd name="T65" fmla="*/ 2147483647 h 854"/>
                  <a:gd name="T66" fmla="*/ 2147483647 w 865"/>
                  <a:gd name="T67" fmla="*/ 2147483647 h 854"/>
                  <a:gd name="T68" fmla="*/ 2147483647 w 865"/>
                  <a:gd name="T69" fmla="*/ 2147483647 h 854"/>
                  <a:gd name="T70" fmla="*/ 2147483647 w 865"/>
                  <a:gd name="T71" fmla="*/ 2147483647 h 854"/>
                  <a:gd name="T72" fmla="*/ 2147483647 w 865"/>
                  <a:gd name="T73" fmla="*/ 2147483647 h 854"/>
                  <a:gd name="T74" fmla="*/ 2147483647 w 865"/>
                  <a:gd name="T75" fmla="*/ 2147483647 h 854"/>
                  <a:gd name="T76" fmla="*/ 2147483647 w 865"/>
                  <a:gd name="T77" fmla="*/ 2147483647 h 854"/>
                  <a:gd name="T78" fmla="*/ 2147483647 w 865"/>
                  <a:gd name="T79" fmla="*/ 2147483647 h 854"/>
                  <a:gd name="T80" fmla="*/ 2147483647 w 865"/>
                  <a:gd name="T81" fmla="*/ 2147483647 h 854"/>
                  <a:gd name="T82" fmla="*/ 2147483647 w 865"/>
                  <a:gd name="T83" fmla="*/ 2147483647 h 854"/>
                  <a:gd name="T84" fmla="*/ 2147483647 w 865"/>
                  <a:gd name="T85" fmla="*/ 2147483647 h 854"/>
                  <a:gd name="T86" fmla="*/ 2147483647 w 865"/>
                  <a:gd name="T87" fmla="*/ 2147483647 h 854"/>
                  <a:gd name="T88" fmla="*/ 2147483647 w 865"/>
                  <a:gd name="T89" fmla="*/ 2147483647 h 854"/>
                  <a:gd name="T90" fmla="*/ 2147483647 w 865"/>
                  <a:gd name="T91" fmla="*/ 2147483647 h 854"/>
                  <a:gd name="T92" fmla="*/ 2147483647 w 865"/>
                  <a:gd name="T93" fmla="*/ 2147483647 h 854"/>
                  <a:gd name="T94" fmla="*/ 2147483647 w 865"/>
                  <a:gd name="T95" fmla="*/ 2147483647 h 854"/>
                  <a:gd name="T96" fmla="*/ 2147483647 w 865"/>
                  <a:gd name="T97" fmla="*/ 2147483647 h 854"/>
                  <a:gd name="T98" fmla="*/ 2147483647 w 865"/>
                  <a:gd name="T99" fmla="*/ 2147483647 h 854"/>
                  <a:gd name="T100" fmla="*/ 2147483647 w 865"/>
                  <a:gd name="T101" fmla="*/ 2147483647 h 854"/>
                  <a:gd name="T102" fmla="*/ 2147483647 w 865"/>
                  <a:gd name="T103" fmla="*/ 2147483647 h 854"/>
                  <a:gd name="T104" fmla="*/ 2147483647 w 865"/>
                  <a:gd name="T105" fmla="*/ 2147483647 h 854"/>
                  <a:gd name="T106" fmla="*/ 2147483647 w 865"/>
                  <a:gd name="T107" fmla="*/ 2147483647 h 854"/>
                  <a:gd name="T108" fmla="*/ 2147483647 w 865"/>
                  <a:gd name="T109" fmla="*/ 2147483647 h 854"/>
                  <a:gd name="T110" fmla="*/ 2147483647 w 865"/>
                  <a:gd name="T111" fmla="*/ 2147483647 h 854"/>
                  <a:gd name="T112" fmla="*/ 2147483647 w 865"/>
                  <a:gd name="T113" fmla="*/ 2147483647 h 854"/>
                  <a:gd name="T114" fmla="*/ 2147483647 w 865"/>
                  <a:gd name="T115" fmla="*/ 2147483647 h 854"/>
                  <a:gd name="T116" fmla="*/ 2147483647 w 865"/>
                  <a:gd name="T117" fmla="*/ 2147483647 h 854"/>
                  <a:gd name="T118" fmla="*/ 2147483647 w 865"/>
                  <a:gd name="T119" fmla="*/ 2147483647 h 854"/>
                  <a:gd name="T120" fmla="*/ 2147483647 w 865"/>
                  <a:gd name="T121" fmla="*/ 2147483647 h 854"/>
                  <a:gd name="T122" fmla="*/ 2147483647 w 865"/>
                  <a:gd name="T123" fmla="*/ 2147483647 h 854"/>
                  <a:gd name="T124" fmla="*/ 2147483647 w 865"/>
                  <a:gd name="T125" fmla="*/ 2147483647 h 85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65" h="854">
                    <a:moveTo>
                      <a:pt x="187" y="153"/>
                    </a:moveTo>
                    <a:cubicBezTo>
                      <a:pt x="181" y="153"/>
                      <a:pt x="175" y="159"/>
                      <a:pt x="175" y="165"/>
                    </a:cubicBezTo>
                    <a:cubicBezTo>
                      <a:pt x="175" y="172"/>
                      <a:pt x="181" y="178"/>
                      <a:pt x="187" y="178"/>
                    </a:cubicBezTo>
                    <a:cubicBezTo>
                      <a:pt x="194" y="178"/>
                      <a:pt x="200" y="172"/>
                      <a:pt x="200" y="165"/>
                    </a:cubicBezTo>
                    <a:cubicBezTo>
                      <a:pt x="200" y="159"/>
                      <a:pt x="194" y="153"/>
                      <a:pt x="187" y="153"/>
                    </a:cubicBezTo>
                    <a:close/>
                    <a:moveTo>
                      <a:pt x="152" y="215"/>
                    </a:moveTo>
                    <a:cubicBezTo>
                      <a:pt x="146" y="215"/>
                      <a:pt x="140" y="220"/>
                      <a:pt x="140" y="227"/>
                    </a:cubicBezTo>
                    <a:cubicBezTo>
                      <a:pt x="140" y="234"/>
                      <a:pt x="146" y="239"/>
                      <a:pt x="152" y="239"/>
                    </a:cubicBezTo>
                    <a:cubicBezTo>
                      <a:pt x="159" y="239"/>
                      <a:pt x="164" y="234"/>
                      <a:pt x="164" y="227"/>
                    </a:cubicBezTo>
                    <a:cubicBezTo>
                      <a:pt x="164" y="220"/>
                      <a:pt x="159" y="215"/>
                      <a:pt x="152" y="215"/>
                    </a:cubicBezTo>
                    <a:close/>
                    <a:moveTo>
                      <a:pt x="117" y="215"/>
                    </a:moveTo>
                    <a:cubicBezTo>
                      <a:pt x="111" y="215"/>
                      <a:pt x="105" y="220"/>
                      <a:pt x="105" y="227"/>
                    </a:cubicBezTo>
                    <a:cubicBezTo>
                      <a:pt x="105" y="234"/>
                      <a:pt x="111" y="239"/>
                      <a:pt x="117" y="239"/>
                    </a:cubicBezTo>
                    <a:cubicBezTo>
                      <a:pt x="124" y="239"/>
                      <a:pt x="129" y="234"/>
                      <a:pt x="129" y="227"/>
                    </a:cubicBezTo>
                    <a:cubicBezTo>
                      <a:pt x="129" y="220"/>
                      <a:pt x="124" y="215"/>
                      <a:pt x="117" y="215"/>
                    </a:cubicBezTo>
                    <a:close/>
                    <a:moveTo>
                      <a:pt x="117" y="184"/>
                    </a:moveTo>
                    <a:cubicBezTo>
                      <a:pt x="111" y="184"/>
                      <a:pt x="105" y="189"/>
                      <a:pt x="105" y="196"/>
                    </a:cubicBezTo>
                    <a:cubicBezTo>
                      <a:pt x="105" y="203"/>
                      <a:pt x="111" y="208"/>
                      <a:pt x="117" y="208"/>
                    </a:cubicBezTo>
                    <a:cubicBezTo>
                      <a:pt x="124" y="208"/>
                      <a:pt x="129" y="203"/>
                      <a:pt x="129" y="196"/>
                    </a:cubicBezTo>
                    <a:cubicBezTo>
                      <a:pt x="129" y="189"/>
                      <a:pt x="124" y="184"/>
                      <a:pt x="117" y="184"/>
                    </a:cubicBezTo>
                    <a:close/>
                    <a:moveTo>
                      <a:pt x="117" y="153"/>
                    </a:moveTo>
                    <a:cubicBezTo>
                      <a:pt x="111" y="153"/>
                      <a:pt x="105" y="159"/>
                      <a:pt x="105" y="165"/>
                    </a:cubicBezTo>
                    <a:cubicBezTo>
                      <a:pt x="105" y="172"/>
                      <a:pt x="111" y="178"/>
                      <a:pt x="117" y="178"/>
                    </a:cubicBezTo>
                    <a:cubicBezTo>
                      <a:pt x="124" y="178"/>
                      <a:pt x="129" y="172"/>
                      <a:pt x="129" y="165"/>
                    </a:cubicBezTo>
                    <a:cubicBezTo>
                      <a:pt x="129" y="159"/>
                      <a:pt x="124" y="153"/>
                      <a:pt x="117" y="153"/>
                    </a:cubicBezTo>
                    <a:close/>
                    <a:moveTo>
                      <a:pt x="117" y="245"/>
                    </a:moveTo>
                    <a:cubicBezTo>
                      <a:pt x="111" y="245"/>
                      <a:pt x="105" y="251"/>
                      <a:pt x="105" y="258"/>
                    </a:cubicBezTo>
                    <a:cubicBezTo>
                      <a:pt x="105" y="264"/>
                      <a:pt x="111" y="270"/>
                      <a:pt x="117" y="270"/>
                    </a:cubicBezTo>
                    <a:cubicBezTo>
                      <a:pt x="124" y="270"/>
                      <a:pt x="129" y="264"/>
                      <a:pt x="129" y="258"/>
                    </a:cubicBezTo>
                    <a:cubicBezTo>
                      <a:pt x="129" y="251"/>
                      <a:pt x="124" y="245"/>
                      <a:pt x="117" y="245"/>
                    </a:cubicBezTo>
                    <a:close/>
                    <a:moveTo>
                      <a:pt x="117" y="122"/>
                    </a:moveTo>
                    <a:cubicBezTo>
                      <a:pt x="111" y="122"/>
                      <a:pt x="105" y="128"/>
                      <a:pt x="105" y="135"/>
                    </a:cubicBezTo>
                    <a:cubicBezTo>
                      <a:pt x="105" y="141"/>
                      <a:pt x="111" y="147"/>
                      <a:pt x="117" y="147"/>
                    </a:cubicBezTo>
                    <a:cubicBezTo>
                      <a:pt x="124" y="147"/>
                      <a:pt x="129" y="141"/>
                      <a:pt x="129" y="135"/>
                    </a:cubicBezTo>
                    <a:cubicBezTo>
                      <a:pt x="129" y="128"/>
                      <a:pt x="124" y="122"/>
                      <a:pt x="117" y="122"/>
                    </a:cubicBezTo>
                    <a:close/>
                    <a:moveTo>
                      <a:pt x="117" y="92"/>
                    </a:moveTo>
                    <a:cubicBezTo>
                      <a:pt x="111" y="92"/>
                      <a:pt x="105" y="97"/>
                      <a:pt x="105" y="104"/>
                    </a:cubicBezTo>
                    <a:cubicBezTo>
                      <a:pt x="105" y="111"/>
                      <a:pt x="111" y="116"/>
                      <a:pt x="117" y="116"/>
                    </a:cubicBezTo>
                    <a:cubicBezTo>
                      <a:pt x="124" y="116"/>
                      <a:pt x="129" y="111"/>
                      <a:pt x="129" y="104"/>
                    </a:cubicBezTo>
                    <a:cubicBezTo>
                      <a:pt x="129" y="97"/>
                      <a:pt x="124" y="92"/>
                      <a:pt x="117" y="92"/>
                    </a:cubicBezTo>
                    <a:close/>
                    <a:moveTo>
                      <a:pt x="187" y="215"/>
                    </a:moveTo>
                    <a:cubicBezTo>
                      <a:pt x="181" y="215"/>
                      <a:pt x="175" y="220"/>
                      <a:pt x="175" y="227"/>
                    </a:cubicBezTo>
                    <a:cubicBezTo>
                      <a:pt x="175" y="234"/>
                      <a:pt x="181" y="239"/>
                      <a:pt x="187" y="239"/>
                    </a:cubicBezTo>
                    <a:cubicBezTo>
                      <a:pt x="194" y="239"/>
                      <a:pt x="200" y="234"/>
                      <a:pt x="200" y="227"/>
                    </a:cubicBezTo>
                    <a:cubicBezTo>
                      <a:pt x="200" y="220"/>
                      <a:pt x="194" y="215"/>
                      <a:pt x="187" y="215"/>
                    </a:cubicBezTo>
                    <a:close/>
                    <a:moveTo>
                      <a:pt x="187" y="184"/>
                    </a:moveTo>
                    <a:cubicBezTo>
                      <a:pt x="181" y="184"/>
                      <a:pt x="175" y="189"/>
                      <a:pt x="175" y="196"/>
                    </a:cubicBezTo>
                    <a:cubicBezTo>
                      <a:pt x="175" y="203"/>
                      <a:pt x="181" y="208"/>
                      <a:pt x="187" y="208"/>
                    </a:cubicBezTo>
                    <a:cubicBezTo>
                      <a:pt x="194" y="208"/>
                      <a:pt x="200" y="203"/>
                      <a:pt x="200" y="196"/>
                    </a:cubicBezTo>
                    <a:cubicBezTo>
                      <a:pt x="200" y="189"/>
                      <a:pt x="194" y="184"/>
                      <a:pt x="187" y="184"/>
                    </a:cubicBezTo>
                    <a:close/>
                    <a:moveTo>
                      <a:pt x="152" y="92"/>
                    </a:moveTo>
                    <a:cubicBezTo>
                      <a:pt x="146" y="92"/>
                      <a:pt x="140" y="97"/>
                      <a:pt x="140" y="104"/>
                    </a:cubicBezTo>
                    <a:cubicBezTo>
                      <a:pt x="140" y="111"/>
                      <a:pt x="146" y="116"/>
                      <a:pt x="152" y="116"/>
                    </a:cubicBezTo>
                    <a:cubicBezTo>
                      <a:pt x="159" y="116"/>
                      <a:pt x="164" y="111"/>
                      <a:pt x="164" y="104"/>
                    </a:cubicBezTo>
                    <a:cubicBezTo>
                      <a:pt x="164" y="97"/>
                      <a:pt x="159" y="92"/>
                      <a:pt x="152" y="92"/>
                    </a:cubicBezTo>
                    <a:close/>
                    <a:moveTo>
                      <a:pt x="152" y="122"/>
                    </a:moveTo>
                    <a:cubicBezTo>
                      <a:pt x="146" y="122"/>
                      <a:pt x="140" y="128"/>
                      <a:pt x="140" y="135"/>
                    </a:cubicBezTo>
                    <a:cubicBezTo>
                      <a:pt x="140" y="141"/>
                      <a:pt x="146" y="147"/>
                      <a:pt x="152" y="147"/>
                    </a:cubicBezTo>
                    <a:cubicBezTo>
                      <a:pt x="159" y="147"/>
                      <a:pt x="164" y="141"/>
                      <a:pt x="164" y="135"/>
                    </a:cubicBezTo>
                    <a:cubicBezTo>
                      <a:pt x="164" y="128"/>
                      <a:pt x="159" y="122"/>
                      <a:pt x="152" y="122"/>
                    </a:cubicBezTo>
                    <a:close/>
                    <a:moveTo>
                      <a:pt x="152" y="184"/>
                    </a:moveTo>
                    <a:cubicBezTo>
                      <a:pt x="146" y="184"/>
                      <a:pt x="140" y="189"/>
                      <a:pt x="140" y="196"/>
                    </a:cubicBezTo>
                    <a:cubicBezTo>
                      <a:pt x="140" y="203"/>
                      <a:pt x="146" y="208"/>
                      <a:pt x="152" y="208"/>
                    </a:cubicBezTo>
                    <a:cubicBezTo>
                      <a:pt x="159" y="208"/>
                      <a:pt x="164" y="203"/>
                      <a:pt x="164" y="196"/>
                    </a:cubicBezTo>
                    <a:cubicBezTo>
                      <a:pt x="164" y="189"/>
                      <a:pt x="159" y="184"/>
                      <a:pt x="152" y="184"/>
                    </a:cubicBezTo>
                    <a:close/>
                    <a:moveTo>
                      <a:pt x="152" y="153"/>
                    </a:moveTo>
                    <a:cubicBezTo>
                      <a:pt x="146" y="153"/>
                      <a:pt x="140" y="159"/>
                      <a:pt x="140" y="165"/>
                    </a:cubicBezTo>
                    <a:cubicBezTo>
                      <a:pt x="140" y="172"/>
                      <a:pt x="146" y="178"/>
                      <a:pt x="152" y="178"/>
                    </a:cubicBezTo>
                    <a:cubicBezTo>
                      <a:pt x="159" y="178"/>
                      <a:pt x="164" y="172"/>
                      <a:pt x="164" y="165"/>
                    </a:cubicBezTo>
                    <a:cubicBezTo>
                      <a:pt x="164" y="159"/>
                      <a:pt x="159" y="153"/>
                      <a:pt x="152" y="153"/>
                    </a:cubicBezTo>
                    <a:close/>
                    <a:moveTo>
                      <a:pt x="82" y="153"/>
                    </a:moveTo>
                    <a:cubicBezTo>
                      <a:pt x="76" y="153"/>
                      <a:pt x="70" y="159"/>
                      <a:pt x="70" y="165"/>
                    </a:cubicBezTo>
                    <a:cubicBezTo>
                      <a:pt x="70" y="172"/>
                      <a:pt x="76" y="178"/>
                      <a:pt x="82" y="178"/>
                    </a:cubicBezTo>
                    <a:cubicBezTo>
                      <a:pt x="89" y="178"/>
                      <a:pt x="94" y="172"/>
                      <a:pt x="94" y="165"/>
                    </a:cubicBezTo>
                    <a:cubicBezTo>
                      <a:pt x="94" y="159"/>
                      <a:pt x="89" y="153"/>
                      <a:pt x="82" y="153"/>
                    </a:cubicBezTo>
                    <a:close/>
                    <a:moveTo>
                      <a:pt x="82" y="184"/>
                    </a:moveTo>
                    <a:cubicBezTo>
                      <a:pt x="76" y="184"/>
                      <a:pt x="70" y="189"/>
                      <a:pt x="70" y="196"/>
                    </a:cubicBezTo>
                    <a:cubicBezTo>
                      <a:pt x="70" y="203"/>
                      <a:pt x="76" y="208"/>
                      <a:pt x="82" y="208"/>
                    </a:cubicBezTo>
                    <a:cubicBezTo>
                      <a:pt x="89" y="208"/>
                      <a:pt x="94" y="203"/>
                      <a:pt x="94" y="196"/>
                    </a:cubicBezTo>
                    <a:cubicBezTo>
                      <a:pt x="94" y="189"/>
                      <a:pt x="89" y="184"/>
                      <a:pt x="82" y="184"/>
                    </a:cubicBezTo>
                    <a:close/>
                    <a:moveTo>
                      <a:pt x="82" y="215"/>
                    </a:moveTo>
                    <a:cubicBezTo>
                      <a:pt x="76" y="215"/>
                      <a:pt x="70" y="220"/>
                      <a:pt x="70" y="227"/>
                    </a:cubicBezTo>
                    <a:cubicBezTo>
                      <a:pt x="70" y="234"/>
                      <a:pt x="76" y="239"/>
                      <a:pt x="82" y="239"/>
                    </a:cubicBezTo>
                    <a:cubicBezTo>
                      <a:pt x="89" y="239"/>
                      <a:pt x="94" y="234"/>
                      <a:pt x="94" y="227"/>
                    </a:cubicBezTo>
                    <a:cubicBezTo>
                      <a:pt x="94" y="220"/>
                      <a:pt x="89" y="215"/>
                      <a:pt x="82" y="215"/>
                    </a:cubicBezTo>
                    <a:close/>
                    <a:moveTo>
                      <a:pt x="82" y="122"/>
                    </a:moveTo>
                    <a:cubicBezTo>
                      <a:pt x="76" y="122"/>
                      <a:pt x="70" y="128"/>
                      <a:pt x="70" y="135"/>
                    </a:cubicBezTo>
                    <a:cubicBezTo>
                      <a:pt x="70" y="141"/>
                      <a:pt x="76" y="147"/>
                      <a:pt x="82" y="147"/>
                    </a:cubicBezTo>
                    <a:cubicBezTo>
                      <a:pt x="89" y="147"/>
                      <a:pt x="94" y="141"/>
                      <a:pt x="94" y="135"/>
                    </a:cubicBezTo>
                    <a:cubicBezTo>
                      <a:pt x="94" y="128"/>
                      <a:pt x="89" y="122"/>
                      <a:pt x="82" y="122"/>
                    </a:cubicBezTo>
                    <a:close/>
                    <a:moveTo>
                      <a:pt x="82" y="92"/>
                    </a:moveTo>
                    <a:cubicBezTo>
                      <a:pt x="76" y="92"/>
                      <a:pt x="70" y="97"/>
                      <a:pt x="70" y="104"/>
                    </a:cubicBezTo>
                    <a:cubicBezTo>
                      <a:pt x="70" y="111"/>
                      <a:pt x="76" y="116"/>
                      <a:pt x="82" y="116"/>
                    </a:cubicBezTo>
                    <a:cubicBezTo>
                      <a:pt x="89" y="116"/>
                      <a:pt x="94" y="111"/>
                      <a:pt x="94" y="104"/>
                    </a:cubicBezTo>
                    <a:cubicBezTo>
                      <a:pt x="94" y="97"/>
                      <a:pt x="89" y="92"/>
                      <a:pt x="82" y="92"/>
                    </a:cubicBezTo>
                    <a:close/>
                    <a:moveTo>
                      <a:pt x="12" y="122"/>
                    </a:moveTo>
                    <a:cubicBezTo>
                      <a:pt x="5" y="122"/>
                      <a:pt x="0" y="128"/>
                      <a:pt x="0" y="135"/>
                    </a:cubicBezTo>
                    <a:cubicBezTo>
                      <a:pt x="0" y="141"/>
                      <a:pt x="5" y="147"/>
                      <a:pt x="12" y="147"/>
                    </a:cubicBezTo>
                    <a:cubicBezTo>
                      <a:pt x="19" y="147"/>
                      <a:pt x="24" y="141"/>
                      <a:pt x="24" y="135"/>
                    </a:cubicBezTo>
                    <a:cubicBezTo>
                      <a:pt x="24" y="128"/>
                      <a:pt x="19" y="122"/>
                      <a:pt x="12" y="122"/>
                    </a:cubicBezTo>
                    <a:close/>
                    <a:moveTo>
                      <a:pt x="47" y="92"/>
                    </a:moveTo>
                    <a:cubicBezTo>
                      <a:pt x="40" y="92"/>
                      <a:pt x="35" y="97"/>
                      <a:pt x="35" y="104"/>
                    </a:cubicBezTo>
                    <a:cubicBezTo>
                      <a:pt x="35" y="111"/>
                      <a:pt x="40" y="116"/>
                      <a:pt x="47" y="116"/>
                    </a:cubicBezTo>
                    <a:cubicBezTo>
                      <a:pt x="54" y="116"/>
                      <a:pt x="59" y="111"/>
                      <a:pt x="59" y="104"/>
                    </a:cubicBezTo>
                    <a:cubicBezTo>
                      <a:pt x="59" y="97"/>
                      <a:pt x="54" y="92"/>
                      <a:pt x="47" y="92"/>
                    </a:cubicBezTo>
                    <a:close/>
                    <a:moveTo>
                      <a:pt x="47" y="122"/>
                    </a:moveTo>
                    <a:cubicBezTo>
                      <a:pt x="40" y="122"/>
                      <a:pt x="35" y="128"/>
                      <a:pt x="35" y="135"/>
                    </a:cubicBezTo>
                    <a:cubicBezTo>
                      <a:pt x="35" y="141"/>
                      <a:pt x="40" y="147"/>
                      <a:pt x="47" y="147"/>
                    </a:cubicBezTo>
                    <a:cubicBezTo>
                      <a:pt x="54" y="147"/>
                      <a:pt x="59" y="141"/>
                      <a:pt x="59" y="135"/>
                    </a:cubicBezTo>
                    <a:cubicBezTo>
                      <a:pt x="59" y="128"/>
                      <a:pt x="54" y="122"/>
                      <a:pt x="47" y="122"/>
                    </a:cubicBezTo>
                    <a:close/>
                    <a:moveTo>
                      <a:pt x="47" y="153"/>
                    </a:moveTo>
                    <a:cubicBezTo>
                      <a:pt x="40" y="153"/>
                      <a:pt x="35" y="159"/>
                      <a:pt x="35" y="165"/>
                    </a:cubicBezTo>
                    <a:cubicBezTo>
                      <a:pt x="35" y="172"/>
                      <a:pt x="40" y="178"/>
                      <a:pt x="47" y="178"/>
                    </a:cubicBezTo>
                    <a:cubicBezTo>
                      <a:pt x="54" y="178"/>
                      <a:pt x="59" y="172"/>
                      <a:pt x="59" y="165"/>
                    </a:cubicBezTo>
                    <a:cubicBezTo>
                      <a:pt x="59" y="159"/>
                      <a:pt x="54" y="153"/>
                      <a:pt x="47" y="153"/>
                    </a:cubicBezTo>
                    <a:close/>
                    <a:moveTo>
                      <a:pt x="468" y="153"/>
                    </a:moveTo>
                    <a:cubicBezTo>
                      <a:pt x="461" y="153"/>
                      <a:pt x="456" y="159"/>
                      <a:pt x="456" y="165"/>
                    </a:cubicBezTo>
                    <a:cubicBezTo>
                      <a:pt x="456" y="172"/>
                      <a:pt x="461" y="178"/>
                      <a:pt x="468" y="178"/>
                    </a:cubicBezTo>
                    <a:cubicBezTo>
                      <a:pt x="474" y="178"/>
                      <a:pt x="480" y="172"/>
                      <a:pt x="480" y="165"/>
                    </a:cubicBezTo>
                    <a:cubicBezTo>
                      <a:pt x="480" y="159"/>
                      <a:pt x="474" y="153"/>
                      <a:pt x="468" y="153"/>
                    </a:cubicBezTo>
                    <a:close/>
                    <a:moveTo>
                      <a:pt x="468" y="307"/>
                    </a:moveTo>
                    <a:cubicBezTo>
                      <a:pt x="461" y="307"/>
                      <a:pt x="456" y="312"/>
                      <a:pt x="456" y="319"/>
                    </a:cubicBezTo>
                    <a:cubicBezTo>
                      <a:pt x="456" y="326"/>
                      <a:pt x="461" y="331"/>
                      <a:pt x="468" y="331"/>
                    </a:cubicBezTo>
                    <a:cubicBezTo>
                      <a:pt x="474" y="331"/>
                      <a:pt x="480" y="326"/>
                      <a:pt x="480" y="319"/>
                    </a:cubicBezTo>
                    <a:cubicBezTo>
                      <a:pt x="480" y="312"/>
                      <a:pt x="474" y="307"/>
                      <a:pt x="468" y="307"/>
                    </a:cubicBezTo>
                    <a:close/>
                    <a:moveTo>
                      <a:pt x="468" y="184"/>
                    </a:moveTo>
                    <a:cubicBezTo>
                      <a:pt x="461" y="184"/>
                      <a:pt x="456" y="189"/>
                      <a:pt x="456" y="196"/>
                    </a:cubicBezTo>
                    <a:cubicBezTo>
                      <a:pt x="456" y="203"/>
                      <a:pt x="461" y="208"/>
                      <a:pt x="468" y="208"/>
                    </a:cubicBezTo>
                    <a:cubicBezTo>
                      <a:pt x="474" y="208"/>
                      <a:pt x="480" y="203"/>
                      <a:pt x="480" y="196"/>
                    </a:cubicBezTo>
                    <a:cubicBezTo>
                      <a:pt x="480" y="189"/>
                      <a:pt x="474" y="184"/>
                      <a:pt x="468" y="184"/>
                    </a:cubicBezTo>
                    <a:close/>
                    <a:moveTo>
                      <a:pt x="468" y="245"/>
                    </a:moveTo>
                    <a:cubicBezTo>
                      <a:pt x="461" y="245"/>
                      <a:pt x="456" y="251"/>
                      <a:pt x="456" y="258"/>
                    </a:cubicBezTo>
                    <a:cubicBezTo>
                      <a:pt x="456" y="264"/>
                      <a:pt x="461" y="270"/>
                      <a:pt x="468" y="270"/>
                    </a:cubicBezTo>
                    <a:cubicBezTo>
                      <a:pt x="474" y="270"/>
                      <a:pt x="480" y="264"/>
                      <a:pt x="480" y="258"/>
                    </a:cubicBezTo>
                    <a:cubicBezTo>
                      <a:pt x="480" y="251"/>
                      <a:pt x="474" y="245"/>
                      <a:pt x="468" y="245"/>
                    </a:cubicBezTo>
                    <a:close/>
                    <a:moveTo>
                      <a:pt x="468" y="276"/>
                    </a:moveTo>
                    <a:cubicBezTo>
                      <a:pt x="461" y="276"/>
                      <a:pt x="456" y="282"/>
                      <a:pt x="456" y="288"/>
                    </a:cubicBezTo>
                    <a:cubicBezTo>
                      <a:pt x="456" y="295"/>
                      <a:pt x="461" y="301"/>
                      <a:pt x="468" y="301"/>
                    </a:cubicBezTo>
                    <a:cubicBezTo>
                      <a:pt x="474" y="301"/>
                      <a:pt x="480" y="295"/>
                      <a:pt x="480" y="288"/>
                    </a:cubicBezTo>
                    <a:cubicBezTo>
                      <a:pt x="480" y="282"/>
                      <a:pt x="474" y="276"/>
                      <a:pt x="468" y="276"/>
                    </a:cubicBezTo>
                    <a:close/>
                    <a:moveTo>
                      <a:pt x="468" y="215"/>
                    </a:moveTo>
                    <a:cubicBezTo>
                      <a:pt x="461" y="215"/>
                      <a:pt x="456" y="220"/>
                      <a:pt x="456" y="227"/>
                    </a:cubicBezTo>
                    <a:cubicBezTo>
                      <a:pt x="456" y="234"/>
                      <a:pt x="461" y="239"/>
                      <a:pt x="468" y="239"/>
                    </a:cubicBezTo>
                    <a:cubicBezTo>
                      <a:pt x="474" y="239"/>
                      <a:pt x="480" y="234"/>
                      <a:pt x="480" y="227"/>
                    </a:cubicBezTo>
                    <a:cubicBezTo>
                      <a:pt x="480" y="220"/>
                      <a:pt x="474" y="215"/>
                      <a:pt x="468" y="215"/>
                    </a:cubicBezTo>
                    <a:close/>
                    <a:moveTo>
                      <a:pt x="468" y="122"/>
                    </a:moveTo>
                    <a:cubicBezTo>
                      <a:pt x="461" y="122"/>
                      <a:pt x="456" y="128"/>
                      <a:pt x="456" y="135"/>
                    </a:cubicBezTo>
                    <a:cubicBezTo>
                      <a:pt x="456" y="141"/>
                      <a:pt x="461" y="147"/>
                      <a:pt x="468" y="147"/>
                    </a:cubicBezTo>
                    <a:cubicBezTo>
                      <a:pt x="474" y="147"/>
                      <a:pt x="480" y="141"/>
                      <a:pt x="480" y="135"/>
                    </a:cubicBezTo>
                    <a:cubicBezTo>
                      <a:pt x="480" y="128"/>
                      <a:pt x="474" y="122"/>
                      <a:pt x="468" y="122"/>
                    </a:cubicBezTo>
                    <a:close/>
                    <a:moveTo>
                      <a:pt x="468" y="30"/>
                    </a:moveTo>
                    <a:cubicBezTo>
                      <a:pt x="461" y="30"/>
                      <a:pt x="456" y="36"/>
                      <a:pt x="456" y="42"/>
                    </a:cubicBezTo>
                    <a:cubicBezTo>
                      <a:pt x="456" y="49"/>
                      <a:pt x="461" y="55"/>
                      <a:pt x="468" y="55"/>
                    </a:cubicBezTo>
                    <a:cubicBezTo>
                      <a:pt x="474" y="55"/>
                      <a:pt x="480" y="49"/>
                      <a:pt x="480" y="42"/>
                    </a:cubicBezTo>
                    <a:cubicBezTo>
                      <a:pt x="480" y="36"/>
                      <a:pt x="474" y="30"/>
                      <a:pt x="468" y="30"/>
                    </a:cubicBezTo>
                    <a:close/>
                    <a:moveTo>
                      <a:pt x="468" y="61"/>
                    </a:moveTo>
                    <a:cubicBezTo>
                      <a:pt x="461" y="61"/>
                      <a:pt x="456" y="66"/>
                      <a:pt x="456" y="73"/>
                    </a:cubicBezTo>
                    <a:cubicBezTo>
                      <a:pt x="456" y="80"/>
                      <a:pt x="461" y="85"/>
                      <a:pt x="468" y="85"/>
                    </a:cubicBezTo>
                    <a:cubicBezTo>
                      <a:pt x="474" y="85"/>
                      <a:pt x="480" y="80"/>
                      <a:pt x="480" y="73"/>
                    </a:cubicBezTo>
                    <a:cubicBezTo>
                      <a:pt x="480" y="66"/>
                      <a:pt x="474" y="61"/>
                      <a:pt x="468" y="61"/>
                    </a:cubicBezTo>
                    <a:close/>
                    <a:moveTo>
                      <a:pt x="468" y="92"/>
                    </a:moveTo>
                    <a:cubicBezTo>
                      <a:pt x="461" y="92"/>
                      <a:pt x="456" y="97"/>
                      <a:pt x="456" y="104"/>
                    </a:cubicBezTo>
                    <a:cubicBezTo>
                      <a:pt x="456" y="111"/>
                      <a:pt x="461" y="116"/>
                      <a:pt x="468" y="116"/>
                    </a:cubicBezTo>
                    <a:cubicBezTo>
                      <a:pt x="474" y="116"/>
                      <a:pt x="480" y="111"/>
                      <a:pt x="480" y="104"/>
                    </a:cubicBezTo>
                    <a:cubicBezTo>
                      <a:pt x="480" y="97"/>
                      <a:pt x="474" y="92"/>
                      <a:pt x="468" y="92"/>
                    </a:cubicBezTo>
                    <a:close/>
                    <a:moveTo>
                      <a:pt x="468" y="553"/>
                    </a:moveTo>
                    <a:cubicBezTo>
                      <a:pt x="461" y="553"/>
                      <a:pt x="456" y="558"/>
                      <a:pt x="456" y="565"/>
                    </a:cubicBezTo>
                    <a:cubicBezTo>
                      <a:pt x="456" y="572"/>
                      <a:pt x="461" y="577"/>
                      <a:pt x="468" y="577"/>
                    </a:cubicBezTo>
                    <a:cubicBezTo>
                      <a:pt x="474" y="577"/>
                      <a:pt x="480" y="572"/>
                      <a:pt x="480" y="565"/>
                    </a:cubicBezTo>
                    <a:cubicBezTo>
                      <a:pt x="480" y="558"/>
                      <a:pt x="474" y="553"/>
                      <a:pt x="468" y="553"/>
                    </a:cubicBezTo>
                    <a:close/>
                    <a:moveTo>
                      <a:pt x="468" y="522"/>
                    </a:moveTo>
                    <a:cubicBezTo>
                      <a:pt x="461" y="522"/>
                      <a:pt x="456" y="528"/>
                      <a:pt x="456" y="534"/>
                    </a:cubicBezTo>
                    <a:cubicBezTo>
                      <a:pt x="456" y="541"/>
                      <a:pt x="461" y="546"/>
                      <a:pt x="468" y="546"/>
                    </a:cubicBezTo>
                    <a:cubicBezTo>
                      <a:pt x="474" y="546"/>
                      <a:pt x="480" y="541"/>
                      <a:pt x="480" y="534"/>
                    </a:cubicBezTo>
                    <a:cubicBezTo>
                      <a:pt x="480" y="528"/>
                      <a:pt x="474" y="522"/>
                      <a:pt x="468" y="522"/>
                    </a:cubicBezTo>
                    <a:close/>
                    <a:moveTo>
                      <a:pt x="468" y="338"/>
                    </a:moveTo>
                    <a:cubicBezTo>
                      <a:pt x="461" y="338"/>
                      <a:pt x="456" y="343"/>
                      <a:pt x="456" y="350"/>
                    </a:cubicBezTo>
                    <a:cubicBezTo>
                      <a:pt x="456" y="357"/>
                      <a:pt x="461" y="362"/>
                      <a:pt x="468" y="362"/>
                    </a:cubicBezTo>
                    <a:cubicBezTo>
                      <a:pt x="474" y="362"/>
                      <a:pt x="480" y="357"/>
                      <a:pt x="480" y="350"/>
                    </a:cubicBezTo>
                    <a:cubicBezTo>
                      <a:pt x="480" y="343"/>
                      <a:pt x="474" y="338"/>
                      <a:pt x="468" y="338"/>
                    </a:cubicBezTo>
                    <a:close/>
                    <a:moveTo>
                      <a:pt x="468" y="491"/>
                    </a:moveTo>
                    <a:cubicBezTo>
                      <a:pt x="461" y="491"/>
                      <a:pt x="456" y="497"/>
                      <a:pt x="456" y="504"/>
                    </a:cubicBezTo>
                    <a:cubicBezTo>
                      <a:pt x="456" y="510"/>
                      <a:pt x="461" y="516"/>
                      <a:pt x="468" y="516"/>
                    </a:cubicBezTo>
                    <a:cubicBezTo>
                      <a:pt x="474" y="516"/>
                      <a:pt x="480" y="510"/>
                      <a:pt x="480" y="504"/>
                    </a:cubicBezTo>
                    <a:cubicBezTo>
                      <a:pt x="480" y="497"/>
                      <a:pt x="474" y="491"/>
                      <a:pt x="468" y="491"/>
                    </a:cubicBezTo>
                    <a:close/>
                    <a:moveTo>
                      <a:pt x="468" y="614"/>
                    </a:moveTo>
                    <a:cubicBezTo>
                      <a:pt x="461" y="614"/>
                      <a:pt x="456" y="620"/>
                      <a:pt x="456" y="627"/>
                    </a:cubicBezTo>
                    <a:cubicBezTo>
                      <a:pt x="456" y="633"/>
                      <a:pt x="461" y="639"/>
                      <a:pt x="468" y="639"/>
                    </a:cubicBezTo>
                    <a:cubicBezTo>
                      <a:pt x="474" y="639"/>
                      <a:pt x="480" y="633"/>
                      <a:pt x="480" y="627"/>
                    </a:cubicBezTo>
                    <a:cubicBezTo>
                      <a:pt x="480" y="620"/>
                      <a:pt x="474" y="614"/>
                      <a:pt x="468" y="614"/>
                    </a:cubicBezTo>
                    <a:close/>
                    <a:moveTo>
                      <a:pt x="468" y="584"/>
                    </a:moveTo>
                    <a:cubicBezTo>
                      <a:pt x="461" y="584"/>
                      <a:pt x="456" y="589"/>
                      <a:pt x="456" y="596"/>
                    </a:cubicBezTo>
                    <a:cubicBezTo>
                      <a:pt x="456" y="603"/>
                      <a:pt x="461" y="608"/>
                      <a:pt x="468" y="608"/>
                    </a:cubicBezTo>
                    <a:cubicBezTo>
                      <a:pt x="474" y="608"/>
                      <a:pt x="480" y="603"/>
                      <a:pt x="480" y="596"/>
                    </a:cubicBezTo>
                    <a:cubicBezTo>
                      <a:pt x="480" y="589"/>
                      <a:pt x="474" y="584"/>
                      <a:pt x="468" y="584"/>
                    </a:cubicBezTo>
                    <a:close/>
                    <a:moveTo>
                      <a:pt x="468" y="461"/>
                    </a:moveTo>
                    <a:cubicBezTo>
                      <a:pt x="461" y="461"/>
                      <a:pt x="456" y="466"/>
                      <a:pt x="456" y="473"/>
                    </a:cubicBezTo>
                    <a:cubicBezTo>
                      <a:pt x="456" y="480"/>
                      <a:pt x="461" y="485"/>
                      <a:pt x="468" y="485"/>
                    </a:cubicBezTo>
                    <a:cubicBezTo>
                      <a:pt x="474" y="485"/>
                      <a:pt x="480" y="480"/>
                      <a:pt x="480" y="473"/>
                    </a:cubicBezTo>
                    <a:cubicBezTo>
                      <a:pt x="480" y="466"/>
                      <a:pt x="474" y="461"/>
                      <a:pt x="468" y="461"/>
                    </a:cubicBezTo>
                    <a:close/>
                    <a:moveTo>
                      <a:pt x="468" y="368"/>
                    </a:moveTo>
                    <a:cubicBezTo>
                      <a:pt x="461" y="368"/>
                      <a:pt x="456" y="374"/>
                      <a:pt x="456" y="381"/>
                    </a:cubicBezTo>
                    <a:cubicBezTo>
                      <a:pt x="456" y="387"/>
                      <a:pt x="461" y="393"/>
                      <a:pt x="468" y="393"/>
                    </a:cubicBezTo>
                    <a:cubicBezTo>
                      <a:pt x="474" y="393"/>
                      <a:pt x="480" y="387"/>
                      <a:pt x="480" y="381"/>
                    </a:cubicBezTo>
                    <a:cubicBezTo>
                      <a:pt x="480" y="374"/>
                      <a:pt x="474" y="368"/>
                      <a:pt x="468" y="368"/>
                    </a:cubicBezTo>
                    <a:close/>
                    <a:moveTo>
                      <a:pt x="468" y="399"/>
                    </a:moveTo>
                    <a:cubicBezTo>
                      <a:pt x="461" y="399"/>
                      <a:pt x="456" y="405"/>
                      <a:pt x="456" y="411"/>
                    </a:cubicBezTo>
                    <a:cubicBezTo>
                      <a:pt x="456" y="418"/>
                      <a:pt x="461" y="424"/>
                      <a:pt x="468" y="424"/>
                    </a:cubicBezTo>
                    <a:cubicBezTo>
                      <a:pt x="474" y="424"/>
                      <a:pt x="480" y="418"/>
                      <a:pt x="480" y="411"/>
                    </a:cubicBezTo>
                    <a:cubicBezTo>
                      <a:pt x="480" y="405"/>
                      <a:pt x="474" y="399"/>
                      <a:pt x="468" y="399"/>
                    </a:cubicBezTo>
                    <a:close/>
                    <a:moveTo>
                      <a:pt x="468" y="430"/>
                    </a:moveTo>
                    <a:cubicBezTo>
                      <a:pt x="461" y="430"/>
                      <a:pt x="456" y="435"/>
                      <a:pt x="456" y="442"/>
                    </a:cubicBezTo>
                    <a:cubicBezTo>
                      <a:pt x="456" y="449"/>
                      <a:pt x="461" y="454"/>
                      <a:pt x="468" y="454"/>
                    </a:cubicBezTo>
                    <a:cubicBezTo>
                      <a:pt x="474" y="454"/>
                      <a:pt x="480" y="449"/>
                      <a:pt x="480" y="442"/>
                    </a:cubicBezTo>
                    <a:cubicBezTo>
                      <a:pt x="480" y="435"/>
                      <a:pt x="474" y="430"/>
                      <a:pt x="468" y="430"/>
                    </a:cubicBezTo>
                    <a:close/>
                    <a:moveTo>
                      <a:pt x="503" y="830"/>
                    </a:moveTo>
                    <a:cubicBezTo>
                      <a:pt x="496" y="830"/>
                      <a:pt x="491" y="835"/>
                      <a:pt x="491" y="842"/>
                    </a:cubicBezTo>
                    <a:cubicBezTo>
                      <a:pt x="491" y="848"/>
                      <a:pt x="496" y="854"/>
                      <a:pt x="503" y="854"/>
                    </a:cubicBezTo>
                    <a:cubicBezTo>
                      <a:pt x="509" y="854"/>
                      <a:pt x="515" y="848"/>
                      <a:pt x="515" y="842"/>
                    </a:cubicBezTo>
                    <a:cubicBezTo>
                      <a:pt x="515" y="835"/>
                      <a:pt x="509" y="830"/>
                      <a:pt x="503" y="830"/>
                    </a:cubicBezTo>
                    <a:close/>
                    <a:moveTo>
                      <a:pt x="503" y="799"/>
                    </a:moveTo>
                    <a:cubicBezTo>
                      <a:pt x="496" y="799"/>
                      <a:pt x="491" y="804"/>
                      <a:pt x="491" y="811"/>
                    </a:cubicBezTo>
                    <a:cubicBezTo>
                      <a:pt x="491" y="818"/>
                      <a:pt x="496" y="823"/>
                      <a:pt x="503" y="823"/>
                    </a:cubicBezTo>
                    <a:cubicBezTo>
                      <a:pt x="509" y="823"/>
                      <a:pt x="515" y="818"/>
                      <a:pt x="515" y="811"/>
                    </a:cubicBezTo>
                    <a:cubicBezTo>
                      <a:pt x="515" y="804"/>
                      <a:pt x="509" y="799"/>
                      <a:pt x="503" y="799"/>
                    </a:cubicBezTo>
                    <a:close/>
                    <a:moveTo>
                      <a:pt x="503" y="676"/>
                    </a:moveTo>
                    <a:cubicBezTo>
                      <a:pt x="496" y="676"/>
                      <a:pt x="491" y="681"/>
                      <a:pt x="491" y="688"/>
                    </a:cubicBezTo>
                    <a:cubicBezTo>
                      <a:pt x="491" y="695"/>
                      <a:pt x="496" y="700"/>
                      <a:pt x="503" y="700"/>
                    </a:cubicBezTo>
                    <a:cubicBezTo>
                      <a:pt x="509" y="700"/>
                      <a:pt x="515" y="695"/>
                      <a:pt x="515" y="688"/>
                    </a:cubicBezTo>
                    <a:cubicBezTo>
                      <a:pt x="515" y="681"/>
                      <a:pt x="509" y="676"/>
                      <a:pt x="503" y="676"/>
                    </a:cubicBezTo>
                    <a:close/>
                    <a:moveTo>
                      <a:pt x="503" y="707"/>
                    </a:moveTo>
                    <a:cubicBezTo>
                      <a:pt x="496" y="707"/>
                      <a:pt x="491" y="712"/>
                      <a:pt x="491" y="719"/>
                    </a:cubicBezTo>
                    <a:cubicBezTo>
                      <a:pt x="491" y="725"/>
                      <a:pt x="496" y="731"/>
                      <a:pt x="503" y="731"/>
                    </a:cubicBezTo>
                    <a:cubicBezTo>
                      <a:pt x="509" y="731"/>
                      <a:pt x="515" y="725"/>
                      <a:pt x="515" y="719"/>
                    </a:cubicBezTo>
                    <a:cubicBezTo>
                      <a:pt x="515" y="712"/>
                      <a:pt x="509" y="707"/>
                      <a:pt x="503" y="707"/>
                    </a:cubicBezTo>
                    <a:close/>
                    <a:moveTo>
                      <a:pt x="503" y="768"/>
                    </a:moveTo>
                    <a:cubicBezTo>
                      <a:pt x="496" y="768"/>
                      <a:pt x="491" y="774"/>
                      <a:pt x="491" y="780"/>
                    </a:cubicBezTo>
                    <a:cubicBezTo>
                      <a:pt x="491" y="787"/>
                      <a:pt x="496" y="792"/>
                      <a:pt x="503" y="792"/>
                    </a:cubicBezTo>
                    <a:cubicBezTo>
                      <a:pt x="509" y="792"/>
                      <a:pt x="515" y="787"/>
                      <a:pt x="515" y="780"/>
                    </a:cubicBezTo>
                    <a:cubicBezTo>
                      <a:pt x="515" y="774"/>
                      <a:pt x="509" y="768"/>
                      <a:pt x="503" y="768"/>
                    </a:cubicBezTo>
                    <a:close/>
                    <a:moveTo>
                      <a:pt x="503" y="737"/>
                    </a:moveTo>
                    <a:cubicBezTo>
                      <a:pt x="496" y="737"/>
                      <a:pt x="491" y="743"/>
                      <a:pt x="491" y="750"/>
                    </a:cubicBezTo>
                    <a:cubicBezTo>
                      <a:pt x="491" y="756"/>
                      <a:pt x="496" y="762"/>
                      <a:pt x="503" y="762"/>
                    </a:cubicBezTo>
                    <a:cubicBezTo>
                      <a:pt x="509" y="762"/>
                      <a:pt x="515" y="756"/>
                      <a:pt x="515" y="750"/>
                    </a:cubicBezTo>
                    <a:cubicBezTo>
                      <a:pt x="515" y="743"/>
                      <a:pt x="509" y="737"/>
                      <a:pt x="503" y="737"/>
                    </a:cubicBezTo>
                    <a:close/>
                    <a:moveTo>
                      <a:pt x="468" y="645"/>
                    </a:moveTo>
                    <a:cubicBezTo>
                      <a:pt x="461" y="645"/>
                      <a:pt x="456" y="651"/>
                      <a:pt x="456" y="657"/>
                    </a:cubicBezTo>
                    <a:cubicBezTo>
                      <a:pt x="456" y="664"/>
                      <a:pt x="461" y="669"/>
                      <a:pt x="468" y="669"/>
                    </a:cubicBezTo>
                    <a:cubicBezTo>
                      <a:pt x="474" y="669"/>
                      <a:pt x="480" y="664"/>
                      <a:pt x="480" y="657"/>
                    </a:cubicBezTo>
                    <a:cubicBezTo>
                      <a:pt x="480" y="651"/>
                      <a:pt x="474" y="645"/>
                      <a:pt x="468" y="645"/>
                    </a:cubicBezTo>
                    <a:close/>
                    <a:moveTo>
                      <a:pt x="433" y="245"/>
                    </a:moveTo>
                    <a:cubicBezTo>
                      <a:pt x="426" y="245"/>
                      <a:pt x="420" y="251"/>
                      <a:pt x="420" y="258"/>
                    </a:cubicBezTo>
                    <a:cubicBezTo>
                      <a:pt x="420" y="264"/>
                      <a:pt x="426" y="270"/>
                      <a:pt x="433" y="270"/>
                    </a:cubicBezTo>
                    <a:cubicBezTo>
                      <a:pt x="439" y="270"/>
                      <a:pt x="445" y="264"/>
                      <a:pt x="445" y="258"/>
                    </a:cubicBezTo>
                    <a:cubicBezTo>
                      <a:pt x="445" y="251"/>
                      <a:pt x="439" y="245"/>
                      <a:pt x="433" y="245"/>
                    </a:cubicBezTo>
                    <a:close/>
                    <a:moveTo>
                      <a:pt x="503" y="645"/>
                    </a:moveTo>
                    <a:cubicBezTo>
                      <a:pt x="496" y="645"/>
                      <a:pt x="491" y="651"/>
                      <a:pt x="491" y="657"/>
                    </a:cubicBezTo>
                    <a:cubicBezTo>
                      <a:pt x="491" y="664"/>
                      <a:pt x="496" y="669"/>
                      <a:pt x="503" y="669"/>
                    </a:cubicBezTo>
                    <a:cubicBezTo>
                      <a:pt x="509" y="669"/>
                      <a:pt x="515" y="664"/>
                      <a:pt x="515" y="657"/>
                    </a:cubicBezTo>
                    <a:cubicBezTo>
                      <a:pt x="515" y="651"/>
                      <a:pt x="509" y="645"/>
                      <a:pt x="503" y="645"/>
                    </a:cubicBezTo>
                    <a:close/>
                    <a:moveTo>
                      <a:pt x="433" y="184"/>
                    </a:moveTo>
                    <a:cubicBezTo>
                      <a:pt x="426" y="184"/>
                      <a:pt x="420" y="189"/>
                      <a:pt x="420" y="196"/>
                    </a:cubicBezTo>
                    <a:cubicBezTo>
                      <a:pt x="420" y="203"/>
                      <a:pt x="426" y="208"/>
                      <a:pt x="433" y="208"/>
                    </a:cubicBezTo>
                    <a:cubicBezTo>
                      <a:pt x="439" y="208"/>
                      <a:pt x="445" y="203"/>
                      <a:pt x="445" y="196"/>
                    </a:cubicBezTo>
                    <a:cubicBezTo>
                      <a:pt x="445" y="189"/>
                      <a:pt x="439" y="184"/>
                      <a:pt x="433" y="184"/>
                    </a:cubicBezTo>
                    <a:close/>
                    <a:moveTo>
                      <a:pt x="433" y="215"/>
                    </a:moveTo>
                    <a:cubicBezTo>
                      <a:pt x="426" y="215"/>
                      <a:pt x="420" y="220"/>
                      <a:pt x="420" y="227"/>
                    </a:cubicBezTo>
                    <a:cubicBezTo>
                      <a:pt x="420" y="234"/>
                      <a:pt x="426" y="239"/>
                      <a:pt x="433" y="239"/>
                    </a:cubicBezTo>
                    <a:cubicBezTo>
                      <a:pt x="439" y="239"/>
                      <a:pt x="445" y="234"/>
                      <a:pt x="445" y="227"/>
                    </a:cubicBezTo>
                    <a:cubicBezTo>
                      <a:pt x="445" y="220"/>
                      <a:pt x="439" y="215"/>
                      <a:pt x="433" y="215"/>
                    </a:cubicBezTo>
                    <a:close/>
                    <a:moveTo>
                      <a:pt x="433" y="276"/>
                    </a:moveTo>
                    <a:cubicBezTo>
                      <a:pt x="426" y="276"/>
                      <a:pt x="420" y="282"/>
                      <a:pt x="420" y="288"/>
                    </a:cubicBezTo>
                    <a:cubicBezTo>
                      <a:pt x="420" y="295"/>
                      <a:pt x="426" y="301"/>
                      <a:pt x="433" y="301"/>
                    </a:cubicBezTo>
                    <a:cubicBezTo>
                      <a:pt x="439" y="301"/>
                      <a:pt x="445" y="295"/>
                      <a:pt x="445" y="288"/>
                    </a:cubicBezTo>
                    <a:cubicBezTo>
                      <a:pt x="445" y="282"/>
                      <a:pt x="439" y="276"/>
                      <a:pt x="433" y="276"/>
                    </a:cubicBezTo>
                    <a:close/>
                    <a:moveTo>
                      <a:pt x="433" y="307"/>
                    </a:moveTo>
                    <a:cubicBezTo>
                      <a:pt x="426" y="307"/>
                      <a:pt x="420" y="312"/>
                      <a:pt x="420" y="319"/>
                    </a:cubicBezTo>
                    <a:cubicBezTo>
                      <a:pt x="420" y="326"/>
                      <a:pt x="426" y="331"/>
                      <a:pt x="433" y="331"/>
                    </a:cubicBezTo>
                    <a:cubicBezTo>
                      <a:pt x="439" y="331"/>
                      <a:pt x="445" y="326"/>
                      <a:pt x="445" y="319"/>
                    </a:cubicBezTo>
                    <a:cubicBezTo>
                      <a:pt x="445" y="312"/>
                      <a:pt x="439" y="307"/>
                      <a:pt x="433" y="307"/>
                    </a:cubicBezTo>
                    <a:close/>
                    <a:moveTo>
                      <a:pt x="433" y="92"/>
                    </a:moveTo>
                    <a:cubicBezTo>
                      <a:pt x="426" y="92"/>
                      <a:pt x="420" y="97"/>
                      <a:pt x="420" y="104"/>
                    </a:cubicBezTo>
                    <a:cubicBezTo>
                      <a:pt x="420" y="111"/>
                      <a:pt x="426" y="116"/>
                      <a:pt x="433" y="116"/>
                    </a:cubicBezTo>
                    <a:cubicBezTo>
                      <a:pt x="439" y="116"/>
                      <a:pt x="445" y="111"/>
                      <a:pt x="445" y="104"/>
                    </a:cubicBezTo>
                    <a:cubicBezTo>
                      <a:pt x="445" y="97"/>
                      <a:pt x="439" y="92"/>
                      <a:pt x="433" y="92"/>
                    </a:cubicBezTo>
                    <a:close/>
                    <a:moveTo>
                      <a:pt x="433" y="338"/>
                    </a:moveTo>
                    <a:cubicBezTo>
                      <a:pt x="426" y="338"/>
                      <a:pt x="420" y="343"/>
                      <a:pt x="420" y="350"/>
                    </a:cubicBezTo>
                    <a:cubicBezTo>
                      <a:pt x="420" y="357"/>
                      <a:pt x="426" y="362"/>
                      <a:pt x="433" y="362"/>
                    </a:cubicBezTo>
                    <a:cubicBezTo>
                      <a:pt x="439" y="362"/>
                      <a:pt x="445" y="357"/>
                      <a:pt x="445" y="350"/>
                    </a:cubicBezTo>
                    <a:cubicBezTo>
                      <a:pt x="445" y="343"/>
                      <a:pt x="439" y="338"/>
                      <a:pt x="433" y="338"/>
                    </a:cubicBezTo>
                    <a:close/>
                    <a:moveTo>
                      <a:pt x="433" y="61"/>
                    </a:moveTo>
                    <a:cubicBezTo>
                      <a:pt x="426" y="61"/>
                      <a:pt x="420" y="66"/>
                      <a:pt x="420" y="73"/>
                    </a:cubicBezTo>
                    <a:cubicBezTo>
                      <a:pt x="420" y="80"/>
                      <a:pt x="426" y="85"/>
                      <a:pt x="433" y="85"/>
                    </a:cubicBezTo>
                    <a:cubicBezTo>
                      <a:pt x="439" y="85"/>
                      <a:pt x="445" y="80"/>
                      <a:pt x="445" y="73"/>
                    </a:cubicBezTo>
                    <a:cubicBezTo>
                      <a:pt x="445" y="66"/>
                      <a:pt x="439" y="61"/>
                      <a:pt x="433" y="61"/>
                    </a:cubicBezTo>
                    <a:close/>
                    <a:moveTo>
                      <a:pt x="433" y="153"/>
                    </a:moveTo>
                    <a:cubicBezTo>
                      <a:pt x="426" y="153"/>
                      <a:pt x="420" y="159"/>
                      <a:pt x="420" y="165"/>
                    </a:cubicBezTo>
                    <a:cubicBezTo>
                      <a:pt x="420" y="172"/>
                      <a:pt x="426" y="178"/>
                      <a:pt x="433" y="178"/>
                    </a:cubicBezTo>
                    <a:cubicBezTo>
                      <a:pt x="439" y="178"/>
                      <a:pt x="445" y="172"/>
                      <a:pt x="445" y="165"/>
                    </a:cubicBezTo>
                    <a:cubicBezTo>
                      <a:pt x="445" y="159"/>
                      <a:pt x="439" y="153"/>
                      <a:pt x="433" y="153"/>
                    </a:cubicBezTo>
                    <a:close/>
                    <a:moveTo>
                      <a:pt x="433" y="30"/>
                    </a:moveTo>
                    <a:cubicBezTo>
                      <a:pt x="426" y="30"/>
                      <a:pt x="420" y="36"/>
                      <a:pt x="420" y="42"/>
                    </a:cubicBezTo>
                    <a:cubicBezTo>
                      <a:pt x="420" y="49"/>
                      <a:pt x="426" y="55"/>
                      <a:pt x="433" y="55"/>
                    </a:cubicBezTo>
                    <a:cubicBezTo>
                      <a:pt x="439" y="55"/>
                      <a:pt x="445" y="49"/>
                      <a:pt x="445" y="42"/>
                    </a:cubicBezTo>
                    <a:cubicBezTo>
                      <a:pt x="445" y="36"/>
                      <a:pt x="439" y="30"/>
                      <a:pt x="433" y="30"/>
                    </a:cubicBezTo>
                    <a:close/>
                    <a:moveTo>
                      <a:pt x="433" y="122"/>
                    </a:moveTo>
                    <a:cubicBezTo>
                      <a:pt x="426" y="122"/>
                      <a:pt x="420" y="128"/>
                      <a:pt x="420" y="135"/>
                    </a:cubicBezTo>
                    <a:cubicBezTo>
                      <a:pt x="420" y="141"/>
                      <a:pt x="426" y="147"/>
                      <a:pt x="433" y="147"/>
                    </a:cubicBezTo>
                    <a:cubicBezTo>
                      <a:pt x="439" y="147"/>
                      <a:pt x="445" y="141"/>
                      <a:pt x="445" y="135"/>
                    </a:cubicBezTo>
                    <a:cubicBezTo>
                      <a:pt x="445" y="128"/>
                      <a:pt x="439" y="122"/>
                      <a:pt x="433" y="122"/>
                    </a:cubicBezTo>
                    <a:close/>
                    <a:moveTo>
                      <a:pt x="433" y="553"/>
                    </a:moveTo>
                    <a:cubicBezTo>
                      <a:pt x="426" y="553"/>
                      <a:pt x="420" y="558"/>
                      <a:pt x="420" y="565"/>
                    </a:cubicBezTo>
                    <a:cubicBezTo>
                      <a:pt x="420" y="572"/>
                      <a:pt x="426" y="577"/>
                      <a:pt x="433" y="577"/>
                    </a:cubicBezTo>
                    <a:cubicBezTo>
                      <a:pt x="439" y="577"/>
                      <a:pt x="445" y="572"/>
                      <a:pt x="445" y="565"/>
                    </a:cubicBezTo>
                    <a:cubicBezTo>
                      <a:pt x="445" y="558"/>
                      <a:pt x="439" y="553"/>
                      <a:pt x="433" y="553"/>
                    </a:cubicBezTo>
                    <a:close/>
                    <a:moveTo>
                      <a:pt x="433" y="584"/>
                    </a:moveTo>
                    <a:cubicBezTo>
                      <a:pt x="426" y="584"/>
                      <a:pt x="420" y="589"/>
                      <a:pt x="420" y="596"/>
                    </a:cubicBezTo>
                    <a:cubicBezTo>
                      <a:pt x="420" y="603"/>
                      <a:pt x="426" y="608"/>
                      <a:pt x="433" y="608"/>
                    </a:cubicBezTo>
                    <a:cubicBezTo>
                      <a:pt x="439" y="608"/>
                      <a:pt x="445" y="603"/>
                      <a:pt x="445" y="596"/>
                    </a:cubicBezTo>
                    <a:cubicBezTo>
                      <a:pt x="445" y="589"/>
                      <a:pt x="439" y="584"/>
                      <a:pt x="433" y="584"/>
                    </a:cubicBezTo>
                    <a:close/>
                    <a:moveTo>
                      <a:pt x="433" y="645"/>
                    </a:moveTo>
                    <a:cubicBezTo>
                      <a:pt x="426" y="645"/>
                      <a:pt x="420" y="651"/>
                      <a:pt x="420" y="657"/>
                    </a:cubicBezTo>
                    <a:cubicBezTo>
                      <a:pt x="420" y="664"/>
                      <a:pt x="426" y="669"/>
                      <a:pt x="433" y="669"/>
                    </a:cubicBezTo>
                    <a:cubicBezTo>
                      <a:pt x="439" y="669"/>
                      <a:pt x="445" y="664"/>
                      <a:pt x="445" y="657"/>
                    </a:cubicBezTo>
                    <a:cubicBezTo>
                      <a:pt x="445" y="651"/>
                      <a:pt x="439" y="645"/>
                      <a:pt x="433" y="645"/>
                    </a:cubicBezTo>
                    <a:close/>
                    <a:moveTo>
                      <a:pt x="433" y="522"/>
                    </a:moveTo>
                    <a:cubicBezTo>
                      <a:pt x="426" y="522"/>
                      <a:pt x="420" y="528"/>
                      <a:pt x="420" y="534"/>
                    </a:cubicBezTo>
                    <a:cubicBezTo>
                      <a:pt x="420" y="541"/>
                      <a:pt x="426" y="546"/>
                      <a:pt x="433" y="546"/>
                    </a:cubicBezTo>
                    <a:cubicBezTo>
                      <a:pt x="439" y="546"/>
                      <a:pt x="445" y="541"/>
                      <a:pt x="445" y="534"/>
                    </a:cubicBezTo>
                    <a:cubicBezTo>
                      <a:pt x="445" y="528"/>
                      <a:pt x="439" y="522"/>
                      <a:pt x="433" y="522"/>
                    </a:cubicBezTo>
                    <a:close/>
                    <a:moveTo>
                      <a:pt x="433" y="368"/>
                    </a:moveTo>
                    <a:cubicBezTo>
                      <a:pt x="426" y="368"/>
                      <a:pt x="420" y="374"/>
                      <a:pt x="420" y="381"/>
                    </a:cubicBezTo>
                    <a:cubicBezTo>
                      <a:pt x="420" y="387"/>
                      <a:pt x="426" y="393"/>
                      <a:pt x="433" y="393"/>
                    </a:cubicBezTo>
                    <a:cubicBezTo>
                      <a:pt x="439" y="393"/>
                      <a:pt x="445" y="387"/>
                      <a:pt x="445" y="381"/>
                    </a:cubicBezTo>
                    <a:cubicBezTo>
                      <a:pt x="445" y="374"/>
                      <a:pt x="439" y="368"/>
                      <a:pt x="433" y="368"/>
                    </a:cubicBezTo>
                    <a:close/>
                    <a:moveTo>
                      <a:pt x="433" y="399"/>
                    </a:moveTo>
                    <a:cubicBezTo>
                      <a:pt x="426" y="399"/>
                      <a:pt x="420" y="405"/>
                      <a:pt x="420" y="411"/>
                    </a:cubicBezTo>
                    <a:cubicBezTo>
                      <a:pt x="420" y="418"/>
                      <a:pt x="426" y="424"/>
                      <a:pt x="433" y="424"/>
                    </a:cubicBezTo>
                    <a:cubicBezTo>
                      <a:pt x="439" y="424"/>
                      <a:pt x="445" y="418"/>
                      <a:pt x="445" y="411"/>
                    </a:cubicBezTo>
                    <a:cubicBezTo>
                      <a:pt x="445" y="405"/>
                      <a:pt x="439" y="399"/>
                      <a:pt x="433" y="399"/>
                    </a:cubicBezTo>
                    <a:close/>
                    <a:moveTo>
                      <a:pt x="433" y="491"/>
                    </a:moveTo>
                    <a:cubicBezTo>
                      <a:pt x="426" y="491"/>
                      <a:pt x="420" y="497"/>
                      <a:pt x="420" y="504"/>
                    </a:cubicBezTo>
                    <a:cubicBezTo>
                      <a:pt x="420" y="510"/>
                      <a:pt x="426" y="516"/>
                      <a:pt x="433" y="516"/>
                    </a:cubicBezTo>
                    <a:cubicBezTo>
                      <a:pt x="439" y="516"/>
                      <a:pt x="445" y="510"/>
                      <a:pt x="445" y="504"/>
                    </a:cubicBezTo>
                    <a:cubicBezTo>
                      <a:pt x="445" y="497"/>
                      <a:pt x="439" y="491"/>
                      <a:pt x="433" y="491"/>
                    </a:cubicBezTo>
                    <a:close/>
                    <a:moveTo>
                      <a:pt x="433" y="430"/>
                    </a:moveTo>
                    <a:cubicBezTo>
                      <a:pt x="426" y="430"/>
                      <a:pt x="420" y="435"/>
                      <a:pt x="420" y="442"/>
                    </a:cubicBezTo>
                    <a:cubicBezTo>
                      <a:pt x="420" y="449"/>
                      <a:pt x="426" y="454"/>
                      <a:pt x="433" y="454"/>
                    </a:cubicBezTo>
                    <a:cubicBezTo>
                      <a:pt x="439" y="454"/>
                      <a:pt x="445" y="449"/>
                      <a:pt x="445" y="442"/>
                    </a:cubicBezTo>
                    <a:cubicBezTo>
                      <a:pt x="445" y="435"/>
                      <a:pt x="439" y="430"/>
                      <a:pt x="433" y="430"/>
                    </a:cubicBezTo>
                    <a:close/>
                    <a:moveTo>
                      <a:pt x="433" y="461"/>
                    </a:moveTo>
                    <a:cubicBezTo>
                      <a:pt x="426" y="461"/>
                      <a:pt x="420" y="466"/>
                      <a:pt x="420" y="473"/>
                    </a:cubicBezTo>
                    <a:cubicBezTo>
                      <a:pt x="420" y="480"/>
                      <a:pt x="426" y="485"/>
                      <a:pt x="433" y="485"/>
                    </a:cubicBezTo>
                    <a:cubicBezTo>
                      <a:pt x="439" y="485"/>
                      <a:pt x="445" y="480"/>
                      <a:pt x="445" y="473"/>
                    </a:cubicBezTo>
                    <a:cubicBezTo>
                      <a:pt x="445" y="466"/>
                      <a:pt x="439" y="461"/>
                      <a:pt x="433" y="461"/>
                    </a:cubicBezTo>
                    <a:close/>
                    <a:moveTo>
                      <a:pt x="433" y="0"/>
                    </a:moveTo>
                    <a:cubicBezTo>
                      <a:pt x="426" y="0"/>
                      <a:pt x="420" y="5"/>
                      <a:pt x="420" y="12"/>
                    </a:cubicBezTo>
                    <a:cubicBezTo>
                      <a:pt x="420" y="18"/>
                      <a:pt x="426" y="24"/>
                      <a:pt x="433" y="24"/>
                    </a:cubicBezTo>
                    <a:cubicBezTo>
                      <a:pt x="439" y="24"/>
                      <a:pt x="445" y="18"/>
                      <a:pt x="445" y="12"/>
                    </a:cubicBezTo>
                    <a:cubicBezTo>
                      <a:pt x="445" y="5"/>
                      <a:pt x="439" y="0"/>
                      <a:pt x="433" y="0"/>
                    </a:cubicBezTo>
                    <a:close/>
                    <a:moveTo>
                      <a:pt x="468" y="830"/>
                    </a:moveTo>
                    <a:cubicBezTo>
                      <a:pt x="461" y="830"/>
                      <a:pt x="456" y="835"/>
                      <a:pt x="456" y="842"/>
                    </a:cubicBezTo>
                    <a:cubicBezTo>
                      <a:pt x="456" y="848"/>
                      <a:pt x="461" y="854"/>
                      <a:pt x="468" y="854"/>
                    </a:cubicBezTo>
                    <a:cubicBezTo>
                      <a:pt x="474" y="854"/>
                      <a:pt x="480" y="848"/>
                      <a:pt x="480" y="842"/>
                    </a:cubicBezTo>
                    <a:cubicBezTo>
                      <a:pt x="480" y="835"/>
                      <a:pt x="474" y="830"/>
                      <a:pt x="468" y="830"/>
                    </a:cubicBezTo>
                    <a:close/>
                    <a:moveTo>
                      <a:pt x="468" y="676"/>
                    </a:moveTo>
                    <a:cubicBezTo>
                      <a:pt x="461" y="676"/>
                      <a:pt x="456" y="681"/>
                      <a:pt x="456" y="688"/>
                    </a:cubicBezTo>
                    <a:cubicBezTo>
                      <a:pt x="456" y="695"/>
                      <a:pt x="461" y="700"/>
                      <a:pt x="468" y="700"/>
                    </a:cubicBezTo>
                    <a:cubicBezTo>
                      <a:pt x="474" y="700"/>
                      <a:pt x="480" y="695"/>
                      <a:pt x="480" y="688"/>
                    </a:cubicBezTo>
                    <a:cubicBezTo>
                      <a:pt x="480" y="681"/>
                      <a:pt x="474" y="676"/>
                      <a:pt x="468" y="676"/>
                    </a:cubicBezTo>
                    <a:close/>
                    <a:moveTo>
                      <a:pt x="468" y="707"/>
                    </a:moveTo>
                    <a:cubicBezTo>
                      <a:pt x="461" y="707"/>
                      <a:pt x="456" y="712"/>
                      <a:pt x="456" y="719"/>
                    </a:cubicBezTo>
                    <a:cubicBezTo>
                      <a:pt x="456" y="725"/>
                      <a:pt x="461" y="731"/>
                      <a:pt x="468" y="731"/>
                    </a:cubicBezTo>
                    <a:cubicBezTo>
                      <a:pt x="474" y="731"/>
                      <a:pt x="480" y="725"/>
                      <a:pt x="480" y="719"/>
                    </a:cubicBezTo>
                    <a:cubicBezTo>
                      <a:pt x="480" y="712"/>
                      <a:pt x="474" y="707"/>
                      <a:pt x="468" y="707"/>
                    </a:cubicBezTo>
                    <a:close/>
                    <a:moveTo>
                      <a:pt x="468" y="737"/>
                    </a:moveTo>
                    <a:cubicBezTo>
                      <a:pt x="461" y="737"/>
                      <a:pt x="456" y="743"/>
                      <a:pt x="456" y="750"/>
                    </a:cubicBezTo>
                    <a:cubicBezTo>
                      <a:pt x="456" y="756"/>
                      <a:pt x="461" y="762"/>
                      <a:pt x="468" y="762"/>
                    </a:cubicBezTo>
                    <a:cubicBezTo>
                      <a:pt x="474" y="762"/>
                      <a:pt x="480" y="756"/>
                      <a:pt x="480" y="750"/>
                    </a:cubicBezTo>
                    <a:cubicBezTo>
                      <a:pt x="480" y="743"/>
                      <a:pt x="474" y="737"/>
                      <a:pt x="468" y="737"/>
                    </a:cubicBezTo>
                    <a:close/>
                    <a:moveTo>
                      <a:pt x="468" y="768"/>
                    </a:moveTo>
                    <a:cubicBezTo>
                      <a:pt x="461" y="768"/>
                      <a:pt x="456" y="774"/>
                      <a:pt x="456" y="780"/>
                    </a:cubicBezTo>
                    <a:cubicBezTo>
                      <a:pt x="456" y="787"/>
                      <a:pt x="461" y="792"/>
                      <a:pt x="468" y="792"/>
                    </a:cubicBezTo>
                    <a:cubicBezTo>
                      <a:pt x="474" y="792"/>
                      <a:pt x="480" y="787"/>
                      <a:pt x="480" y="780"/>
                    </a:cubicBezTo>
                    <a:cubicBezTo>
                      <a:pt x="480" y="774"/>
                      <a:pt x="474" y="768"/>
                      <a:pt x="468" y="768"/>
                    </a:cubicBezTo>
                    <a:close/>
                    <a:moveTo>
                      <a:pt x="468" y="799"/>
                    </a:moveTo>
                    <a:cubicBezTo>
                      <a:pt x="461" y="799"/>
                      <a:pt x="456" y="804"/>
                      <a:pt x="456" y="811"/>
                    </a:cubicBezTo>
                    <a:cubicBezTo>
                      <a:pt x="456" y="818"/>
                      <a:pt x="461" y="823"/>
                      <a:pt x="468" y="823"/>
                    </a:cubicBezTo>
                    <a:cubicBezTo>
                      <a:pt x="474" y="823"/>
                      <a:pt x="480" y="818"/>
                      <a:pt x="480" y="811"/>
                    </a:cubicBezTo>
                    <a:cubicBezTo>
                      <a:pt x="480" y="804"/>
                      <a:pt x="474" y="799"/>
                      <a:pt x="468" y="799"/>
                    </a:cubicBezTo>
                    <a:close/>
                    <a:moveTo>
                      <a:pt x="433" y="614"/>
                    </a:moveTo>
                    <a:cubicBezTo>
                      <a:pt x="426" y="614"/>
                      <a:pt x="420" y="620"/>
                      <a:pt x="420" y="627"/>
                    </a:cubicBezTo>
                    <a:cubicBezTo>
                      <a:pt x="420" y="633"/>
                      <a:pt x="426" y="639"/>
                      <a:pt x="433" y="639"/>
                    </a:cubicBezTo>
                    <a:cubicBezTo>
                      <a:pt x="439" y="639"/>
                      <a:pt x="445" y="633"/>
                      <a:pt x="445" y="627"/>
                    </a:cubicBezTo>
                    <a:cubicBezTo>
                      <a:pt x="445" y="620"/>
                      <a:pt x="439" y="614"/>
                      <a:pt x="433" y="614"/>
                    </a:cubicBezTo>
                    <a:close/>
                    <a:moveTo>
                      <a:pt x="538" y="307"/>
                    </a:moveTo>
                    <a:cubicBezTo>
                      <a:pt x="531" y="307"/>
                      <a:pt x="526" y="312"/>
                      <a:pt x="526" y="319"/>
                    </a:cubicBezTo>
                    <a:cubicBezTo>
                      <a:pt x="526" y="326"/>
                      <a:pt x="531" y="331"/>
                      <a:pt x="538" y="331"/>
                    </a:cubicBezTo>
                    <a:cubicBezTo>
                      <a:pt x="544" y="331"/>
                      <a:pt x="550" y="326"/>
                      <a:pt x="550" y="319"/>
                    </a:cubicBezTo>
                    <a:cubicBezTo>
                      <a:pt x="550" y="312"/>
                      <a:pt x="544" y="307"/>
                      <a:pt x="538" y="307"/>
                    </a:cubicBezTo>
                    <a:close/>
                    <a:moveTo>
                      <a:pt x="538" y="215"/>
                    </a:moveTo>
                    <a:cubicBezTo>
                      <a:pt x="531" y="215"/>
                      <a:pt x="526" y="220"/>
                      <a:pt x="526" y="227"/>
                    </a:cubicBezTo>
                    <a:cubicBezTo>
                      <a:pt x="526" y="234"/>
                      <a:pt x="531" y="239"/>
                      <a:pt x="538" y="239"/>
                    </a:cubicBezTo>
                    <a:cubicBezTo>
                      <a:pt x="544" y="239"/>
                      <a:pt x="550" y="234"/>
                      <a:pt x="550" y="227"/>
                    </a:cubicBezTo>
                    <a:cubicBezTo>
                      <a:pt x="550" y="220"/>
                      <a:pt x="544" y="215"/>
                      <a:pt x="538" y="215"/>
                    </a:cubicBezTo>
                    <a:close/>
                    <a:moveTo>
                      <a:pt x="538" y="153"/>
                    </a:moveTo>
                    <a:cubicBezTo>
                      <a:pt x="531" y="153"/>
                      <a:pt x="526" y="159"/>
                      <a:pt x="526" y="165"/>
                    </a:cubicBezTo>
                    <a:cubicBezTo>
                      <a:pt x="526" y="172"/>
                      <a:pt x="531" y="178"/>
                      <a:pt x="538" y="178"/>
                    </a:cubicBezTo>
                    <a:cubicBezTo>
                      <a:pt x="544" y="178"/>
                      <a:pt x="550" y="172"/>
                      <a:pt x="550" y="165"/>
                    </a:cubicBezTo>
                    <a:cubicBezTo>
                      <a:pt x="550" y="159"/>
                      <a:pt x="544" y="153"/>
                      <a:pt x="538" y="153"/>
                    </a:cubicBezTo>
                    <a:close/>
                    <a:moveTo>
                      <a:pt x="538" y="276"/>
                    </a:moveTo>
                    <a:cubicBezTo>
                      <a:pt x="531" y="276"/>
                      <a:pt x="526" y="282"/>
                      <a:pt x="526" y="288"/>
                    </a:cubicBezTo>
                    <a:cubicBezTo>
                      <a:pt x="526" y="295"/>
                      <a:pt x="531" y="301"/>
                      <a:pt x="538" y="301"/>
                    </a:cubicBezTo>
                    <a:cubicBezTo>
                      <a:pt x="544" y="301"/>
                      <a:pt x="550" y="295"/>
                      <a:pt x="550" y="288"/>
                    </a:cubicBezTo>
                    <a:cubicBezTo>
                      <a:pt x="550" y="282"/>
                      <a:pt x="544" y="276"/>
                      <a:pt x="538" y="276"/>
                    </a:cubicBezTo>
                    <a:close/>
                    <a:moveTo>
                      <a:pt x="538" y="245"/>
                    </a:moveTo>
                    <a:cubicBezTo>
                      <a:pt x="531" y="245"/>
                      <a:pt x="526" y="251"/>
                      <a:pt x="526" y="258"/>
                    </a:cubicBezTo>
                    <a:cubicBezTo>
                      <a:pt x="526" y="264"/>
                      <a:pt x="531" y="270"/>
                      <a:pt x="538" y="270"/>
                    </a:cubicBezTo>
                    <a:cubicBezTo>
                      <a:pt x="544" y="270"/>
                      <a:pt x="550" y="264"/>
                      <a:pt x="550" y="258"/>
                    </a:cubicBezTo>
                    <a:cubicBezTo>
                      <a:pt x="550" y="251"/>
                      <a:pt x="544" y="245"/>
                      <a:pt x="538" y="245"/>
                    </a:cubicBezTo>
                    <a:close/>
                    <a:moveTo>
                      <a:pt x="538" y="645"/>
                    </a:moveTo>
                    <a:cubicBezTo>
                      <a:pt x="531" y="645"/>
                      <a:pt x="526" y="651"/>
                      <a:pt x="526" y="657"/>
                    </a:cubicBezTo>
                    <a:cubicBezTo>
                      <a:pt x="526" y="664"/>
                      <a:pt x="531" y="669"/>
                      <a:pt x="538" y="669"/>
                    </a:cubicBezTo>
                    <a:cubicBezTo>
                      <a:pt x="544" y="669"/>
                      <a:pt x="550" y="664"/>
                      <a:pt x="550" y="657"/>
                    </a:cubicBezTo>
                    <a:cubicBezTo>
                      <a:pt x="550" y="651"/>
                      <a:pt x="544" y="645"/>
                      <a:pt x="538" y="645"/>
                    </a:cubicBezTo>
                    <a:close/>
                    <a:moveTo>
                      <a:pt x="538" y="122"/>
                    </a:moveTo>
                    <a:cubicBezTo>
                      <a:pt x="531" y="122"/>
                      <a:pt x="526" y="128"/>
                      <a:pt x="526" y="135"/>
                    </a:cubicBezTo>
                    <a:cubicBezTo>
                      <a:pt x="526" y="141"/>
                      <a:pt x="531" y="147"/>
                      <a:pt x="538" y="147"/>
                    </a:cubicBezTo>
                    <a:cubicBezTo>
                      <a:pt x="544" y="147"/>
                      <a:pt x="550" y="141"/>
                      <a:pt x="550" y="135"/>
                    </a:cubicBezTo>
                    <a:cubicBezTo>
                      <a:pt x="550" y="128"/>
                      <a:pt x="544" y="122"/>
                      <a:pt x="538" y="122"/>
                    </a:cubicBezTo>
                    <a:close/>
                    <a:moveTo>
                      <a:pt x="538" y="61"/>
                    </a:moveTo>
                    <a:cubicBezTo>
                      <a:pt x="531" y="61"/>
                      <a:pt x="526" y="66"/>
                      <a:pt x="526" y="73"/>
                    </a:cubicBezTo>
                    <a:cubicBezTo>
                      <a:pt x="526" y="80"/>
                      <a:pt x="531" y="85"/>
                      <a:pt x="538" y="85"/>
                    </a:cubicBezTo>
                    <a:cubicBezTo>
                      <a:pt x="544" y="85"/>
                      <a:pt x="550" y="80"/>
                      <a:pt x="550" y="73"/>
                    </a:cubicBezTo>
                    <a:cubicBezTo>
                      <a:pt x="550" y="66"/>
                      <a:pt x="544" y="61"/>
                      <a:pt x="538" y="61"/>
                    </a:cubicBezTo>
                    <a:close/>
                    <a:moveTo>
                      <a:pt x="538" y="92"/>
                    </a:moveTo>
                    <a:cubicBezTo>
                      <a:pt x="531" y="92"/>
                      <a:pt x="526" y="97"/>
                      <a:pt x="526" y="104"/>
                    </a:cubicBezTo>
                    <a:cubicBezTo>
                      <a:pt x="526" y="111"/>
                      <a:pt x="531" y="116"/>
                      <a:pt x="538" y="116"/>
                    </a:cubicBezTo>
                    <a:cubicBezTo>
                      <a:pt x="544" y="116"/>
                      <a:pt x="550" y="111"/>
                      <a:pt x="550" y="104"/>
                    </a:cubicBezTo>
                    <a:cubicBezTo>
                      <a:pt x="550" y="97"/>
                      <a:pt x="544" y="92"/>
                      <a:pt x="538" y="92"/>
                    </a:cubicBezTo>
                    <a:close/>
                    <a:moveTo>
                      <a:pt x="538" y="399"/>
                    </a:moveTo>
                    <a:cubicBezTo>
                      <a:pt x="531" y="399"/>
                      <a:pt x="526" y="405"/>
                      <a:pt x="526" y="411"/>
                    </a:cubicBezTo>
                    <a:cubicBezTo>
                      <a:pt x="526" y="418"/>
                      <a:pt x="531" y="424"/>
                      <a:pt x="538" y="424"/>
                    </a:cubicBezTo>
                    <a:cubicBezTo>
                      <a:pt x="544" y="424"/>
                      <a:pt x="550" y="418"/>
                      <a:pt x="550" y="411"/>
                    </a:cubicBezTo>
                    <a:cubicBezTo>
                      <a:pt x="550" y="405"/>
                      <a:pt x="544" y="399"/>
                      <a:pt x="538" y="399"/>
                    </a:cubicBezTo>
                    <a:close/>
                    <a:moveTo>
                      <a:pt x="538" y="522"/>
                    </a:moveTo>
                    <a:cubicBezTo>
                      <a:pt x="531" y="522"/>
                      <a:pt x="526" y="528"/>
                      <a:pt x="526" y="534"/>
                    </a:cubicBezTo>
                    <a:cubicBezTo>
                      <a:pt x="526" y="541"/>
                      <a:pt x="531" y="546"/>
                      <a:pt x="538" y="546"/>
                    </a:cubicBezTo>
                    <a:cubicBezTo>
                      <a:pt x="544" y="546"/>
                      <a:pt x="550" y="541"/>
                      <a:pt x="550" y="534"/>
                    </a:cubicBezTo>
                    <a:cubicBezTo>
                      <a:pt x="550" y="528"/>
                      <a:pt x="544" y="522"/>
                      <a:pt x="538" y="522"/>
                    </a:cubicBezTo>
                    <a:close/>
                    <a:moveTo>
                      <a:pt x="538" y="491"/>
                    </a:moveTo>
                    <a:cubicBezTo>
                      <a:pt x="531" y="491"/>
                      <a:pt x="526" y="497"/>
                      <a:pt x="526" y="504"/>
                    </a:cubicBezTo>
                    <a:cubicBezTo>
                      <a:pt x="526" y="510"/>
                      <a:pt x="531" y="516"/>
                      <a:pt x="538" y="516"/>
                    </a:cubicBezTo>
                    <a:cubicBezTo>
                      <a:pt x="544" y="516"/>
                      <a:pt x="550" y="510"/>
                      <a:pt x="550" y="504"/>
                    </a:cubicBezTo>
                    <a:cubicBezTo>
                      <a:pt x="550" y="497"/>
                      <a:pt x="544" y="491"/>
                      <a:pt x="538" y="491"/>
                    </a:cubicBezTo>
                    <a:close/>
                    <a:moveTo>
                      <a:pt x="538" y="553"/>
                    </a:moveTo>
                    <a:cubicBezTo>
                      <a:pt x="531" y="553"/>
                      <a:pt x="526" y="558"/>
                      <a:pt x="526" y="565"/>
                    </a:cubicBezTo>
                    <a:cubicBezTo>
                      <a:pt x="526" y="572"/>
                      <a:pt x="531" y="577"/>
                      <a:pt x="538" y="577"/>
                    </a:cubicBezTo>
                    <a:cubicBezTo>
                      <a:pt x="544" y="577"/>
                      <a:pt x="550" y="572"/>
                      <a:pt x="550" y="565"/>
                    </a:cubicBezTo>
                    <a:cubicBezTo>
                      <a:pt x="550" y="558"/>
                      <a:pt x="544" y="553"/>
                      <a:pt x="538" y="553"/>
                    </a:cubicBezTo>
                    <a:close/>
                    <a:moveTo>
                      <a:pt x="538" y="614"/>
                    </a:moveTo>
                    <a:cubicBezTo>
                      <a:pt x="531" y="614"/>
                      <a:pt x="526" y="620"/>
                      <a:pt x="526" y="627"/>
                    </a:cubicBezTo>
                    <a:cubicBezTo>
                      <a:pt x="526" y="633"/>
                      <a:pt x="531" y="639"/>
                      <a:pt x="538" y="639"/>
                    </a:cubicBezTo>
                    <a:cubicBezTo>
                      <a:pt x="544" y="639"/>
                      <a:pt x="550" y="633"/>
                      <a:pt x="550" y="627"/>
                    </a:cubicBezTo>
                    <a:cubicBezTo>
                      <a:pt x="550" y="620"/>
                      <a:pt x="544" y="614"/>
                      <a:pt x="538" y="614"/>
                    </a:cubicBezTo>
                    <a:close/>
                    <a:moveTo>
                      <a:pt x="538" y="584"/>
                    </a:moveTo>
                    <a:cubicBezTo>
                      <a:pt x="531" y="584"/>
                      <a:pt x="526" y="589"/>
                      <a:pt x="526" y="596"/>
                    </a:cubicBezTo>
                    <a:cubicBezTo>
                      <a:pt x="526" y="603"/>
                      <a:pt x="531" y="608"/>
                      <a:pt x="538" y="608"/>
                    </a:cubicBezTo>
                    <a:cubicBezTo>
                      <a:pt x="544" y="608"/>
                      <a:pt x="550" y="603"/>
                      <a:pt x="550" y="596"/>
                    </a:cubicBezTo>
                    <a:cubicBezTo>
                      <a:pt x="550" y="589"/>
                      <a:pt x="544" y="584"/>
                      <a:pt x="538" y="584"/>
                    </a:cubicBezTo>
                    <a:close/>
                    <a:moveTo>
                      <a:pt x="538" y="338"/>
                    </a:moveTo>
                    <a:cubicBezTo>
                      <a:pt x="531" y="338"/>
                      <a:pt x="526" y="343"/>
                      <a:pt x="526" y="350"/>
                    </a:cubicBezTo>
                    <a:cubicBezTo>
                      <a:pt x="526" y="357"/>
                      <a:pt x="531" y="362"/>
                      <a:pt x="538" y="362"/>
                    </a:cubicBezTo>
                    <a:cubicBezTo>
                      <a:pt x="544" y="362"/>
                      <a:pt x="550" y="357"/>
                      <a:pt x="550" y="350"/>
                    </a:cubicBezTo>
                    <a:cubicBezTo>
                      <a:pt x="550" y="343"/>
                      <a:pt x="544" y="338"/>
                      <a:pt x="538" y="338"/>
                    </a:cubicBezTo>
                    <a:close/>
                    <a:moveTo>
                      <a:pt x="538" y="461"/>
                    </a:moveTo>
                    <a:cubicBezTo>
                      <a:pt x="531" y="461"/>
                      <a:pt x="526" y="466"/>
                      <a:pt x="526" y="473"/>
                    </a:cubicBezTo>
                    <a:cubicBezTo>
                      <a:pt x="526" y="480"/>
                      <a:pt x="531" y="485"/>
                      <a:pt x="538" y="485"/>
                    </a:cubicBezTo>
                    <a:cubicBezTo>
                      <a:pt x="544" y="485"/>
                      <a:pt x="550" y="480"/>
                      <a:pt x="550" y="473"/>
                    </a:cubicBezTo>
                    <a:cubicBezTo>
                      <a:pt x="550" y="466"/>
                      <a:pt x="544" y="461"/>
                      <a:pt x="538" y="461"/>
                    </a:cubicBezTo>
                    <a:close/>
                    <a:moveTo>
                      <a:pt x="538" y="368"/>
                    </a:moveTo>
                    <a:cubicBezTo>
                      <a:pt x="531" y="368"/>
                      <a:pt x="526" y="374"/>
                      <a:pt x="526" y="381"/>
                    </a:cubicBezTo>
                    <a:cubicBezTo>
                      <a:pt x="526" y="387"/>
                      <a:pt x="531" y="393"/>
                      <a:pt x="538" y="393"/>
                    </a:cubicBezTo>
                    <a:cubicBezTo>
                      <a:pt x="544" y="393"/>
                      <a:pt x="550" y="387"/>
                      <a:pt x="550" y="381"/>
                    </a:cubicBezTo>
                    <a:cubicBezTo>
                      <a:pt x="550" y="374"/>
                      <a:pt x="544" y="368"/>
                      <a:pt x="538" y="368"/>
                    </a:cubicBezTo>
                    <a:close/>
                    <a:moveTo>
                      <a:pt x="538" y="430"/>
                    </a:moveTo>
                    <a:cubicBezTo>
                      <a:pt x="531" y="430"/>
                      <a:pt x="526" y="435"/>
                      <a:pt x="526" y="442"/>
                    </a:cubicBezTo>
                    <a:cubicBezTo>
                      <a:pt x="526" y="449"/>
                      <a:pt x="531" y="454"/>
                      <a:pt x="538" y="454"/>
                    </a:cubicBezTo>
                    <a:cubicBezTo>
                      <a:pt x="544" y="454"/>
                      <a:pt x="550" y="449"/>
                      <a:pt x="550" y="442"/>
                    </a:cubicBezTo>
                    <a:cubicBezTo>
                      <a:pt x="550" y="435"/>
                      <a:pt x="544" y="430"/>
                      <a:pt x="538" y="430"/>
                    </a:cubicBezTo>
                    <a:close/>
                    <a:moveTo>
                      <a:pt x="538" y="184"/>
                    </a:moveTo>
                    <a:cubicBezTo>
                      <a:pt x="531" y="184"/>
                      <a:pt x="526" y="189"/>
                      <a:pt x="526" y="196"/>
                    </a:cubicBezTo>
                    <a:cubicBezTo>
                      <a:pt x="526" y="203"/>
                      <a:pt x="531" y="208"/>
                      <a:pt x="538" y="208"/>
                    </a:cubicBezTo>
                    <a:cubicBezTo>
                      <a:pt x="544" y="208"/>
                      <a:pt x="550" y="203"/>
                      <a:pt x="550" y="196"/>
                    </a:cubicBezTo>
                    <a:cubicBezTo>
                      <a:pt x="550" y="189"/>
                      <a:pt x="544" y="184"/>
                      <a:pt x="538" y="184"/>
                    </a:cubicBezTo>
                    <a:close/>
                    <a:moveTo>
                      <a:pt x="573" y="799"/>
                    </a:moveTo>
                    <a:cubicBezTo>
                      <a:pt x="566" y="799"/>
                      <a:pt x="561" y="804"/>
                      <a:pt x="561" y="811"/>
                    </a:cubicBezTo>
                    <a:cubicBezTo>
                      <a:pt x="561" y="818"/>
                      <a:pt x="566" y="823"/>
                      <a:pt x="573" y="823"/>
                    </a:cubicBezTo>
                    <a:cubicBezTo>
                      <a:pt x="580" y="823"/>
                      <a:pt x="585" y="818"/>
                      <a:pt x="585" y="811"/>
                    </a:cubicBezTo>
                    <a:cubicBezTo>
                      <a:pt x="585" y="804"/>
                      <a:pt x="580" y="799"/>
                      <a:pt x="573" y="799"/>
                    </a:cubicBezTo>
                    <a:close/>
                    <a:moveTo>
                      <a:pt x="573" y="768"/>
                    </a:moveTo>
                    <a:cubicBezTo>
                      <a:pt x="566" y="768"/>
                      <a:pt x="561" y="774"/>
                      <a:pt x="561" y="780"/>
                    </a:cubicBezTo>
                    <a:cubicBezTo>
                      <a:pt x="561" y="787"/>
                      <a:pt x="566" y="792"/>
                      <a:pt x="573" y="792"/>
                    </a:cubicBezTo>
                    <a:cubicBezTo>
                      <a:pt x="580" y="792"/>
                      <a:pt x="585" y="787"/>
                      <a:pt x="585" y="780"/>
                    </a:cubicBezTo>
                    <a:cubicBezTo>
                      <a:pt x="585" y="774"/>
                      <a:pt x="580" y="768"/>
                      <a:pt x="573" y="768"/>
                    </a:cubicBezTo>
                    <a:close/>
                    <a:moveTo>
                      <a:pt x="503" y="184"/>
                    </a:moveTo>
                    <a:cubicBezTo>
                      <a:pt x="496" y="184"/>
                      <a:pt x="491" y="189"/>
                      <a:pt x="491" y="196"/>
                    </a:cubicBezTo>
                    <a:cubicBezTo>
                      <a:pt x="491" y="203"/>
                      <a:pt x="496" y="208"/>
                      <a:pt x="503" y="208"/>
                    </a:cubicBezTo>
                    <a:cubicBezTo>
                      <a:pt x="509" y="208"/>
                      <a:pt x="515" y="203"/>
                      <a:pt x="515" y="196"/>
                    </a:cubicBezTo>
                    <a:cubicBezTo>
                      <a:pt x="515" y="189"/>
                      <a:pt x="509" y="184"/>
                      <a:pt x="503" y="184"/>
                    </a:cubicBezTo>
                    <a:close/>
                    <a:moveTo>
                      <a:pt x="503" y="215"/>
                    </a:moveTo>
                    <a:cubicBezTo>
                      <a:pt x="496" y="215"/>
                      <a:pt x="491" y="220"/>
                      <a:pt x="491" y="227"/>
                    </a:cubicBezTo>
                    <a:cubicBezTo>
                      <a:pt x="491" y="234"/>
                      <a:pt x="496" y="239"/>
                      <a:pt x="503" y="239"/>
                    </a:cubicBezTo>
                    <a:cubicBezTo>
                      <a:pt x="509" y="239"/>
                      <a:pt x="515" y="234"/>
                      <a:pt x="515" y="227"/>
                    </a:cubicBezTo>
                    <a:cubicBezTo>
                      <a:pt x="515" y="220"/>
                      <a:pt x="509" y="215"/>
                      <a:pt x="503" y="215"/>
                    </a:cubicBezTo>
                    <a:close/>
                    <a:moveTo>
                      <a:pt x="503" y="614"/>
                    </a:moveTo>
                    <a:cubicBezTo>
                      <a:pt x="496" y="614"/>
                      <a:pt x="491" y="620"/>
                      <a:pt x="491" y="627"/>
                    </a:cubicBezTo>
                    <a:cubicBezTo>
                      <a:pt x="491" y="633"/>
                      <a:pt x="496" y="639"/>
                      <a:pt x="503" y="639"/>
                    </a:cubicBezTo>
                    <a:cubicBezTo>
                      <a:pt x="509" y="639"/>
                      <a:pt x="515" y="633"/>
                      <a:pt x="515" y="627"/>
                    </a:cubicBezTo>
                    <a:cubicBezTo>
                      <a:pt x="515" y="620"/>
                      <a:pt x="509" y="614"/>
                      <a:pt x="503" y="614"/>
                    </a:cubicBezTo>
                    <a:close/>
                    <a:moveTo>
                      <a:pt x="503" y="153"/>
                    </a:moveTo>
                    <a:cubicBezTo>
                      <a:pt x="496" y="153"/>
                      <a:pt x="491" y="159"/>
                      <a:pt x="491" y="165"/>
                    </a:cubicBezTo>
                    <a:cubicBezTo>
                      <a:pt x="491" y="172"/>
                      <a:pt x="496" y="178"/>
                      <a:pt x="503" y="178"/>
                    </a:cubicBezTo>
                    <a:cubicBezTo>
                      <a:pt x="509" y="178"/>
                      <a:pt x="515" y="172"/>
                      <a:pt x="515" y="165"/>
                    </a:cubicBezTo>
                    <a:cubicBezTo>
                      <a:pt x="515" y="159"/>
                      <a:pt x="509" y="153"/>
                      <a:pt x="503" y="153"/>
                    </a:cubicBezTo>
                    <a:close/>
                    <a:moveTo>
                      <a:pt x="503" y="245"/>
                    </a:moveTo>
                    <a:cubicBezTo>
                      <a:pt x="496" y="245"/>
                      <a:pt x="491" y="251"/>
                      <a:pt x="491" y="258"/>
                    </a:cubicBezTo>
                    <a:cubicBezTo>
                      <a:pt x="491" y="264"/>
                      <a:pt x="496" y="270"/>
                      <a:pt x="503" y="270"/>
                    </a:cubicBezTo>
                    <a:cubicBezTo>
                      <a:pt x="509" y="270"/>
                      <a:pt x="515" y="264"/>
                      <a:pt x="515" y="258"/>
                    </a:cubicBezTo>
                    <a:cubicBezTo>
                      <a:pt x="515" y="251"/>
                      <a:pt x="509" y="245"/>
                      <a:pt x="503" y="245"/>
                    </a:cubicBezTo>
                    <a:close/>
                    <a:moveTo>
                      <a:pt x="538" y="676"/>
                    </a:moveTo>
                    <a:cubicBezTo>
                      <a:pt x="531" y="676"/>
                      <a:pt x="526" y="681"/>
                      <a:pt x="526" y="688"/>
                    </a:cubicBezTo>
                    <a:cubicBezTo>
                      <a:pt x="526" y="695"/>
                      <a:pt x="531" y="700"/>
                      <a:pt x="538" y="700"/>
                    </a:cubicBezTo>
                    <a:cubicBezTo>
                      <a:pt x="544" y="700"/>
                      <a:pt x="550" y="695"/>
                      <a:pt x="550" y="688"/>
                    </a:cubicBezTo>
                    <a:cubicBezTo>
                      <a:pt x="550" y="681"/>
                      <a:pt x="544" y="676"/>
                      <a:pt x="538" y="676"/>
                    </a:cubicBezTo>
                    <a:close/>
                    <a:moveTo>
                      <a:pt x="503" y="122"/>
                    </a:moveTo>
                    <a:cubicBezTo>
                      <a:pt x="496" y="122"/>
                      <a:pt x="491" y="128"/>
                      <a:pt x="491" y="135"/>
                    </a:cubicBezTo>
                    <a:cubicBezTo>
                      <a:pt x="491" y="141"/>
                      <a:pt x="496" y="147"/>
                      <a:pt x="503" y="147"/>
                    </a:cubicBezTo>
                    <a:cubicBezTo>
                      <a:pt x="509" y="147"/>
                      <a:pt x="515" y="141"/>
                      <a:pt x="515" y="135"/>
                    </a:cubicBezTo>
                    <a:cubicBezTo>
                      <a:pt x="515" y="128"/>
                      <a:pt x="509" y="122"/>
                      <a:pt x="503" y="122"/>
                    </a:cubicBezTo>
                    <a:close/>
                    <a:moveTo>
                      <a:pt x="503" y="307"/>
                    </a:moveTo>
                    <a:cubicBezTo>
                      <a:pt x="496" y="307"/>
                      <a:pt x="491" y="312"/>
                      <a:pt x="491" y="319"/>
                    </a:cubicBezTo>
                    <a:cubicBezTo>
                      <a:pt x="491" y="326"/>
                      <a:pt x="496" y="331"/>
                      <a:pt x="503" y="331"/>
                    </a:cubicBezTo>
                    <a:cubicBezTo>
                      <a:pt x="509" y="331"/>
                      <a:pt x="515" y="326"/>
                      <a:pt x="515" y="319"/>
                    </a:cubicBezTo>
                    <a:cubicBezTo>
                      <a:pt x="515" y="312"/>
                      <a:pt x="509" y="307"/>
                      <a:pt x="503" y="307"/>
                    </a:cubicBezTo>
                    <a:close/>
                    <a:moveTo>
                      <a:pt x="503" y="61"/>
                    </a:moveTo>
                    <a:cubicBezTo>
                      <a:pt x="496" y="61"/>
                      <a:pt x="491" y="66"/>
                      <a:pt x="491" y="73"/>
                    </a:cubicBezTo>
                    <a:cubicBezTo>
                      <a:pt x="491" y="80"/>
                      <a:pt x="496" y="85"/>
                      <a:pt x="503" y="85"/>
                    </a:cubicBezTo>
                    <a:cubicBezTo>
                      <a:pt x="509" y="85"/>
                      <a:pt x="515" y="80"/>
                      <a:pt x="515" y="73"/>
                    </a:cubicBezTo>
                    <a:cubicBezTo>
                      <a:pt x="515" y="66"/>
                      <a:pt x="509" y="61"/>
                      <a:pt x="503" y="61"/>
                    </a:cubicBezTo>
                    <a:close/>
                    <a:moveTo>
                      <a:pt x="503" y="30"/>
                    </a:moveTo>
                    <a:cubicBezTo>
                      <a:pt x="496" y="30"/>
                      <a:pt x="491" y="36"/>
                      <a:pt x="491" y="42"/>
                    </a:cubicBezTo>
                    <a:cubicBezTo>
                      <a:pt x="491" y="49"/>
                      <a:pt x="496" y="55"/>
                      <a:pt x="503" y="55"/>
                    </a:cubicBezTo>
                    <a:cubicBezTo>
                      <a:pt x="509" y="55"/>
                      <a:pt x="515" y="49"/>
                      <a:pt x="515" y="42"/>
                    </a:cubicBezTo>
                    <a:cubicBezTo>
                      <a:pt x="515" y="36"/>
                      <a:pt x="509" y="30"/>
                      <a:pt x="503" y="30"/>
                    </a:cubicBezTo>
                    <a:close/>
                    <a:moveTo>
                      <a:pt x="503" y="92"/>
                    </a:moveTo>
                    <a:cubicBezTo>
                      <a:pt x="496" y="92"/>
                      <a:pt x="491" y="97"/>
                      <a:pt x="491" y="104"/>
                    </a:cubicBezTo>
                    <a:cubicBezTo>
                      <a:pt x="491" y="111"/>
                      <a:pt x="496" y="116"/>
                      <a:pt x="503" y="116"/>
                    </a:cubicBezTo>
                    <a:cubicBezTo>
                      <a:pt x="509" y="116"/>
                      <a:pt x="515" y="111"/>
                      <a:pt x="515" y="104"/>
                    </a:cubicBezTo>
                    <a:cubicBezTo>
                      <a:pt x="515" y="97"/>
                      <a:pt x="509" y="92"/>
                      <a:pt x="503" y="92"/>
                    </a:cubicBezTo>
                    <a:close/>
                    <a:moveTo>
                      <a:pt x="503" y="338"/>
                    </a:moveTo>
                    <a:cubicBezTo>
                      <a:pt x="496" y="338"/>
                      <a:pt x="491" y="343"/>
                      <a:pt x="491" y="350"/>
                    </a:cubicBezTo>
                    <a:cubicBezTo>
                      <a:pt x="491" y="357"/>
                      <a:pt x="496" y="362"/>
                      <a:pt x="503" y="362"/>
                    </a:cubicBezTo>
                    <a:cubicBezTo>
                      <a:pt x="509" y="362"/>
                      <a:pt x="515" y="357"/>
                      <a:pt x="515" y="350"/>
                    </a:cubicBezTo>
                    <a:cubicBezTo>
                      <a:pt x="515" y="343"/>
                      <a:pt x="509" y="338"/>
                      <a:pt x="503" y="338"/>
                    </a:cubicBezTo>
                    <a:close/>
                    <a:moveTo>
                      <a:pt x="503" y="491"/>
                    </a:moveTo>
                    <a:cubicBezTo>
                      <a:pt x="496" y="491"/>
                      <a:pt x="491" y="497"/>
                      <a:pt x="491" y="504"/>
                    </a:cubicBezTo>
                    <a:cubicBezTo>
                      <a:pt x="491" y="510"/>
                      <a:pt x="496" y="516"/>
                      <a:pt x="503" y="516"/>
                    </a:cubicBezTo>
                    <a:cubicBezTo>
                      <a:pt x="509" y="516"/>
                      <a:pt x="515" y="510"/>
                      <a:pt x="515" y="504"/>
                    </a:cubicBezTo>
                    <a:cubicBezTo>
                      <a:pt x="515" y="497"/>
                      <a:pt x="509" y="491"/>
                      <a:pt x="503" y="491"/>
                    </a:cubicBezTo>
                    <a:close/>
                    <a:moveTo>
                      <a:pt x="503" y="522"/>
                    </a:moveTo>
                    <a:cubicBezTo>
                      <a:pt x="496" y="522"/>
                      <a:pt x="491" y="528"/>
                      <a:pt x="491" y="534"/>
                    </a:cubicBezTo>
                    <a:cubicBezTo>
                      <a:pt x="491" y="541"/>
                      <a:pt x="496" y="546"/>
                      <a:pt x="503" y="546"/>
                    </a:cubicBezTo>
                    <a:cubicBezTo>
                      <a:pt x="509" y="546"/>
                      <a:pt x="515" y="541"/>
                      <a:pt x="515" y="534"/>
                    </a:cubicBezTo>
                    <a:cubicBezTo>
                      <a:pt x="515" y="528"/>
                      <a:pt x="509" y="522"/>
                      <a:pt x="503" y="522"/>
                    </a:cubicBezTo>
                    <a:close/>
                    <a:moveTo>
                      <a:pt x="503" y="553"/>
                    </a:moveTo>
                    <a:cubicBezTo>
                      <a:pt x="496" y="553"/>
                      <a:pt x="491" y="558"/>
                      <a:pt x="491" y="565"/>
                    </a:cubicBezTo>
                    <a:cubicBezTo>
                      <a:pt x="491" y="572"/>
                      <a:pt x="496" y="577"/>
                      <a:pt x="503" y="577"/>
                    </a:cubicBezTo>
                    <a:cubicBezTo>
                      <a:pt x="509" y="577"/>
                      <a:pt x="515" y="572"/>
                      <a:pt x="515" y="565"/>
                    </a:cubicBezTo>
                    <a:cubicBezTo>
                      <a:pt x="515" y="558"/>
                      <a:pt x="509" y="553"/>
                      <a:pt x="503" y="553"/>
                    </a:cubicBezTo>
                    <a:close/>
                    <a:moveTo>
                      <a:pt x="503" y="584"/>
                    </a:moveTo>
                    <a:cubicBezTo>
                      <a:pt x="496" y="584"/>
                      <a:pt x="491" y="589"/>
                      <a:pt x="491" y="596"/>
                    </a:cubicBezTo>
                    <a:cubicBezTo>
                      <a:pt x="491" y="603"/>
                      <a:pt x="496" y="608"/>
                      <a:pt x="503" y="608"/>
                    </a:cubicBezTo>
                    <a:cubicBezTo>
                      <a:pt x="509" y="608"/>
                      <a:pt x="515" y="603"/>
                      <a:pt x="515" y="596"/>
                    </a:cubicBezTo>
                    <a:cubicBezTo>
                      <a:pt x="515" y="589"/>
                      <a:pt x="509" y="584"/>
                      <a:pt x="503" y="584"/>
                    </a:cubicBezTo>
                    <a:close/>
                    <a:moveTo>
                      <a:pt x="503" y="368"/>
                    </a:moveTo>
                    <a:cubicBezTo>
                      <a:pt x="496" y="368"/>
                      <a:pt x="491" y="374"/>
                      <a:pt x="491" y="381"/>
                    </a:cubicBezTo>
                    <a:cubicBezTo>
                      <a:pt x="491" y="387"/>
                      <a:pt x="496" y="393"/>
                      <a:pt x="503" y="393"/>
                    </a:cubicBezTo>
                    <a:cubicBezTo>
                      <a:pt x="509" y="393"/>
                      <a:pt x="515" y="387"/>
                      <a:pt x="515" y="381"/>
                    </a:cubicBezTo>
                    <a:cubicBezTo>
                      <a:pt x="515" y="374"/>
                      <a:pt x="509" y="368"/>
                      <a:pt x="503" y="368"/>
                    </a:cubicBezTo>
                    <a:close/>
                    <a:moveTo>
                      <a:pt x="503" y="461"/>
                    </a:moveTo>
                    <a:cubicBezTo>
                      <a:pt x="496" y="461"/>
                      <a:pt x="491" y="466"/>
                      <a:pt x="491" y="473"/>
                    </a:cubicBezTo>
                    <a:cubicBezTo>
                      <a:pt x="491" y="480"/>
                      <a:pt x="496" y="485"/>
                      <a:pt x="503" y="485"/>
                    </a:cubicBezTo>
                    <a:cubicBezTo>
                      <a:pt x="509" y="485"/>
                      <a:pt x="515" y="480"/>
                      <a:pt x="515" y="473"/>
                    </a:cubicBezTo>
                    <a:cubicBezTo>
                      <a:pt x="515" y="466"/>
                      <a:pt x="509" y="461"/>
                      <a:pt x="503" y="461"/>
                    </a:cubicBezTo>
                    <a:close/>
                    <a:moveTo>
                      <a:pt x="503" y="399"/>
                    </a:moveTo>
                    <a:cubicBezTo>
                      <a:pt x="496" y="399"/>
                      <a:pt x="491" y="405"/>
                      <a:pt x="491" y="411"/>
                    </a:cubicBezTo>
                    <a:cubicBezTo>
                      <a:pt x="491" y="418"/>
                      <a:pt x="496" y="424"/>
                      <a:pt x="503" y="424"/>
                    </a:cubicBezTo>
                    <a:cubicBezTo>
                      <a:pt x="509" y="424"/>
                      <a:pt x="515" y="418"/>
                      <a:pt x="515" y="411"/>
                    </a:cubicBezTo>
                    <a:cubicBezTo>
                      <a:pt x="515" y="405"/>
                      <a:pt x="509" y="399"/>
                      <a:pt x="503" y="399"/>
                    </a:cubicBezTo>
                    <a:close/>
                    <a:moveTo>
                      <a:pt x="503" y="430"/>
                    </a:moveTo>
                    <a:cubicBezTo>
                      <a:pt x="496" y="430"/>
                      <a:pt x="491" y="435"/>
                      <a:pt x="491" y="442"/>
                    </a:cubicBezTo>
                    <a:cubicBezTo>
                      <a:pt x="491" y="449"/>
                      <a:pt x="496" y="454"/>
                      <a:pt x="503" y="454"/>
                    </a:cubicBezTo>
                    <a:cubicBezTo>
                      <a:pt x="509" y="454"/>
                      <a:pt x="515" y="449"/>
                      <a:pt x="515" y="442"/>
                    </a:cubicBezTo>
                    <a:cubicBezTo>
                      <a:pt x="515" y="435"/>
                      <a:pt x="509" y="430"/>
                      <a:pt x="503" y="430"/>
                    </a:cubicBezTo>
                    <a:close/>
                    <a:moveTo>
                      <a:pt x="503" y="276"/>
                    </a:moveTo>
                    <a:cubicBezTo>
                      <a:pt x="496" y="276"/>
                      <a:pt x="491" y="282"/>
                      <a:pt x="491" y="288"/>
                    </a:cubicBezTo>
                    <a:cubicBezTo>
                      <a:pt x="491" y="295"/>
                      <a:pt x="496" y="301"/>
                      <a:pt x="503" y="301"/>
                    </a:cubicBezTo>
                    <a:cubicBezTo>
                      <a:pt x="509" y="301"/>
                      <a:pt x="515" y="295"/>
                      <a:pt x="515" y="288"/>
                    </a:cubicBezTo>
                    <a:cubicBezTo>
                      <a:pt x="515" y="282"/>
                      <a:pt x="509" y="276"/>
                      <a:pt x="503" y="276"/>
                    </a:cubicBezTo>
                    <a:close/>
                    <a:moveTo>
                      <a:pt x="538" y="707"/>
                    </a:moveTo>
                    <a:cubicBezTo>
                      <a:pt x="531" y="707"/>
                      <a:pt x="526" y="712"/>
                      <a:pt x="526" y="719"/>
                    </a:cubicBezTo>
                    <a:cubicBezTo>
                      <a:pt x="526" y="725"/>
                      <a:pt x="531" y="731"/>
                      <a:pt x="538" y="731"/>
                    </a:cubicBezTo>
                    <a:cubicBezTo>
                      <a:pt x="544" y="731"/>
                      <a:pt x="550" y="725"/>
                      <a:pt x="550" y="719"/>
                    </a:cubicBezTo>
                    <a:cubicBezTo>
                      <a:pt x="550" y="712"/>
                      <a:pt x="544" y="707"/>
                      <a:pt x="538" y="707"/>
                    </a:cubicBezTo>
                    <a:close/>
                    <a:moveTo>
                      <a:pt x="538" y="737"/>
                    </a:moveTo>
                    <a:cubicBezTo>
                      <a:pt x="531" y="737"/>
                      <a:pt x="526" y="743"/>
                      <a:pt x="526" y="750"/>
                    </a:cubicBezTo>
                    <a:cubicBezTo>
                      <a:pt x="526" y="756"/>
                      <a:pt x="531" y="762"/>
                      <a:pt x="538" y="762"/>
                    </a:cubicBezTo>
                    <a:cubicBezTo>
                      <a:pt x="544" y="762"/>
                      <a:pt x="550" y="756"/>
                      <a:pt x="550" y="750"/>
                    </a:cubicBezTo>
                    <a:cubicBezTo>
                      <a:pt x="550" y="743"/>
                      <a:pt x="544" y="737"/>
                      <a:pt x="538" y="737"/>
                    </a:cubicBezTo>
                    <a:close/>
                    <a:moveTo>
                      <a:pt x="538" y="768"/>
                    </a:moveTo>
                    <a:cubicBezTo>
                      <a:pt x="531" y="768"/>
                      <a:pt x="526" y="774"/>
                      <a:pt x="526" y="780"/>
                    </a:cubicBezTo>
                    <a:cubicBezTo>
                      <a:pt x="526" y="787"/>
                      <a:pt x="531" y="792"/>
                      <a:pt x="538" y="792"/>
                    </a:cubicBezTo>
                    <a:cubicBezTo>
                      <a:pt x="544" y="792"/>
                      <a:pt x="550" y="787"/>
                      <a:pt x="550" y="780"/>
                    </a:cubicBezTo>
                    <a:cubicBezTo>
                      <a:pt x="550" y="774"/>
                      <a:pt x="544" y="768"/>
                      <a:pt x="538" y="768"/>
                    </a:cubicBezTo>
                    <a:close/>
                    <a:moveTo>
                      <a:pt x="538" y="799"/>
                    </a:moveTo>
                    <a:cubicBezTo>
                      <a:pt x="531" y="799"/>
                      <a:pt x="526" y="804"/>
                      <a:pt x="526" y="811"/>
                    </a:cubicBezTo>
                    <a:cubicBezTo>
                      <a:pt x="526" y="818"/>
                      <a:pt x="531" y="823"/>
                      <a:pt x="538" y="823"/>
                    </a:cubicBezTo>
                    <a:cubicBezTo>
                      <a:pt x="544" y="823"/>
                      <a:pt x="550" y="818"/>
                      <a:pt x="550" y="811"/>
                    </a:cubicBezTo>
                    <a:cubicBezTo>
                      <a:pt x="550" y="804"/>
                      <a:pt x="544" y="799"/>
                      <a:pt x="538" y="799"/>
                    </a:cubicBezTo>
                    <a:close/>
                    <a:moveTo>
                      <a:pt x="292" y="153"/>
                    </a:moveTo>
                    <a:cubicBezTo>
                      <a:pt x="286" y="153"/>
                      <a:pt x="280" y="159"/>
                      <a:pt x="280" y="165"/>
                    </a:cubicBezTo>
                    <a:cubicBezTo>
                      <a:pt x="280" y="172"/>
                      <a:pt x="286" y="178"/>
                      <a:pt x="292" y="178"/>
                    </a:cubicBezTo>
                    <a:cubicBezTo>
                      <a:pt x="299" y="178"/>
                      <a:pt x="305" y="172"/>
                      <a:pt x="305" y="165"/>
                    </a:cubicBezTo>
                    <a:cubicBezTo>
                      <a:pt x="305" y="159"/>
                      <a:pt x="299" y="153"/>
                      <a:pt x="292" y="153"/>
                    </a:cubicBezTo>
                    <a:close/>
                    <a:moveTo>
                      <a:pt x="292" y="184"/>
                    </a:moveTo>
                    <a:cubicBezTo>
                      <a:pt x="286" y="184"/>
                      <a:pt x="280" y="189"/>
                      <a:pt x="280" y="196"/>
                    </a:cubicBezTo>
                    <a:cubicBezTo>
                      <a:pt x="280" y="203"/>
                      <a:pt x="286" y="208"/>
                      <a:pt x="292" y="208"/>
                    </a:cubicBezTo>
                    <a:cubicBezTo>
                      <a:pt x="299" y="208"/>
                      <a:pt x="305" y="203"/>
                      <a:pt x="305" y="196"/>
                    </a:cubicBezTo>
                    <a:cubicBezTo>
                      <a:pt x="305" y="189"/>
                      <a:pt x="299" y="184"/>
                      <a:pt x="292" y="184"/>
                    </a:cubicBezTo>
                    <a:close/>
                    <a:moveTo>
                      <a:pt x="292" y="215"/>
                    </a:moveTo>
                    <a:cubicBezTo>
                      <a:pt x="286" y="215"/>
                      <a:pt x="280" y="220"/>
                      <a:pt x="280" y="227"/>
                    </a:cubicBezTo>
                    <a:cubicBezTo>
                      <a:pt x="280" y="234"/>
                      <a:pt x="286" y="239"/>
                      <a:pt x="292" y="239"/>
                    </a:cubicBezTo>
                    <a:cubicBezTo>
                      <a:pt x="299" y="239"/>
                      <a:pt x="305" y="234"/>
                      <a:pt x="305" y="227"/>
                    </a:cubicBezTo>
                    <a:cubicBezTo>
                      <a:pt x="305" y="220"/>
                      <a:pt x="299" y="215"/>
                      <a:pt x="292" y="215"/>
                    </a:cubicBezTo>
                    <a:close/>
                    <a:moveTo>
                      <a:pt x="257" y="92"/>
                    </a:moveTo>
                    <a:cubicBezTo>
                      <a:pt x="251" y="92"/>
                      <a:pt x="245" y="97"/>
                      <a:pt x="245" y="104"/>
                    </a:cubicBezTo>
                    <a:cubicBezTo>
                      <a:pt x="245" y="111"/>
                      <a:pt x="251" y="116"/>
                      <a:pt x="257" y="116"/>
                    </a:cubicBezTo>
                    <a:cubicBezTo>
                      <a:pt x="264" y="116"/>
                      <a:pt x="270" y="111"/>
                      <a:pt x="270" y="104"/>
                    </a:cubicBezTo>
                    <a:cubicBezTo>
                      <a:pt x="270" y="97"/>
                      <a:pt x="264" y="92"/>
                      <a:pt x="257" y="92"/>
                    </a:cubicBezTo>
                    <a:close/>
                    <a:moveTo>
                      <a:pt x="257" y="122"/>
                    </a:moveTo>
                    <a:cubicBezTo>
                      <a:pt x="251" y="122"/>
                      <a:pt x="245" y="128"/>
                      <a:pt x="245" y="135"/>
                    </a:cubicBezTo>
                    <a:cubicBezTo>
                      <a:pt x="245" y="141"/>
                      <a:pt x="251" y="147"/>
                      <a:pt x="257" y="147"/>
                    </a:cubicBezTo>
                    <a:cubicBezTo>
                      <a:pt x="264" y="147"/>
                      <a:pt x="270" y="141"/>
                      <a:pt x="270" y="135"/>
                    </a:cubicBezTo>
                    <a:cubicBezTo>
                      <a:pt x="270" y="128"/>
                      <a:pt x="264" y="122"/>
                      <a:pt x="257" y="122"/>
                    </a:cubicBezTo>
                    <a:close/>
                    <a:moveTo>
                      <a:pt x="257" y="153"/>
                    </a:moveTo>
                    <a:cubicBezTo>
                      <a:pt x="251" y="153"/>
                      <a:pt x="245" y="159"/>
                      <a:pt x="245" y="165"/>
                    </a:cubicBezTo>
                    <a:cubicBezTo>
                      <a:pt x="245" y="172"/>
                      <a:pt x="251" y="178"/>
                      <a:pt x="257" y="178"/>
                    </a:cubicBezTo>
                    <a:cubicBezTo>
                      <a:pt x="264" y="178"/>
                      <a:pt x="270" y="172"/>
                      <a:pt x="270" y="165"/>
                    </a:cubicBezTo>
                    <a:cubicBezTo>
                      <a:pt x="270" y="159"/>
                      <a:pt x="264" y="153"/>
                      <a:pt x="257" y="153"/>
                    </a:cubicBezTo>
                    <a:close/>
                    <a:moveTo>
                      <a:pt x="257" y="61"/>
                    </a:moveTo>
                    <a:cubicBezTo>
                      <a:pt x="251" y="61"/>
                      <a:pt x="245" y="66"/>
                      <a:pt x="245" y="73"/>
                    </a:cubicBezTo>
                    <a:cubicBezTo>
                      <a:pt x="245" y="80"/>
                      <a:pt x="251" y="85"/>
                      <a:pt x="257" y="85"/>
                    </a:cubicBezTo>
                    <a:cubicBezTo>
                      <a:pt x="264" y="85"/>
                      <a:pt x="270" y="80"/>
                      <a:pt x="270" y="73"/>
                    </a:cubicBezTo>
                    <a:cubicBezTo>
                      <a:pt x="270" y="66"/>
                      <a:pt x="264" y="61"/>
                      <a:pt x="257" y="61"/>
                    </a:cubicBezTo>
                    <a:close/>
                    <a:moveTo>
                      <a:pt x="257" y="184"/>
                    </a:moveTo>
                    <a:cubicBezTo>
                      <a:pt x="251" y="184"/>
                      <a:pt x="245" y="189"/>
                      <a:pt x="245" y="196"/>
                    </a:cubicBezTo>
                    <a:cubicBezTo>
                      <a:pt x="245" y="203"/>
                      <a:pt x="251" y="208"/>
                      <a:pt x="257" y="208"/>
                    </a:cubicBezTo>
                    <a:cubicBezTo>
                      <a:pt x="264" y="208"/>
                      <a:pt x="270" y="203"/>
                      <a:pt x="270" y="196"/>
                    </a:cubicBezTo>
                    <a:cubicBezTo>
                      <a:pt x="270" y="189"/>
                      <a:pt x="264" y="184"/>
                      <a:pt x="257" y="184"/>
                    </a:cubicBezTo>
                    <a:close/>
                    <a:moveTo>
                      <a:pt x="257" y="30"/>
                    </a:moveTo>
                    <a:cubicBezTo>
                      <a:pt x="251" y="30"/>
                      <a:pt x="245" y="36"/>
                      <a:pt x="245" y="42"/>
                    </a:cubicBezTo>
                    <a:cubicBezTo>
                      <a:pt x="245" y="49"/>
                      <a:pt x="251" y="55"/>
                      <a:pt x="257" y="55"/>
                    </a:cubicBezTo>
                    <a:cubicBezTo>
                      <a:pt x="264" y="55"/>
                      <a:pt x="270" y="49"/>
                      <a:pt x="270" y="42"/>
                    </a:cubicBezTo>
                    <a:cubicBezTo>
                      <a:pt x="270" y="36"/>
                      <a:pt x="264" y="30"/>
                      <a:pt x="257" y="30"/>
                    </a:cubicBezTo>
                    <a:close/>
                    <a:moveTo>
                      <a:pt x="257" y="0"/>
                    </a:moveTo>
                    <a:cubicBezTo>
                      <a:pt x="251" y="0"/>
                      <a:pt x="245" y="5"/>
                      <a:pt x="245" y="12"/>
                    </a:cubicBezTo>
                    <a:cubicBezTo>
                      <a:pt x="245" y="18"/>
                      <a:pt x="251" y="24"/>
                      <a:pt x="257" y="24"/>
                    </a:cubicBezTo>
                    <a:cubicBezTo>
                      <a:pt x="264" y="24"/>
                      <a:pt x="270" y="18"/>
                      <a:pt x="270" y="12"/>
                    </a:cubicBezTo>
                    <a:cubicBezTo>
                      <a:pt x="270" y="5"/>
                      <a:pt x="264" y="0"/>
                      <a:pt x="257" y="0"/>
                    </a:cubicBezTo>
                    <a:close/>
                    <a:moveTo>
                      <a:pt x="292" y="61"/>
                    </a:moveTo>
                    <a:cubicBezTo>
                      <a:pt x="286" y="61"/>
                      <a:pt x="280" y="66"/>
                      <a:pt x="280" y="73"/>
                    </a:cubicBezTo>
                    <a:cubicBezTo>
                      <a:pt x="280" y="80"/>
                      <a:pt x="286" y="85"/>
                      <a:pt x="292" y="85"/>
                    </a:cubicBezTo>
                    <a:cubicBezTo>
                      <a:pt x="299" y="85"/>
                      <a:pt x="305" y="80"/>
                      <a:pt x="305" y="73"/>
                    </a:cubicBezTo>
                    <a:cubicBezTo>
                      <a:pt x="305" y="66"/>
                      <a:pt x="299" y="61"/>
                      <a:pt x="292" y="61"/>
                    </a:cubicBezTo>
                    <a:close/>
                    <a:moveTo>
                      <a:pt x="328" y="215"/>
                    </a:moveTo>
                    <a:cubicBezTo>
                      <a:pt x="321" y="215"/>
                      <a:pt x="315" y="220"/>
                      <a:pt x="315" y="227"/>
                    </a:cubicBezTo>
                    <a:cubicBezTo>
                      <a:pt x="315" y="234"/>
                      <a:pt x="321" y="239"/>
                      <a:pt x="328" y="239"/>
                    </a:cubicBezTo>
                    <a:cubicBezTo>
                      <a:pt x="334" y="239"/>
                      <a:pt x="340" y="234"/>
                      <a:pt x="340" y="227"/>
                    </a:cubicBezTo>
                    <a:cubicBezTo>
                      <a:pt x="340" y="220"/>
                      <a:pt x="334" y="215"/>
                      <a:pt x="328" y="215"/>
                    </a:cubicBezTo>
                    <a:close/>
                    <a:moveTo>
                      <a:pt x="328" y="245"/>
                    </a:moveTo>
                    <a:cubicBezTo>
                      <a:pt x="321" y="245"/>
                      <a:pt x="315" y="251"/>
                      <a:pt x="315" y="258"/>
                    </a:cubicBezTo>
                    <a:cubicBezTo>
                      <a:pt x="315" y="264"/>
                      <a:pt x="321" y="270"/>
                      <a:pt x="328" y="270"/>
                    </a:cubicBezTo>
                    <a:cubicBezTo>
                      <a:pt x="334" y="270"/>
                      <a:pt x="340" y="264"/>
                      <a:pt x="340" y="258"/>
                    </a:cubicBezTo>
                    <a:cubicBezTo>
                      <a:pt x="340" y="251"/>
                      <a:pt x="334" y="245"/>
                      <a:pt x="328" y="245"/>
                    </a:cubicBezTo>
                    <a:close/>
                    <a:moveTo>
                      <a:pt x="257" y="215"/>
                    </a:moveTo>
                    <a:cubicBezTo>
                      <a:pt x="251" y="215"/>
                      <a:pt x="245" y="220"/>
                      <a:pt x="245" y="227"/>
                    </a:cubicBezTo>
                    <a:cubicBezTo>
                      <a:pt x="245" y="234"/>
                      <a:pt x="251" y="239"/>
                      <a:pt x="257" y="239"/>
                    </a:cubicBezTo>
                    <a:cubicBezTo>
                      <a:pt x="264" y="239"/>
                      <a:pt x="270" y="234"/>
                      <a:pt x="270" y="227"/>
                    </a:cubicBezTo>
                    <a:cubicBezTo>
                      <a:pt x="270" y="220"/>
                      <a:pt x="264" y="215"/>
                      <a:pt x="257" y="215"/>
                    </a:cubicBezTo>
                    <a:close/>
                    <a:moveTo>
                      <a:pt x="328" y="184"/>
                    </a:moveTo>
                    <a:cubicBezTo>
                      <a:pt x="321" y="184"/>
                      <a:pt x="315" y="189"/>
                      <a:pt x="315" y="196"/>
                    </a:cubicBezTo>
                    <a:cubicBezTo>
                      <a:pt x="315" y="203"/>
                      <a:pt x="321" y="208"/>
                      <a:pt x="328" y="208"/>
                    </a:cubicBezTo>
                    <a:cubicBezTo>
                      <a:pt x="334" y="208"/>
                      <a:pt x="340" y="203"/>
                      <a:pt x="340" y="196"/>
                    </a:cubicBezTo>
                    <a:cubicBezTo>
                      <a:pt x="340" y="189"/>
                      <a:pt x="334" y="184"/>
                      <a:pt x="328" y="184"/>
                    </a:cubicBezTo>
                    <a:close/>
                    <a:moveTo>
                      <a:pt x="292" y="92"/>
                    </a:moveTo>
                    <a:cubicBezTo>
                      <a:pt x="286" y="92"/>
                      <a:pt x="280" y="97"/>
                      <a:pt x="280" y="104"/>
                    </a:cubicBezTo>
                    <a:cubicBezTo>
                      <a:pt x="280" y="111"/>
                      <a:pt x="286" y="116"/>
                      <a:pt x="292" y="116"/>
                    </a:cubicBezTo>
                    <a:cubicBezTo>
                      <a:pt x="299" y="116"/>
                      <a:pt x="305" y="111"/>
                      <a:pt x="305" y="104"/>
                    </a:cubicBezTo>
                    <a:cubicBezTo>
                      <a:pt x="305" y="97"/>
                      <a:pt x="299" y="92"/>
                      <a:pt x="292" y="92"/>
                    </a:cubicBezTo>
                    <a:close/>
                    <a:moveTo>
                      <a:pt x="292" y="122"/>
                    </a:moveTo>
                    <a:cubicBezTo>
                      <a:pt x="286" y="122"/>
                      <a:pt x="280" y="128"/>
                      <a:pt x="280" y="135"/>
                    </a:cubicBezTo>
                    <a:cubicBezTo>
                      <a:pt x="280" y="141"/>
                      <a:pt x="286" y="147"/>
                      <a:pt x="292" y="147"/>
                    </a:cubicBezTo>
                    <a:cubicBezTo>
                      <a:pt x="299" y="147"/>
                      <a:pt x="305" y="141"/>
                      <a:pt x="305" y="135"/>
                    </a:cubicBezTo>
                    <a:cubicBezTo>
                      <a:pt x="305" y="128"/>
                      <a:pt x="299" y="122"/>
                      <a:pt x="292" y="122"/>
                    </a:cubicBezTo>
                    <a:close/>
                    <a:moveTo>
                      <a:pt x="292" y="30"/>
                    </a:moveTo>
                    <a:cubicBezTo>
                      <a:pt x="286" y="30"/>
                      <a:pt x="280" y="36"/>
                      <a:pt x="280" y="42"/>
                    </a:cubicBezTo>
                    <a:cubicBezTo>
                      <a:pt x="280" y="49"/>
                      <a:pt x="286" y="55"/>
                      <a:pt x="292" y="55"/>
                    </a:cubicBezTo>
                    <a:cubicBezTo>
                      <a:pt x="299" y="55"/>
                      <a:pt x="305" y="49"/>
                      <a:pt x="305" y="42"/>
                    </a:cubicBezTo>
                    <a:cubicBezTo>
                      <a:pt x="305" y="36"/>
                      <a:pt x="299" y="30"/>
                      <a:pt x="292" y="30"/>
                    </a:cubicBezTo>
                    <a:close/>
                    <a:moveTo>
                      <a:pt x="222" y="215"/>
                    </a:moveTo>
                    <a:cubicBezTo>
                      <a:pt x="216" y="215"/>
                      <a:pt x="210" y="220"/>
                      <a:pt x="210" y="227"/>
                    </a:cubicBezTo>
                    <a:cubicBezTo>
                      <a:pt x="210" y="234"/>
                      <a:pt x="216" y="239"/>
                      <a:pt x="222" y="239"/>
                    </a:cubicBezTo>
                    <a:cubicBezTo>
                      <a:pt x="229" y="239"/>
                      <a:pt x="235" y="234"/>
                      <a:pt x="235" y="227"/>
                    </a:cubicBezTo>
                    <a:cubicBezTo>
                      <a:pt x="235" y="220"/>
                      <a:pt x="229" y="215"/>
                      <a:pt x="222" y="215"/>
                    </a:cubicBezTo>
                    <a:close/>
                    <a:moveTo>
                      <a:pt x="187" y="0"/>
                    </a:moveTo>
                    <a:cubicBezTo>
                      <a:pt x="181" y="0"/>
                      <a:pt x="175" y="5"/>
                      <a:pt x="175" y="12"/>
                    </a:cubicBezTo>
                    <a:cubicBezTo>
                      <a:pt x="175" y="18"/>
                      <a:pt x="181" y="24"/>
                      <a:pt x="187" y="24"/>
                    </a:cubicBezTo>
                    <a:cubicBezTo>
                      <a:pt x="194" y="24"/>
                      <a:pt x="200" y="18"/>
                      <a:pt x="200" y="12"/>
                    </a:cubicBezTo>
                    <a:cubicBezTo>
                      <a:pt x="200" y="5"/>
                      <a:pt x="194" y="0"/>
                      <a:pt x="187" y="0"/>
                    </a:cubicBezTo>
                    <a:close/>
                    <a:moveTo>
                      <a:pt x="187" y="30"/>
                    </a:moveTo>
                    <a:cubicBezTo>
                      <a:pt x="181" y="30"/>
                      <a:pt x="175" y="36"/>
                      <a:pt x="175" y="42"/>
                    </a:cubicBezTo>
                    <a:cubicBezTo>
                      <a:pt x="175" y="49"/>
                      <a:pt x="181" y="55"/>
                      <a:pt x="187" y="55"/>
                    </a:cubicBezTo>
                    <a:cubicBezTo>
                      <a:pt x="194" y="55"/>
                      <a:pt x="200" y="49"/>
                      <a:pt x="200" y="42"/>
                    </a:cubicBezTo>
                    <a:cubicBezTo>
                      <a:pt x="200" y="36"/>
                      <a:pt x="194" y="30"/>
                      <a:pt x="187" y="30"/>
                    </a:cubicBezTo>
                    <a:close/>
                    <a:moveTo>
                      <a:pt x="187" y="92"/>
                    </a:moveTo>
                    <a:cubicBezTo>
                      <a:pt x="181" y="92"/>
                      <a:pt x="175" y="97"/>
                      <a:pt x="175" y="104"/>
                    </a:cubicBezTo>
                    <a:cubicBezTo>
                      <a:pt x="175" y="111"/>
                      <a:pt x="181" y="116"/>
                      <a:pt x="187" y="116"/>
                    </a:cubicBezTo>
                    <a:cubicBezTo>
                      <a:pt x="194" y="116"/>
                      <a:pt x="200" y="111"/>
                      <a:pt x="200" y="104"/>
                    </a:cubicBezTo>
                    <a:cubicBezTo>
                      <a:pt x="200" y="97"/>
                      <a:pt x="194" y="92"/>
                      <a:pt x="187" y="92"/>
                    </a:cubicBezTo>
                    <a:close/>
                    <a:moveTo>
                      <a:pt x="187" y="61"/>
                    </a:moveTo>
                    <a:cubicBezTo>
                      <a:pt x="181" y="61"/>
                      <a:pt x="175" y="66"/>
                      <a:pt x="175" y="73"/>
                    </a:cubicBezTo>
                    <a:cubicBezTo>
                      <a:pt x="175" y="80"/>
                      <a:pt x="181" y="85"/>
                      <a:pt x="187" y="85"/>
                    </a:cubicBezTo>
                    <a:cubicBezTo>
                      <a:pt x="194" y="85"/>
                      <a:pt x="200" y="80"/>
                      <a:pt x="200" y="73"/>
                    </a:cubicBezTo>
                    <a:cubicBezTo>
                      <a:pt x="200" y="66"/>
                      <a:pt x="194" y="61"/>
                      <a:pt x="187" y="61"/>
                    </a:cubicBezTo>
                    <a:close/>
                    <a:moveTo>
                      <a:pt x="433" y="676"/>
                    </a:moveTo>
                    <a:cubicBezTo>
                      <a:pt x="426" y="676"/>
                      <a:pt x="420" y="681"/>
                      <a:pt x="420" y="688"/>
                    </a:cubicBezTo>
                    <a:cubicBezTo>
                      <a:pt x="420" y="695"/>
                      <a:pt x="426" y="700"/>
                      <a:pt x="433" y="700"/>
                    </a:cubicBezTo>
                    <a:cubicBezTo>
                      <a:pt x="439" y="700"/>
                      <a:pt x="445" y="695"/>
                      <a:pt x="445" y="688"/>
                    </a:cubicBezTo>
                    <a:cubicBezTo>
                      <a:pt x="445" y="681"/>
                      <a:pt x="439" y="676"/>
                      <a:pt x="433" y="676"/>
                    </a:cubicBezTo>
                    <a:close/>
                    <a:moveTo>
                      <a:pt x="222" y="92"/>
                    </a:moveTo>
                    <a:cubicBezTo>
                      <a:pt x="216" y="92"/>
                      <a:pt x="210" y="97"/>
                      <a:pt x="210" y="104"/>
                    </a:cubicBezTo>
                    <a:cubicBezTo>
                      <a:pt x="210" y="111"/>
                      <a:pt x="216" y="116"/>
                      <a:pt x="222" y="116"/>
                    </a:cubicBezTo>
                    <a:cubicBezTo>
                      <a:pt x="229" y="116"/>
                      <a:pt x="235" y="111"/>
                      <a:pt x="235" y="104"/>
                    </a:cubicBezTo>
                    <a:cubicBezTo>
                      <a:pt x="235" y="97"/>
                      <a:pt x="229" y="92"/>
                      <a:pt x="222" y="92"/>
                    </a:cubicBezTo>
                    <a:close/>
                    <a:moveTo>
                      <a:pt x="573" y="737"/>
                    </a:moveTo>
                    <a:cubicBezTo>
                      <a:pt x="566" y="737"/>
                      <a:pt x="561" y="743"/>
                      <a:pt x="561" y="750"/>
                    </a:cubicBezTo>
                    <a:cubicBezTo>
                      <a:pt x="561" y="756"/>
                      <a:pt x="566" y="762"/>
                      <a:pt x="573" y="762"/>
                    </a:cubicBezTo>
                    <a:cubicBezTo>
                      <a:pt x="580" y="762"/>
                      <a:pt x="585" y="756"/>
                      <a:pt x="585" y="750"/>
                    </a:cubicBezTo>
                    <a:cubicBezTo>
                      <a:pt x="585" y="743"/>
                      <a:pt x="580" y="737"/>
                      <a:pt x="573" y="737"/>
                    </a:cubicBezTo>
                    <a:close/>
                    <a:moveTo>
                      <a:pt x="222" y="122"/>
                    </a:moveTo>
                    <a:cubicBezTo>
                      <a:pt x="216" y="122"/>
                      <a:pt x="210" y="128"/>
                      <a:pt x="210" y="135"/>
                    </a:cubicBezTo>
                    <a:cubicBezTo>
                      <a:pt x="210" y="141"/>
                      <a:pt x="216" y="147"/>
                      <a:pt x="222" y="147"/>
                    </a:cubicBezTo>
                    <a:cubicBezTo>
                      <a:pt x="229" y="147"/>
                      <a:pt x="235" y="141"/>
                      <a:pt x="235" y="135"/>
                    </a:cubicBezTo>
                    <a:cubicBezTo>
                      <a:pt x="235" y="128"/>
                      <a:pt x="229" y="122"/>
                      <a:pt x="222" y="122"/>
                    </a:cubicBezTo>
                    <a:close/>
                    <a:moveTo>
                      <a:pt x="222" y="61"/>
                    </a:moveTo>
                    <a:cubicBezTo>
                      <a:pt x="216" y="61"/>
                      <a:pt x="210" y="66"/>
                      <a:pt x="210" y="73"/>
                    </a:cubicBezTo>
                    <a:cubicBezTo>
                      <a:pt x="210" y="80"/>
                      <a:pt x="216" y="85"/>
                      <a:pt x="222" y="85"/>
                    </a:cubicBezTo>
                    <a:cubicBezTo>
                      <a:pt x="229" y="85"/>
                      <a:pt x="235" y="80"/>
                      <a:pt x="235" y="73"/>
                    </a:cubicBezTo>
                    <a:cubicBezTo>
                      <a:pt x="235" y="66"/>
                      <a:pt x="229" y="61"/>
                      <a:pt x="222" y="61"/>
                    </a:cubicBezTo>
                    <a:close/>
                    <a:moveTo>
                      <a:pt x="222" y="153"/>
                    </a:moveTo>
                    <a:cubicBezTo>
                      <a:pt x="216" y="153"/>
                      <a:pt x="210" y="159"/>
                      <a:pt x="210" y="165"/>
                    </a:cubicBezTo>
                    <a:cubicBezTo>
                      <a:pt x="210" y="172"/>
                      <a:pt x="216" y="178"/>
                      <a:pt x="222" y="178"/>
                    </a:cubicBezTo>
                    <a:cubicBezTo>
                      <a:pt x="229" y="178"/>
                      <a:pt x="235" y="172"/>
                      <a:pt x="235" y="165"/>
                    </a:cubicBezTo>
                    <a:cubicBezTo>
                      <a:pt x="235" y="159"/>
                      <a:pt x="229" y="153"/>
                      <a:pt x="222" y="153"/>
                    </a:cubicBezTo>
                    <a:close/>
                    <a:moveTo>
                      <a:pt x="222" y="0"/>
                    </a:moveTo>
                    <a:cubicBezTo>
                      <a:pt x="216" y="0"/>
                      <a:pt x="210" y="5"/>
                      <a:pt x="210" y="12"/>
                    </a:cubicBezTo>
                    <a:cubicBezTo>
                      <a:pt x="210" y="18"/>
                      <a:pt x="216" y="24"/>
                      <a:pt x="222" y="24"/>
                    </a:cubicBezTo>
                    <a:cubicBezTo>
                      <a:pt x="229" y="24"/>
                      <a:pt x="235" y="18"/>
                      <a:pt x="235" y="12"/>
                    </a:cubicBezTo>
                    <a:cubicBezTo>
                      <a:pt x="235" y="5"/>
                      <a:pt x="229" y="0"/>
                      <a:pt x="222" y="0"/>
                    </a:cubicBezTo>
                    <a:close/>
                    <a:moveTo>
                      <a:pt x="222" y="30"/>
                    </a:moveTo>
                    <a:cubicBezTo>
                      <a:pt x="216" y="30"/>
                      <a:pt x="210" y="36"/>
                      <a:pt x="210" y="42"/>
                    </a:cubicBezTo>
                    <a:cubicBezTo>
                      <a:pt x="210" y="49"/>
                      <a:pt x="216" y="55"/>
                      <a:pt x="222" y="55"/>
                    </a:cubicBezTo>
                    <a:cubicBezTo>
                      <a:pt x="229" y="55"/>
                      <a:pt x="235" y="49"/>
                      <a:pt x="235" y="42"/>
                    </a:cubicBezTo>
                    <a:cubicBezTo>
                      <a:pt x="235" y="36"/>
                      <a:pt x="229" y="30"/>
                      <a:pt x="222" y="30"/>
                    </a:cubicBezTo>
                    <a:close/>
                    <a:moveTo>
                      <a:pt x="398" y="338"/>
                    </a:moveTo>
                    <a:cubicBezTo>
                      <a:pt x="391" y="338"/>
                      <a:pt x="385" y="343"/>
                      <a:pt x="385" y="350"/>
                    </a:cubicBezTo>
                    <a:cubicBezTo>
                      <a:pt x="385" y="357"/>
                      <a:pt x="391" y="362"/>
                      <a:pt x="398" y="362"/>
                    </a:cubicBezTo>
                    <a:cubicBezTo>
                      <a:pt x="404" y="362"/>
                      <a:pt x="410" y="357"/>
                      <a:pt x="410" y="350"/>
                    </a:cubicBezTo>
                    <a:cubicBezTo>
                      <a:pt x="410" y="343"/>
                      <a:pt x="404" y="338"/>
                      <a:pt x="398" y="338"/>
                    </a:cubicBezTo>
                    <a:close/>
                    <a:moveTo>
                      <a:pt x="398" y="368"/>
                    </a:moveTo>
                    <a:cubicBezTo>
                      <a:pt x="391" y="368"/>
                      <a:pt x="385" y="374"/>
                      <a:pt x="385" y="381"/>
                    </a:cubicBezTo>
                    <a:cubicBezTo>
                      <a:pt x="385" y="387"/>
                      <a:pt x="391" y="393"/>
                      <a:pt x="398" y="393"/>
                    </a:cubicBezTo>
                    <a:cubicBezTo>
                      <a:pt x="404" y="393"/>
                      <a:pt x="410" y="387"/>
                      <a:pt x="410" y="381"/>
                    </a:cubicBezTo>
                    <a:cubicBezTo>
                      <a:pt x="410" y="374"/>
                      <a:pt x="404" y="368"/>
                      <a:pt x="398" y="368"/>
                    </a:cubicBezTo>
                    <a:close/>
                    <a:moveTo>
                      <a:pt x="398" y="461"/>
                    </a:moveTo>
                    <a:cubicBezTo>
                      <a:pt x="391" y="461"/>
                      <a:pt x="385" y="466"/>
                      <a:pt x="385" y="473"/>
                    </a:cubicBezTo>
                    <a:cubicBezTo>
                      <a:pt x="385" y="480"/>
                      <a:pt x="391" y="485"/>
                      <a:pt x="398" y="485"/>
                    </a:cubicBezTo>
                    <a:cubicBezTo>
                      <a:pt x="404" y="485"/>
                      <a:pt x="410" y="480"/>
                      <a:pt x="410" y="473"/>
                    </a:cubicBezTo>
                    <a:cubicBezTo>
                      <a:pt x="410" y="466"/>
                      <a:pt x="404" y="461"/>
                      <a:pt x="398" y="461"/>
                    </a:cubicBezTo>
                    <a:close/>
                    <a:moveTo>
                      <a:pt x="328" y="153"/>
                    </a:moveTo>
                    <a:cubicBezTo>
                      <a:pt x="321" y="153"/>
                      <a:pt x="315" y="159"/>
                      <a:pt x="315" y="165"/>
                    </a:cubicBezTo>
                    <a:cubicBezTo>
                      <a:pt x="315" y="172"/>
                      <a:pt x="321" y="178"/>
                      <a:pt x="328" y="178"/>
                    </a:cubicBezTo>
                    <a:cubicBezTo>
                      <a:pt x="334" y="178"/>
                      <a:pt x="340" y="172"/>
                      <a:pt x="340" y="165"/>
                    </a:cubicBezTo>
                    <a:cubicBezTo>
                      <a:pt x="340" y="159"/>
                      <a:pt x="334" y="153"/>
                      <a:pt x="328" y="153"/>
                    </a:cubicBezTo>
                    <a:close/>
                    <a:moveTo>
                      <a:pt x="398" y="399"/>
                    </a:moveTo>
                    <a:cubicBezTo>
                      <a:pt x="391" y="399"/>
                      <a:pt x="385" y="405"/>
                      <a:pt x="385" y="411"/>
                    </a:cubicBezTo>
                    <a:cubicBezTo>
                      <a:pt x="385" y="418"/>
                      <a:pt x="391" y="424"/>
                      <a:pt x="398" y="424"/>
                    </a:cubicBezTo>
                    <a:cubicBezTo>
                      <a:pt x="404" y="424"/>
                      <a:pt x="410" y="418"/>
                      <a:pt x="410" y="411"/>
                    </a:cubicBezTo>
                    <a:cubicBezTo>
                      <a:pt x="410" y="405"/>
                      <a:pt x="404" y="399"/>
                      <a:pt x="398" y="399"/>
                    </a:cubicBezTo>
                    <a:close/>
                    <a:moveTo>
                      <a:pt x="398" y="153"/>
                    </a:moveTo>
                    <a:cubicBezTo>
                      <a:pt x="391" y="153"/>
                      <a:pt x="385" y="159"/>
                      <a:pt x="385" y="165"/>
                    </a:cubicBezTo>
                    <a:cubicBezTo>
                      <a:pt x="385" y="172"/>
                      <a:pt x="391" y="178"/>
                      <a:pt x="398" y="178"/>
                    </a:cubicBezTo>
                    <a:cubicBezTo>
                      <a:pt x="404" y="178"/>
                      <a:pt x="410" y="172"/>
                      <a:pt x="410" y="165"/>
                    </a:cubicBezTo>
                    <a:cubicBezTo>
                      <a:pt x="410" y="159"/>
                      <a:pt x="404" y="153"/>
                      <a:pt x="398" y="153"/>
                    </a:cubicBezTo>
                    <a:close/>
                    <a:moveTo>
                      <a:pt x="398" y="276"/>
                    </a:moveTo>
                    <a:cubicBezTo>
                      <a:pt x="391" y="276"/>
                      <a:pt x="385" y="282"/>
                      <a:pt x="385" y="288"/>
                    </a:cubicBezTo>
                    <a:cubicBezTo>
                      <a:pt x="385" y="295"/>
                      <a:pt x="391" y="301"/>
                      <a:pt x="398" y="301"/>
                    </a:cubicBezTo>
                    <a:cubicBezTo>
                      <a:pt x="404" y="301"/>
                      <a:pt x="410" y="295"/>
                      <a:pt x="410" y="288"/>
                    </a:cubicBezTo>
                    <a:cubicBezTo>
                      <a:pt x="410" y="282"/>
                      <a:pt x="404" y="276"/>
                      <a:pt x="398" y="276"/>
                    </a:cubicBezTo>
                    <a:close/>
                    <a:moveTo>
                      <a:pt x="398" y="184"/>
                    </a:moveTo>
                    <a:cubicBezTo>
                      <a:pt x="391" y="184"/>
                      <a:pt x="385" y="189"/>
                      <a:pt x="385" y="196"/>
                    </a:cubicBezTo>
                    <a:cubicBezTo>
                      <a:pt x="385" y="203"/>
                      <a:pt x="391" y="208"/>
                      <a:pt x="398" y="208"/>
                    </a:cubicBezTo>
                    <a:cubicBezTo>
                      <a:pt x="404" y="208"/>
                      <a:pt x="410" y="203"/>
                      <a:pt x="410" y="196"/>
                    </a:cubicBezTo>
                    <a:cubicBezTo>
                      <a:pt x="410" y="189"/>
                      <a:pt x="404" y="184"/>
                      <a:pt x="398" y="184"/>
                    </a:cubicBezTo>
                    <a:close/>
                    <a:moveTo>
                      <a:pt x="398" y="215"/>
                    </a:moveTo>
                    <a:cubicBezTo>
                      <a:pt x="391" y="215"/>
                      <a:pt x="385" y="220"/>
                      <a:pt x="385" y="227"/>
                    </a:cubicBezTo>
                    <a:cubicBezTo>
                      <a:pt x="385" y="234"/>
                      <a:pt x="391" y="239"/>
                      <a:pt x="398" y="239"/>
                    </a:cubicBezTo>
                    <a:cubicBezTo>
                      <a:pt x="404" y="239"/>
                      <a:pt x="410" y="234"/>
                      <a:pt x="410" y="227"/>
                    </a:cubicBezTo>
                    <a:cubicBezTo>
                      <a:pt x="410" y="220"/>
                      <a:pt x="404" y="215"/>
                      <a:pt x="398" y="215"/>
                    </a:cubicBezTo>
                    <a:close/>
                    <a:moveTo>
                      <a:pt x="398" y="245"/>
                    </a:moveTo>
                    <a:cubicBezTo>
                      <a:pt x="391" y="245"/>
                      <a:pt x="385" y="251"/>
                      <a:pt x="385" y="258"/>
                    </a:cubicBezTo>
                    <a:cubicBezTo>
                      <a:pt x="385" y="264"/>
                      <a:pt x="391" y="270"/>
                      <a:pt x="398" y="270"/>
                    </a:cubicBezTo>
                    <a:cubicBezTo>
                      <a:pt x="404" y="270"/>
                      <a:pt x="410" y="264"/>
                      <a:pt x="410" y="258"/>
                    </a:cubicBezTo>
                    <a:cubicBezTo>
                      <a:pt x="410" y="251"/>
                      <a:pt x="404" y="245"/>
                      <a:pt x="398" y="245"/>
                    </a:cubicBezTo>
                    <a:close/>
                    <a:moveTo>
                      <a:pt x="398" y="307"/>
                    </a:moveTo>
                    <a:cubicBezTo>
                      <a:pt x="391" y="307"/>
                      <a:pt x="385" y="312"/>
                      <a:pt x="385" y="319"/>
                    </a:cubicBezTo>
                    <a:cubicBezTo>
                      <a:pt x="385" y="326"/>
                      <a:pt x="391" y="331"/>
                      <a:pt x="398" y="331"/>
                    </a:cubicBezTo>
                    <a:cubicBezTo>
                      <a:pt x="404" y="331"/>
                      <a:pt x="410" y="326"/>
                      <a:pt x="410" y="319"/>
                    </a:cubicBezTo>
                    <a:cubicBezTo>
                      <a:pt x="410" y="312"/>
                      <a:pt x="404" y="307"/>
                      <a:pt x="398" y="307"/>
                    </a:cubicBezTo>
                    <a:close/>
                    <a:moveTo>
                      <a:pt x="398" y="491"/>
                    </a:moveTo>
                    <a:cubicBezTo>
                      <a:pt x="391" y="491"/>
                      <a:pt x="385" y="497"/>
                      <a:pt x="385" y="504"/>
                    </a:cubicBezTo>
                    <a:cubicBezTo>
                      <a:pt x="385" y="510"/>
                      <a:pt x="391" y="516"/>
                      <a:pt x="398" y="516"/>
                    </a:cubicBezTo>
                    <a:cubicBezTo>
                      <a:pt x="404" y="516"/>
                      <a:pt x="410" y="510"/>
                      <a:pt x="410" y="504"/>
                    </a:cubicBezTo>
                    <a:cubicBezTo>
                      <a:pt x="410" y="497"/>
                      <a:pt x="404" y="491"/>
                      <a:pt x="398" y="491"/>
                    </a:cubicBezTo>
                    <a:close/>
                    <a:moveTo>
                      <a:pt x="187" y="122"/>
                    </a:moveTo>
                    <a:cubicBezTo>
                      <a:pt x="181" y="122"/>
                      <a:pt x="175" y="128"/>
                      <a:pt x="175" y="135"/>
                    </a:cubicBezTo>
                    <a:cubicBezTo>
                      <a:pt x="175" y="141"/>
                      <a:pt x="181" y="147"/>
                      <a:pt x="187" y="147"/>
                    </a:cubicBezTo>
                    <a:cubicBezTo>
                      <a:pt x="194" y="147"/>
                      <a:pt x="200" y="141"/>
                      <a:pt x="200" y="135"/>
                    </a:cubicBezTo>
                    <a:cubicBezTo>
                      <a:pt x="200" y="128"/>
                      <a:pt x="194" y="122"/>
                      <a:pt x="187" y="122"/>
                    </a:cubicBezTo>
                    <a:close/>
                    <a:moveTo>
                      <a:pt x="398" y="645"/>
                    </a:moveTo>
                    <a:cubicBezTo>
                      <a:pt x="391" y="645"/>
                      <a:pt x="385" y="651"/>
                      <a:pt x="385" y="657"/>
                    </a:cubicBezTo>
                    <a:cubicBezTo>
                      <a:pt x="385" y="664"/>
                      <a:pt x="391" y="669"/>
                      <a:pt x="398" y="669"/>
                    </a:cubicBezTo>
                    <a:cubicBezTo>
                      <a:pt x="404" y="669"/>
                      <a:pt x="410" y="664"/>
                      <a:pt x="410" y="657"/>
                    </a:cubicBezTo>
                    <a:cubicBezTo>
                      <a:pt x="410" y="651"/>
                      <a:pt x="404" y="645"/>
                      <a:pt x="398" y="645"/>
                    </a:cubicBezTo>
                    <a:close/>
                    <a:moveTo>
                      <a:pt x="398" y="553"/>
                    </a:moveTo>
                    <a:cubicBezTo>
                      <a:pt x="391" y="553"/>
                      <a:pt x="385" y="558"/>
                      <a:pt x="385" y="565"/>
                    </a:cubicBezTo>
                    <a:cubicBezTo>
                      <a:pt x="385" y="572"/>
                      <a:pt x="391" y="577"/>
                      <a:pt x="398" y="577"/>
                    </a:cubicBezTo>
                    <a:cubicBezTo>
                      <a:pt x="404" y="577"/>
                      <a:pt x="410" y="572"/>
                      <a:pt x="410" y="565"/>
                    </a:cubicBezTo>
                    <a:cubicBezTo>
                      <a:pt x="410" y="558"/>
                      <a:pt x="404" y="553"/>
                      <a:pt x="398" y="553"/>
                    </a:cubicBezTo>
                    <a:close/>
                    <a:moveTo>
                      <a:pt x="398" y="584"/>
                    </a:moveTo>
                    <a:cubicBezTo>
                      <a:pt x="391" y="584"/>
                      <a:pt x="385" y="589"/>
                      <a:pt x="385" y="596"/>
                    </a:cubicBezTo>
                    <a:cubicBezTo>
                      <a:pt x="385" y="603"/>
                      <a:pt x="391" y="608"/>
                      <a:pt x="398" y="608"/>
                    </a:cubicBezTo>
                    <a:cubicBezTo>
                      <a:pt x="404" y="608"/>
                      <a:pt x="410" y="603"/>
                      <a:pt x="410" y="596"/>
                    </a:cubicBezTo>
                    <a:cubicBezTo>
                      <a:pt x="410" y="589"/>
                      <a:pt x="404" y="584"/>
                      <a:pt x="398" y="584"/>
                    </a:cubicBezTo>
                    <a:close/>
                    <a:moveTo>
                      <a:pt x="398" y="614"/>
                    </a:moveTo>
                    <a:cubicBezTo>
                      <a:pt x="391" y="614"/>
                      <a:pt x="385" y="620"/>
                      <a:pt x="385" y="627"/>
                    </a:cubicBezTo>
                    <a:cubicBezTo>
                      <a:pt x="385" y="633"/>
                      <a:pt x="391" y="639"/>
                      <a:pt x="398" y="639"/>
                    </a:cubicBezTo>
                    <a:cubicBezTo>
                      <a:pt x="404" y="639"/>
                      <a:pt x="410" y="633"/>
                      <a:pt x="410" y="627"/>
                    </a:cubicBezTo>
                    <a:cubicBezTo>
                      <a:pt x="410" y="620"/>
                      <a:pt x="404" y="614"/>
                      <a:pt x="398" y="614"/>
                    </a:cubicBezTo>
                    <a:close/>
                    <a:moveTo>
                      <a:pt x="433" y="737"/>
                    </a:moveTo>
                    <a:cubicBezTo>
                      <a:pt x="426" y="737"/>
                      <a:pt x="420" y="743"/>
                      <a:pt x="420" y="750"/>
                    </a:cubicBezTo>
                    <a:cubicBezTo>
                      <a:pt x="420" y="756"/>
                      <a:pt x="426" y="762"/>
                      <a:pt x="433" y="762"/>
                    </a:cubicBezTo>
                    <a:cubicBezTo>
                      <a:pt x="439" y="762"/>
                      <a:pt x="445" y="756"/>
                      <a:pt x="445" y="750"/>
                    </a:cubicBezTo>
                    <a:cubicBezTo>
                      <a:pt x="445" y="743"/>
                      <a:pt x="439" y="737"/>
                      <a:pt x="433" y="737"/>
                    </a:cubicBezTo>
                    <a:close/>
                    <a:moveTo>
                      <a:pt x="433" y="707"/>
                    </a:moveTo>
                    <a:cubicBezTo>
                      <a:pt x="426" y="707"/>
                      <a:pt x="420" y="712"/>
                      <a:pt x="420" y="719"/>
                    </a:cubicBezTo>
                    <a:cubicBezTo>
                      <a:pt x="420" y="725"/>
                      <a:pt x="426" y="731"/>
                      <a:pt x="433" y="731"/>
                    </a:cubicBezTo>
                    <a:cubicBezTo>
                      <a:pt x="439" y="731"/>
                      <a:pt x="445" y="725"/>
                      <a:pt x="445" y="719"/>
                    </a:cubicBezTo>
                    <a:cubicBezTo>
                      <a:pt x="445" y="712"/>
                      <a:pt x="439" y="707"/>
                      <a:pt x="433" y="707"/>
                    </a:cubicBezTo>
                    <a:close/>
                    <a:moveTo>
                      <a:pt x="398" y="61"/>
                    </a:moveTo>
                    <a:cubicBezTo>
                      <a:pt x="391" y="61"/>
                      <a:pt x="385" y="66"/>
                      <a:pt x="385" y="73"/>
                    </a:cubicBezTo>
                    <a:cubicBezTo>
                      <a:pt x="385" y="80"/>
                      <a:pt x="391" y="85"/>
                      <a:pt x="398" y="85"/>
                    </a:cubicBezTo>
                    <a:cubicBezTo>
                      <a:pt x="404" y="85"/>
                      <a:pt x="410" y="80"/>
                      <a:pt x="410" y="73"/>
                    </a:cubicBezTo>
                    <a:cubicBezTo>
                      <a:pt x="410" y="66"/>
                      <a:pt x="404" y="61"/>
                      <a:pt x="398" y="61"/>
                    </a:cubicBezTo>
                    <a:close/>
                    <a:moveTo>
                      <a:pt x="398" y="30"/>
                    </a:moveTo>
                    <a:cubicBezTo>
                      <a:pt x="391" y="30"/>
                      <a:pt x="385" y="36"/>
                      <a:pt x="385" y="42"/>
                    </a:cubicBezTo>
                    <a:cubicBezTo>
                      <a:pt x="385" y="49"/>
                      <a:pt x="391" y="55"/>
                      <a:pt x="398" y="55"/>
                    </a:cubicBezTo>
                    <a:cubicBezTo>
                      <a:pt x="404" y="55"/>
                      <a:pt x="410" y="49"/>
                      <a:pt x="410" y="42"/>
                    </a:cubicBezTo>
                    <a:cubicBezTo>
                      <a:pt x="410" y="36"/>
                      <a:pt x="404" y="30"/>
                      <a:pt x="398" y="30"/>
                    </a:cubicBezTo>
                    <a:close/>
                    <a:moveTo>
                      <a:pt x="398" y="122"/>
                    </a:moveTo>
                    <a:cubicBezTo>
                      <a:pt x="391" y="122"/>
                      <a:pt x="385" y="128"/>
                      <a:pt x="385" y="135"/>
                    </a:cubicBezTo>
                    <a:cubicBezTo>
                      <a:pt x="385" y="141"/>
                      <a:pt x="391" y="147"/>
                      <a:pt x="398" y="147"/>
                    </a:cubicBezTo>
                    <a:cubicBezTo>
                      <a:pt x="404" y="147"/>
                      <a:pt x="410" y="141"/>
                      <a:pt x="410" y="135"/>
                    </a:cubicBezTo>
                    <a:cubicBezTo>
                      <a:pt x="410" y="128"/>
                      <a:pt x="404" y="122"/>
                      <a:pt x="398" y="122"/>
                    </a:cubicBezTo>
                    <a:close/>
                    <a:moveTo>
                      <a:pt x="398" y="92"/>
                    </a:moveTo>
                    <a:cubicBezTo>
                      <a:pt x="391" y="92"/>
                      <a:pt x="385" y="97"/>
                      <a:pt x="385" y="104"/>
                    </a:cubicBezTo>
                    <a:cubicBezTo>
                      <a:pt x="385" y="111"/>
                      <a:pt x="391" y="116"/>
                      <a:pt x="398" y="116"/>
                    </a:cubicBezTo>
                    <a:cubicBezTo>
                      <a:pt x="404" y="116"/>
                      <a:pt x="410" y="111"/>
                      <a:pt x="410" y="104"/>
                    </a:cubicBezTo>
                    <a:cubicBezTo>
                      <a:pt x="410" y="97"/>
                      <a:pt x="404" y="92"/>
                      <a:pt x="398" y="92"/>
                    </a:cubicBezTo>
                    <a:close/>
                    <a:moveTo>
                      <a:pt x="398" y="430"/>
                    </a:moveTo>
                    <a:cubicBezTo>
                      <a:pt x="391" y="430"/>
                      <a:pt x="385" y="435"/>
                      <a:pt x="385" y="442"/>
                    </a:cubicBezTo>
                    <a:cubicBezTo>
                      <a:pt x="385" y="449"/>
                      <a:pt x="391" y="454"/>
                      <a:pt x="398" y="454"/>
                    </a:cubicBezTo>
                    <a:cubicBezTo>
                      <a:pt x="404" y="454"/>
                      <a:pt x="410" y="449"/>
                      <a:pt x="410" y="442"/>
                    </a:cubicBezTo>
                    <a:cubicBezTo>
                      <a:pt x="410" y="435"/>
                      <a:pt x="404" y="430"/>
                      <a:pt x="398" y="430"/>
                    </a:cubicBezTo>
                    <a:close/>
                    <a:moveTo>
                      <a:pt x="363" y="368"/>
                    </a:moveTo>
                    <a:cubicBezTo>
                      <a:pt x="356" y="368"/>
                      <a:pt x="350" y="374"/>
                      <a:pt x="350" y="381"/>
                    </a:cubicBezTo>
                    <a:cubicBezTo>
                      <a:pt x="350" y="387"/>
                      <a:pt x="356" y="393"/>
                      <a:pt x="363" y="393"/>
                    </a:cubicBezTo>
                    <a:cubicBezTo>
                      <a:pt x="369" y="393"/>
                      <a:pt x="375" y="387"/>
                      <a:pt x="375" y="381"/>
                    </a:cubicBezTo>
                    <a:cubicBezTo>
                      <a:pt x="375" y="374"/>
                      <a:pt x="369" y="368"/>
                      <a:pt x="363" y="368"/>
                    </a:cubicBezTo>
                    <a:close/>
                    <a:moveTo>
                      <a:pt x="328" y="61"/>
                    </a:moveTo>
                    <a:cubicBezTo>
                      <a:pt x="321" y="61"/>
                      <a:pt x="315" y="66"/>
                      <a:pt x="315" y="73"/>
                    </a:cubicBezTo>
                    <a:cubicBezTo>
                      <a:pt x="315" y="80"/>
                      <a:pt x="321" y="85"/>
                      <a:pt x="328" y="85"/>
                    </a:cubicBezTo>
                    <a:cubicBezTo>
                      <a:pt x="334" y="85"/>
                      <a:pt x="340" y="80"/>
                      <a:pt x="340" y="73"/>
                    </a:cubicBezTo>
                    <a:cubicBezTo>
                      <a:pt x="340" y="66"/>
                      <a:pt x="334" y="61"/>
                      <a:pt x="328" y="61"/>
                    </a:cubicBezTo>
                    <a:close/>
                    <a:moveTo>
                      <a:pt x="328" y="122"/>
                    </a:moveTo>
                    <a:cubicBezTo>
                      <a:pt x="321" y="122"/>
                      <a:pt x="315" y="128"/>
                      <a:pt x="315" y="135"/>
                    </a:cubicBezTo>
                    <a:cubicBezTo>
                      <a:pt x="315" y="141"/>
                      <a:pt x="321" y="147"/>
                      <a:pt x="328" y="147"/>
                    </a:cubicBezTo>
                    <a:cubicBezTo>
                      <a:pt x="334" y="147"/>
                      <a:pt x="340" y="141"/>
                      <a:pt x="340" y="135"/>
                    </a:cubicBezTo>
                    <a:cubicBezTo>
                      <a:pt x="340" y="128"/>
                      <a:pt x="334" y="122"/>
                      <a:pt x="328" y="122"/>
                    </a:cubicBezTo>
                    <a:close/>
                    <a:moveTo>
                      <a:pt x="328" y="92"/>
                    </a:moveTo>
                    <a:cubicBezTo>
                      <a:pt x="321" y="92"/>
                      <a:pt x="315" y="97"/>
                      <a:pt x="315" y="104"/>
                    </a:cubicBezTo>
                    <a:cubicBezTo>
                      <a:pt x="315" y="111"/>
                      <a:pt x="321" y="116"/>
                      <a:pt x="328" y="116"/>
                    </a:cubicBezTo>
                    <a:cubicBezTo>
                      <a:pt x="334" y="116"/>
                      <a:pt x="340" y="111"/>
                      <a:pt x="340" y="104"/>
                    </a:cubicBezTo>
                    <a:cubicBezTo>
                      <a:pt x="340" y="97"/>
                      <a:pt x="334" y="92"/>
                      <a:pt x="328" y="92"/>
                    </a:cubicBezTo>
                    <a:close/>
                    <a:moveTo>
                      <a:pt x="363" y="338"/>
                    </a:moveTo>
                    <a:cubicBezTo>
                      <a:pt x="356" y="338"/>
                      <a:pt x="350" y="343"/>
                      <a:pt x="350" y="350"/>
                    </a:cubicBezTo>
                    <a:cubicBezTo>
                      <a:pt x="350" y="357"/>
                      <a:pt x="356" y="362"/>
                      <a:pt x="363" y="362"/>
                    </a:cubicBezTo>
                    <a:cubicBezTo>
                      <a:pt x="369" y="362"/>
                      <a:pt x="375" y="357"/>
                      <a:pt x="375" y="350"/>
                    </a:cubicBezTo>
                    <a:cubicBezTo>
                      <a:pt x="375" y="343"/>
                      <a:pt x="369" y="338"/>
                      <a:pt x="363" y="338"/>
                    </a:cubicBezTo>
                    <a:close/>
                    <a:moveTo>
                      <a:pt x="363" y="276"/>
                    </a:moveTo>
                    <a:cubicBezTo>
                      <a:pt x="356" y="276"/>
                      <a:pt x="350" y="282"/>
                      <a:pt x="350" y="288"/>
                    </a:cubicBezTo>
                    <a:cubicBezTo>
                      <a:pt x="350" y="295"/>
                      <a:pt x="356" y="301"/>
                      <a:pt x="363" y="301"/>
                    </a:cubicBezTo>
                    <a:cubicBezTo>
                      <a:pt x="369" y="301"/>
                      <a:pt x="375" y="295"/>
                      <a:pt x="375" y="288"/>
                    </a:cubicBezTo>
                    <a:cubicBezTo>
                      <a:pt x="375" y="282"/>
                      <a:pt x="369" y="276"/>
                      <a:pt x="363" y="276"/>
                    </a:cubicBezTo>
                    <a:close/>
                    <a:moveTo>
                      <a:pt x="363" y="61"/>
                    </a:moveTo>
                    <a:cubicBezTo>
                      <a:pt x="356" y="61"/>
                      <a:pt x="350" y="66"/>
                      <a:pt x="350" y="73"/>
                    </a:cubicBezTo>
                    <a:cubicBezTo>
                      <a:pt x="350" y="80"/>
                      <a:pt x="356" y="85"/>
                      <a:pt x="363" y="85"/>
                    </a:cubicBezTo>
                    <a:cubicBezTo>
                      <a:pt x="369" y="85"/>
                      <a:pt x="375" y="80"/>
                      <a:pt x="375" y="73"/>
                    </a:cubicBezTo>
                    <a:cubicBezTo>
                      <a:pt x="375" y="66"/>
                      <a:pt x="369" y="61"/>
                      <a:pt x="363" y="61"/>
                    </a:cubicBezTo>
                    <a:close/>
                    <a:moveTo>
                      <a:pt x="363" y="307"/>
                    </a:moveTo>
                    <a:cubicBezTo>
                      <a:pt x="356" y="307"/>
                      <a:pt x="350" y="312"/>
                      <a:pt x="350" y="319"/>
                    </a:cubicBezTo>
                    <a:cubicBezTo>
                      <a:pt x="350" y="326"/>
                      <a:pt x="356" y="331"/>
                      <a:pt x="363" y="331"/>
                    </a:cubicBezTo>
                    <a:cubicBezTo>
                      <a:pt x="369" y="331"/>
                      <a:pt x="375" y="326"/>
                      <a:pt x="375" y="319"/>
                    </a:cubicBezTo>
                    <a:cubicBezTo>
                      <a:pt x="375" y="312"/>
                      <a:pt x="369" y="307"/>
                      <a:pt x="363" y="307"/>
                    </a:cubicBezTo>
                    <a:close/>
                    <a:moveTo>
                      <a:pt x="363" y="215"/>
                    </a:moveTo>
                    <a:cubicBezTo>
                      <a:pt x="356" y="215"/>
                      <a:pt x="350" y="220"/>
                      <a:pt x="350" y="227"/>
                    </a:cubicBezTo>
                    <a:cubicBezTo>
                      <a:pt x="350" y="234"/>
                      <a:pt x="356" y="239"/>
                      <a:pt x="363" y="239"/>
                    </a:cubicBezTo>
                    <a:cubicBezTo>
                      <a:pt x="369" y="239"/>
                      <a:pt x="375" y="234"/>
                      <a:pt x="375" y="227"/>
                    </a:cubicBezTo>
                    <a:cubicBezTo>
                      <a:pt x="375" y="220"/>
                      <a:pt x="369" y="215"/>
                      <a:pt x="363" y="215"/>
                    </a:cubicBezTo>
                    <a:close/>
                    <a:moveTo>
                      <a:pt x="363" y="245"/>
                    </a:moveTo>
                    <a:cubicBezTo>
                      <a:pt x="356" y="245"/>
                      <a:pt x="350" y="251"/>
                      <a:pt x="350" y="258"/>
                    </a:cubicBezTo>
                    <a:cubicBezTo>
                      <a:pt x="350" y="264"/>
                      <a:pt x="356" y="270"/>
                      <a:pt x="363" y="270"/>
                    </a:cubicBezTo>
                    <a:cubicBezTo>
                      <a:pt x="369" y="270"/>
                      <a:pt x="375" y="264"/>
                      <a:pt x="375" y="258"/>
                    </a:cubicBezTo>
                    <a:cubicBezTo>
                      <a:pt x="375" y="251"/>
                      <a:pt x="369" y="245"/>
                      <a:pt x="363" y="245"/>
                    </a:cubicBezTo>
                    <a:close/>
                    <a:moveTo>
                      <a:pt x="363" y="122"/>
                    </a:moveTo>
                    <a:cubicBezTo>
                      <a:pt x="356" y="122"/>
                      <a:pt x="350" y="128"/>
                      <a:pt x="350" y="135"/>
                    </a:cubicBezTo>
                    <a:cubicBezTo>
                      <a:pt x="350" y="141"/>
                      <a:pt x="356" y="147"/>
                      <a:pt x="363" y="147"/>
                    </a:cubicBezTo>
                    <a:cubicBezTo>
                      <a:pt x="369" y="147"/>
                      <a:pt x="375" y="141"/>
                      <a:pt x="375" y="135"/>
                    </a:cubicBezTo>
                    <a:cubicBezTo>
                      <a:pt x="375" y="128"/>
                      <a:pt x="369" y="122"/>
                      <a:pt x="363" y="122"/>
                    </a:cubicBezTo>
                    <a:close/>
                    <a:moveTo>
                      <a:pt x="363" y="184"/>
                    </a:moveTo>
                    <a:cubicBezTo>
                      <a:pt x="356" y="184"/>
                      <a:pt x="350" y="189"/>
                      <a:pt x="350" y="196"/>
                    </a:cubicBezTo>
                    <a:cubicBezTo>
                      <a:pt x="350" y="203"/>
                      <a:pt x="356" y="208"/>
                      <a:pt x="363" y="208"/>
                    </a:cubicBezTo>
                    <a:cubicBezTo>
                      <a:pt x="369" y="208"/>
                      <a:pt x="375" y="203"/>
                      <a:pt x="375" y="196"/>
                    </a:cubicBezTo>
                    <a:cubicBezTo>
                      <a:pt x="375" y="189"/>
                      <a:pt x="369" y="184"/>
                      <a:pt x="363" y="184"/>
                    </a:cubicBezTo>
                    <a:close/>
                    <a:moveTo>
                      <a:pt x="363" y="92"/>
                    </a:moveTo>
                    <a:cubicBezTo>
                      <a:pt x="356" y="92"/>
                      <a:pt x="350" y="97"/>
                      <a:pt x="350" y="104"/>
                    </a:cubicBezTo>
                    <a:cubicBezTo>
                      <a:pt x="350" y="111"/>
                      <a:pt x="356" y="116"/>
                      <a:pt x="363" y="116"/>
                    </a:cubicBezTo>
                    <a:cubicBezTo>
                      <a:pt x="369" y="116"/>
                      <a:pt x="375" y="111"/>
                      <a:pt x="375" y="104"/>
                    </a:cubicBezTo>
                    <a:cubicBezTo>
                      <a:pt x="375" y="97"/>
                      <a:pt x="369" y="92"/>
                      <a:pt x="363" y="92"/>
                    </a:cubicBezTo>
                    <a:close/>
                    <a:moveTo>
                      <a:pt x="363" y="153"/>
                    </a:moveTo>
                    <a:cubicBezTo>
                      <a:pt x="356" y="153"/>
                      <a:pt x="350" y="159"/>
                      <a:pt x="350" y="165"/>
                    </a:cubicBezTo>
                    <a:cubicBezTo>
                      <a:pt x="350" y="172"/>
                      <a:pt x="356" y="178"/>
                      <a:pt x="363" y="178"/>
                    </a:cubicBezTo>
                    <a:cubicBezTo>
                      <a:pt x="369" y="178"/>
                      <a:pt x="375" y="172"/>
                      <a:pt x="375" y="165"/>
                    </a:cubicBezTo>
                    <a:cubicBezTo>
                      <a:pt x="375" y="159"/>
                      <a:pt x="369" y="153"/>
                      <a:pt x="363" y="153"/>
                    </a:cubicBezTo>
                    <a:close/>
                    <a:moveTo>
                      <a:pt x="222" y="184"/>
                    </a:moveTo>
                    <a:cubicBezTo>
                      <a:pt x="216" y="184"/>
                      <a:pt x="210" y="189"/>
                      <a:pt x="210" y="196"/>
                    </a:cubicBezTo>
                    <a:cubicBezTo>
                      <a:pt x="210" y="203"/>
                      <a:pt x="216" y="208"/>
                      <a:pt x="222" y="208"/>
                    </a:cubicBezTo>
                    <a:cubicBezTo>
                      <a:pt x="229" y="208"/>
                      <a:pt x="235" y="203"/>
                      <a:pt x="235" y="196"/>
                    </a:cubicBezTo>
                    <a:cubicBezTo>
                      <a:pt x="235" y="189"/>
                      <a:pt x="229" y="184"/>
                      <a:pt x="222" y="184"/>
                    </a:cubicBezTo>
                    <a:close/>
                    <a:moveTo>
                      <a:pt x="573" y="522"/>
                    </a:moveTo>
                    <a:cubicBezTo>
                      <a:pt x="566" y="522"/>
                      <a:pt x="561" y="528"/>
                      <a:pt x="561" y="534"/>
                    </a:cubicBezTo>
                    <a:cubicBezTo>
                      <a:pt x="561" y="541"/>
                      <a:pt x="566" y="546"/>
                      <a:pt x="573" y="546"/>
                    </a:cubicBezTo>
                    <a:cubicBezTo>
                      <a:pt x="580" y="546"/>
                      <a:pt x="585" y="541"/>
                      <a:pt x="585" y="534"/>
                    </a:cubicBezTo>
                    <a:cubicBezTo>
                      <a:pt x="585" y="528"/>
                      <a:pt x="580" y="522"/>
                      <a:pt x="573" y="522"/>
                    </a:cubicBezTo>
                    <a:close/>
                    <a:moveTo>
                      <a:pt x="783" y="707"/>
                    </a:moveTo>
                    <a:cubicBezTo>
                      <a:pt x="776" y="707"/>
                      <a:pt x="771" y="712"/>
                      <a:pt x="771" y="719"/>
                    </a:cubicBezTo>
                    <a:cubicBezTo>
                      <a:pt x="771" y="725"/>
                      <a:pt x="776" y="731"/>
                      <a:pt x="783" y="731"/>
                    </a:cubicBezTo>
                    <a:cubicBezTo>
                      <a:pt x="790" y="731"/>
                      <a:pt x="795" y="725"/>
                      <a:pt x="795" y="719"/>
                    </a:cubicBezTo>
                    <a:cubicBezTo>
                      <a:pt x="795" y="712"/>
                      <a:pt x="790" y="707"/>
                      <a:pt x="783" y="707"/>
                    </a:cubicBezTo>
                    <a:close/>
                    <a:moveTo>
                      <a:pt x="783" y="676"/>
                    </a:moveTo>
                    <a:cubicBezTo>
                      <a:pt x="776" y="676"/>
                      <a:pt x="771" y="681"/>
                      <a:pt x="771" y="688"/>
                    </a:cubicBezTo>
                    <a:cubicBezTo>
                      <a:pt x="771" y="695"/>
                      <a:pt x="776" y="700"/>
                      <a:pt x="783" y="700"/>
                    </a:cubicBezTo>
                    <a:cubicBezTo>
                      <a:pt x="790" y="700"/>
                      <a:pt x="795" y="695"/>
                      <a:pt x="795" y="688"/>
                    </a:cubicBezTo>
                    <a:cubicBezTo>
                      <a:pt x="795" y="681"/>
                      <a:pt x="790" y="676"/>
                      <a:pt x="783" y="676"/>
                    </a:cubicBezTo>
                    <a:close/>
                    <a:moveTo>
                      <a:pt x="783" y="645"/>
                    </a:moveTo>
                    <a:cubicBezTo>
                      <a:pt x="776" y="645"/>
                      <a:pt x="771" y="651"/>
                      <a:pt x="771" y="657"/>
                    </a:cubicBezTo>
                    <a:cubicBezTo>
                      <a:pt x="771" y="664"/>
                      <a:pt x="776" y="669"/>
                      <a:pt x="783" y="669"/>
                    </a:cubicBezTo>
                    <a:cubicBezTo>
                      <a:pt x="790" y="669"/>
                      <a:pt x="795" y="664"/>
                      <a:pt x="795" y="657"/>
                    </a:cubicBezTo>
                    <a:cubicBezTo>
                      <a:pt x="795" y="651"/>
                      <a:pt x="790" y="645"/>
                      <a:pt x="783" y="645"/>
                    </a:cubicBezTo>
                    <a:close/>
                    <a:moveTo>
                      <a:pt x="783" y="584"/>
                    </a:moveTo>
                    <a:cubicBezTo>
                      <a:pt x="776" y="584"/>
                      <a:pt x="771" y="589"/>
                      <a:pt x="771" y="596"/>
                    </a:cubicBezTo>
                    <a:cubicBezTo>
                      <a:pt x="771" y="603"/>
                      <a:pt x="776" y="608"/>
                      <a:pt x="783" y="608"/>
                    </a:cubicBezTo>
                    <a:cubicBezTo>
                      <a:pt x="790" y="608"/>
                      <a:pt x="795" y="603"/>
                      <a:pt x="795" y="596"/>
                    </a:cubicBezTo>
                    <a:cubicBezTo>
                      <a:pt x="795" y="589"/>
                      <a:pt x="790" y="584"/>
                      <a:pt x="783" y="584"/>
                    </a:cubicBezTo>
                    <a:close/>
                    <a:moveTo>
                      <a:pt x="783" y="614"/>
                    </a:moveTo>
                    <a:cubicBezTo>
                      <a:pt x="776" y="614"/>
                      <a:pt x="771" y="620"/>
                      <a:pt x="771" y="627"/>
                    </a:cubicBezTo>
                    <a:cubicBezTo>
                      <a:pt x="771" y="633"/>
                      <a:pt x="776" y="639"/>
                      <a:pt x="783" y="639"/>
                    </a:cubicBezTo>
                    <a:cubicBezTo>
                      <a:pt x="790" y="639"/>
                      <a:pt x="795" y="633"/>
                      <a:pt x="795" y="627"/>
                    </a:cubicBezTo>
                    <a:cubicBezTo>
                      <a:pt x="795" y="620"/>
                      <a:pt x="790" y="614"/>
                      <a:pt x="783" y="614"/>
                    </a:cubicBezTo>
                    <a:close/>
                    <a:moveTo>
                      <a:pt x="818" y="676"/>
                    </a:moveTo>
                    <a:cubicBezTo>
                      <a:pt x="811" y="676"/>
                      <a:pt x="806" y="681"/>
                      <a:pt x="806" y="688"/>
                    </a:cubicBezTo>
                    <a:cubicBezTo>
                      <a:pt x="806" y="695"/>
                      <a:pt x="811" y="700"/>
                      <a:pt x="818" y="700"/>
                    </a:cubicBezTo>
                    <a:cubicBezTo>
                      <a:pt x="825" y="700"/>
                      <a:pt x="830" y="695"/>
                      <a:pt x="830" y="688"/>
                    </a:cubicBezTo>
                    <a:cubicBezTo>
                      <a:pt x="830" y="681"/>
                      <a:pt x="825" y="676"/>
                      <a:pt x="818" y="676"/>
                    </a:cubicBezTo>
                    <a:close/>
                    <a:moveTo>
                      <a:pt x="818" y="645"/>
                    </a:moveTo>
                    <a:cubicBezTo>
                      <a:pt x="811" y="645"/>
                      <a:pt x="806" y="651"/>
                      <a:pt x="806" y="657"/>
                    </a:cubicBezTo>
                    <a:cubicBezTo>
                      <a:pt x="806" y="664"/>
                      <a:pt x="811" y="669"/>
                      <a:pt x="818" y="669"/>
                    </a:cubicBezTo>
                    <a:cubicBezTo>
                      <a:pt x="825" y="669"/>
                      <a:pt x="830" y="664"/>
                      <a:pt x="830" y="657"/>
                    </a:cubicBezTo>
                    <a:cubicBezTo>
                      <a:pt x="830" y="651"/>
                      <a:pt x="825" y="645"/>
                      <a:pt x="818" y="645"/>
                    </a:cubicBezTo>
                    <a:close/>
                    <a:moveTo>
                      <a:pt x="818" y="614"/>
                    </a:moveTo>
                    <a:cubicBezTo>
                      <a:pt x="811" y="614"/>
                      <a:pt x="806" y="620"/>
                      <a:pt x="806" y="627"/>
                    </a:cubicBezTo>
                    <a:cubicBezTo>
                      <a:pt x="806" y="633"/>
                      <a:pt x="811" y="639"/>
                      <a:pt x="818" y="639"/>
                    </a:cubicBezTo>
                    <a:cubicBezTo>
                      <a:pt x="825" y="639"/>
                      <a:pt x="830" y="633"/>
                      <a:pt x="830" y="627"/>
                    </a:cubicBezTo>
                    <a:cubicBezTo>
                      <a:pt x="830" y="620"/>
                      <a:pt x="825" y="614"/>
                      <a:pt x="818" y="614"/>
                    </a:cubicBezTo>
                    <a:close/>
                    <a:moveTo>
                      <a:pt x="818" y="584"/>
                    </a:moveTo>
                    <a:cubicBezTo>
                      <a:pt x="811" y="584"/>
                      <a:pt x="806" y="589"/>
                      <a:pt x="806" y="596"/>
                    </a:cubicBezTo>
                    <a:cubicBezTo>
                      <a:pt x="806" y="603"/>
                      <a:pt x="811" y="608"/>
                      <a:pt x="818" y="608"/>
                    </a:cubicBezTo>
                    <a:cubicBezTo>
                      <a:pt x="825" y="608"/>
                      <a:pt x="830" y="603"/>
                      <a:pt x="830" y="596"/>
                    </a:cubicBezTo>
                    <a:cubicBezTo>
                      <a:pt x="830" y="589"/>
                      <a:pt x="825" y="584"/>
                      <a:pt x="818" y="584"/>
                    </a:cubicBezTo>
                    <a:close/>
                    <a:moveTo>
                      <a:pt x="853" y="584"/>
                    </a:moveTo>
                    <a:cubicBezTo>
                      <a:pt x="846" y="584"/>
                      <a:pt x="841" y="589"/>
                      <a:pt x="841" y="596"/>
                    </a:cubicBezTo>
                    <a:cubicBezTo>
                      <a:pt x="841" y="603"/>
                      <a:pt x="846" y="608"/>
                      <a:pt x="853" y="608"/>
                    </a:cubicBezTo>
                    <a:cubicBezTo>
                      <a:pt x="860" y="608"/>
                      <a:pt x="865" y="603"/>
                      <a:pt x="865" y="596"/>
                    </a:cubicBezTo>
                    <a:cubicBezTo>
                      <a:pt x="865" y="589"/>
                      <a:pt x="860" y="584"/>
                      <a:pt x="853" y="584"/>
                    </a:cubicBezTo>
                    <a:close/>
                    <a:moveTo>
                      <a:pt x="853" y="577"/>
                    </a:moveTo>
                    <a:cubicBezTo>
                      <a:pt x="860" y="577"/>
                      <a:pt x="865" y="572"/>
                      <a:pt x="865" y="565"/>
                    </a:cubicBezTo>
                    <a:cubicBezTo>
                      <a:pt x="865" y="558"/>
                      <a:pt x="860" y="553"/>
                      <a:pt x="853" y="553"/>
                    </a:cubicBezTo>
                    <a:cubicBezTo>
                      <a:pt x="846" y="553"/>
                      <a:pt x="841" y="558"/>
                      <a:pt x="841" y="565"/>
                    </a:cubicBezTo>
                    <a:cubicBezTo>
                      <a:pt x="841" y="572"/>
                      <a:pt x="846" y="577"/>
                      <a:pt x="853" y="577"/>
                    </a:cubicBezTo>
                    <a:close/>
                    <a:moveTo>
                      <a:pt x="573" y="368"/>
                    </a:moveTo>
                    <a:cubicBezTo>
                      <a:pt x="566" y="368"/>
                      <a:pt x="561" y="374"/>
                      <a:pt x="561" y="381"/>
                    </a:cubicBezTo>
                    <a:cubicBezTo>
                      <a:pt x="561" y="387"/>
                      <a:pt x="566" y="393"/>
                      <a:pt x="573" y="393"/>
                    </a:cubicBezTo>
                    <a:cubicBezTo>
                      <a:pt x="580" y="393"/>
                      <a:pt x="585" y="387"/>
                      <a:pt x="585" y="381"/>
                    </a:cubicBezTo>
                    <a:cubicBezTo>
                      <a:pt x="585" y="374"/>
                      <a:pt x="580" y="368"/>
                      <a:pt x="573" y="368"/>
                    </a:cubicBezTo>
                    <a:close/>
                    <a:moveTo>
                      <a:pt x="608" y="368"/>
                    </a:moveTo>
                    <a:cubicBezTo>
                      <a:pt x="601" y="368"/>
                      <a:pt x="596" y="374"/>
                      <a:pt x="596" y="381"/>
                    </a:cubicBezTo>
                    <a:cubicBezTo>
                      <a:pt x="596" y="387"/>
                      <a:pt x="601" y="393"/>
                      <a:pt x="608" y="393"/>
                    </a:cubicBezTo>
                    <a:cubicBezTo>
                      <a:pt x="615" y="393"/>
                      <a:pt x="620" y="387"/>
                      <a:pt x="620" y="381"/>
                    </a:cubicBezTo>
                    <a:cubicBezTo>
                      <a:pt x="620" y="374"/>
                      <a:pt x="615" y="368"/>
                      <a:pt x="608" y="368"/>
                    </a:cubicBezTo>
                    <a:close/>
                    <a:moveTo>
                      <a:pt x="608" y="338"/>
                    </a:moveTo>
                    <a:cubicBezTo>
                      <a:pt x="601" y="338"/>
                      <a:pt x="596" y="343"/>
                      <a:pt x="596" y="350"/>
                    </a:cubicBezTo>
                    <a:cubicBezTo>
                      <a:pt x="596" y="357"/>
                      <a:pt x="601" y="362"/>
                      <a:pt x="608" y="362"/>
                    </a:cubicBezTo>
                    <a:cubicBezTo>
                      <a:pt x="615" y="362"/>
                      <a:pt x="620" y="357"/>
                      <a:pt x="620" y="350"/>
                    </a:cubicBezTo>
                    <a:cubicBezTo>
                      <a:pt x="620" y="343"/>
                      <a:pt x="615" y="338"/>
                      <a:pt x="608" y="338"/>
                    </a:cubicBezTo>
                    <a:close/>
                    <a:moveTo>
                      <a:pt x="608" y="399"/>
                    </a:moveTo>
                    <a:cubicBezTo>
                      <a:pt x="601" y="399"/>
                      <a:pt x="596" y="405"/>
                      <a:pt x="596" y="411"/>
                    </a:cubicBezTo>
                    <a:cubicBezTo>
                      <a:pt x="596" y="418"/>
                      <a:pt x="601" y="424"/>
                      <a:pt x="608" y="424"/>
                    </a:cubicBezTo>
                    <a:cubicBezTo>
                      <a:pt x="615" y="424"/>
                      <a:pt x="620" y="418"/>
                      <a:pt x="620" y="411"/>
                    </a:cubicBezTo>
                    <a:cubicBezTo>
                      <a:pt x="620" y="405"/>
                      <a:pt x="615" y="399"/>
                      <a:pt x="608" y="399"/>
                    </a:cubicBezTo>
                    <a:close/>
                    <a:moveTo>
                      <a:pt x="608" y="307"/>
                    </a:moveTo>
                    <a:cubicBezTo>
                      <a:pt x="601" y="307"/>
                      <a:pt x="596" y="312"/>
                      <a:pt x="596" y="319"/>
                    </a:cubicBezTo>
                    <a:cubicBezTo>
                      <a:pt x="596" y="326"/>
                      <a:pt x="601" y="331"/>
                      <a:pt x="608" y="331"/>
                    </a:cubicBezTo>
                    <a:cubicBezTo>
                      <a:pt x="615" y="331"/>
                      <a:pt x="620" y="326"/>
                      <a:pt x="620" y="319"/>
                    </a:cubicBezTo>
                    <a:cubicBezTo>
                      <a:pt x="620" y="312"/>
                      <a:pt x="615" y="307"/>
                      <a:pt x="608" y="307"/>
                    </a:cubicBezTo>
                    <a:close/>
                    <a:moveTo>
                      <a:pt x="608" y="430"/>
                    </a:moveTo>
                    <a:cubicBezTo>
                      <a:pt x="601" y="430"/>
                      <a:pt x="596" y="435"/>
                      <a:pt x="596" y="442"/>
                    </a:cubicBezTo>
                    <a:cubicBezTo>
                      <a:pt x="596" y="449"/>
                      <a:pt x="601" y="454"/>
                      <a:pt x="608" y="454"/>
                    </a:cubicBezTo>
                    <a:cubicBezTo>
                      <a:pt x="615" y="454"/>
                      <a:pt x="620" y="449"/>
                      <a:pt x="620" y="442"/>
                    </a:cubicBezTo>
                    <a:cubicBezTo>
                      <a:pt x="620" y="435"/>
                      <a:pt x="615" y="430"/>
                      <a:pt x="608" y="430"/>
                    </a:cubicBezTo>
                    <a:close/>
                    <a:moveTo>
                      <a:pt x="608" y="461"/>
                    </a:moveTo>
                    <a:cubicBezTo>
                      <a:pt x="601" y="461"/>
                      <a:pt x="596" y="466"/>
                      <a:pt x="596" y="473"/>
                    </a:cubicBezTo>
                    <a:cubicBezTo>
                      <a:pt x="596" y="480"/>
                      <a:pt x="601" y="485"/>
                      <a:pt x="608" y="485"/>
                    </a:cubicBezTo>
                    <a:cubicBezTo>
                      <a:pt x="615" y="485"/>
                      <a:pt x="620" y="480"/>
                      <a:pt x="620" y="473"/>
                    </a:cubicBezTo>
                    <a:cubicBezTo>
                      <a:pt x="620" y="466"/>
                      <a:pt x="615" y="461"/>
                      <a:pt x="608" y="461"/>
                    </a:cubicBezTo>
                    <a:close/>
                    <a:moveTo>
                      <a:pt x="608" y="276"/>
                    </a:moveTo>
                    <a:cubicBezTo>
                      <a:pt x="601" y="276"/>
                      <a:pt x="596" y="282"/>
                      <a:pt x="596" y="288"/>
                    </a:cubicBezTo>
                    <a:cubicBezTo>
                      <a:pt x="596" y="295"/>
                      <a:pt x="601" y="301"/>
                      <a:pt x="608" y="301"/>
                    </a:cubicBezTo>
                    <a:cubicBezTo>
                      <a:pt x="615" y="301"/>
                      <a:pt x="620" y="295"/>
                      <a:pt x="620" y="288"/>
                    </a:cubicBezTo>
                    <a:cubicBezTo>
                      <a:pt x="620" y="282"/>
                      <a:pt x="615" y="276"/>
                      <a:pt x="608" y="276"/>
                    </a:cubicBezTo>
                    <a:close/>
                    <a:moveTo>
                      <a:pt x="608" y="491"/>
                    </a:moveTo>
                    <a:cubicBezTo>
                      <a:pt x="601" y="491"/>
                      <a:pt x="596" y="497"/>
                      <a:pt x="596" y="504"/>
                    </a:cubicBezTo>
                    <a:cubicBezTo>
                      <a:pt x="596" y="510"/>
                      <a:pt x="601" y="516"/>
                      <a:pt x="608" y="516"/>
                    </a:cubicBezTo>
                    <a:cubicBezTo>
                      <a:pt x="615" y="516"/>
                      <a:pt x="620" y="510"/>
                      <a:pt x="620" y="504"/>
                    </a:cubicBezTo>
                    <a:cubicBezTo>
                      <a:pt x="620" y="497"/>
                      <a:pt x="615" y="491"/>
                      <a:pt x="608" y="491"/>
                    </a:cubicBezTo>
                    <a:close/>
                    <a:moveTo>
                      <a:pt x="608" y="645"/>
                    </a:moveTo>
                    <a:cubicBezTo>
                      <a:pt x="601" y="645"/>
                      <a:pt x="596" y="651"/>
                      <a:pt x="596" y="657"/>
                    </a:cubicBezTo>
                    <a:cubicBezTo>
                      <a:pt x="596" y="664"/>
                      <a:pt x="601" y="669"/>
                      <a:pt x="608" y="669"/>
                    </a:cubicBezTo>
                    <a:cubicBezTo>
                      <a:pt x="615" y="669"/>
                      <a:pt x="620" y="664"/>
                      <a:pt x="620" y="657"/>
                    </a:cubicBezTo>
                    <a:cubicBezTo>
                      <a:pt x="620" y="651"/>
                      <a:pt x="615" y="645"/>
                      <a:pt x="608" y="645"/>
                    </a:cubicBezTo>
                    <a:close/>
                    <a:moveTo>
                      <a:pt x="608" y="676"/>
                    </a:moveTo>
                    <a:cubicBezTo>
                      <a:pt x="601" y="676"/>
                      <a:pt x="596" y="681"/>
                      <a:pt x="596" y="688"/>
                    </a:cubicBezTo>
                    <a:cubicBezTo>
                      <a:pt x="596" y="695"/>
                      <a:pt x="601" y="700"/>
                      <a:pt x="608" y="700"/>
                    </a:cubicBezTo>
                    <a:cubicBezTo>
                      <a:pt x="615" y="700"/>
                      <a:pt x="620" y="695"/>
                      <a:pt x="620" y="688"/>
                    </a:cubicBezTo>
                    <a:cubicBezTo>
                      <a:pt x="620" y="681"/>
                      <a:pt x="615" y="676"/>
                      <a:pt x="608" y="676"/>
                    </a:cubicBezTo>
                    <a:close/>
                    <a:moveTo>
                      <a:pt x="608" y="768"/>
                    </a:moveTo>
                    <a:cubicBezTo>
                      <a:pt x="601" y="768"/>
                      <a:pt x="596" y="774"/>
                      <a:pt x="596" y="780"/>
                    </a:cubicBezTo>
                    <a:cubicBezTo>
                      <a:pt x="596" y="787"/>
                      <a:pt x="601" y="792"/>
                      <a:pt x="608" y="792"/>
                    </a:cubicBezTo>
                    <a:cubicBezTo>
                      <a:pt x="615" y="792"/>
                      <a:pt x="620" y="787"/>
                      <a:pt x="620" y="780"/>
                    </a:cubicBezTo>
                    <a:cubicBezTo>
                      <a:pt x="620" y="774"/>
                      <a:pt x="615" y="768"/>
                      <a:pt x="608" y="768"/>
                    </a:cubicBezTo>
                    <a:close/>
                    <a:moveTo>
                      <a:pt x="608" y="737"/>
                    </a:moveTo>
                    <a:cubicBezTo>
                      <a:pt x="601" y="737"/>
                      <a:pt x="596" y="743"/>
                      <a:pt x="596" y="750"/>
                    </a:cubicBezTo>
                    <a:cubicBezTo>
                      <a:pt x="596" y="756"/>
                      <a:pt x="601" y="762"/>
                      <a:pt x="608" y="762"/>
                    </a:cubicBezTo>
                    <a:cubicBezTo>
                      <a:pt x="615" y="762"/>
                      <a:pt x="620" y="756"/>
                      <a:pt x="620" y="750"/>
                    </a:cubicBezTo>
                    <a:cubicBezTo>
                      <a:pt x="620" y="743"/>
                      <a:pt x="615" y="737"/>
                      <a:pt x="608" y="737"/>
                    </a:cubicBezTo>
                    <a:close/>
                    <a:moveTo>
                      <a:pt x="608" y="707"/>
                    </a:moveTo>
                    <a:cubicBezTo>
                      <a:pt x="601" y="707"/>
                      <a:pt x="596" y="712"/>
                      <a:pt x="596" y="719"/>
                    </a:cubicBezTo>
                    <a:cubicBezTo>
                      <a:pt x="596" y="725"/>
                      <a:pt x="601" y="731"/>
                      <a:pt x="608" y="731"/>
                    </a:cubicBezTo>
                    <a:cubicBezTo>
                      <a:pt x="615" y="731"/>
                      <a:pt x="620" y="725"/>
                      <a:pt x="620" y="719"/>
                    </a:cubicBezTo>
                    <a:cubicBezTo>
                      <a:pt x="620" y="712"/>
                      <a:pt x="615" y="707"/>
                      <a:pt x="608" y="707"/>
                    </a:cubicBezTo>
                    <a:close/>
                    <a:moveTo>
                      <a:pt x="608" y="522"/>
                    </a:moveTo>
                    <a:cubicBezTo>
                      <a:pt x="601" y="522"/>
                      <a:pt x="596" y="528"/>
                      <a:pt x="596" y="534"/>
                    </a:cubicBezTo>
                    <a:cubicBezTo>
                      <a:pt x="596" y="541"/>
                      <a:pt x="601" y="546"/>
                      <a:pt x="608" y="546"/>
                    </a:cubicBezTo>
                    <a:cubicBezTo>
                      <a:pt x="615" y="546"/>
                      <a:pt x="620" y="541"/>
                      <a:pt x="620" y="534"/>
                    </a:cubicBezTo>
                    <a:cubicBezTo>
                      <a:pt x="620" y="528"/>
                      <a:pt x="615" y="522"/>
                      <a:pt x="608" y="522"/>
                    </a:cubicBezTo>
                    <a:close/>
                    <a:moveTo>
                      <a:pt x="608" y="553"/>
                    </a:moveTo>
                    <a:cubicBezTo>
                      <a:pt x="601" y="553"/>
                      <a:pt x="596" y="558"/>
                      <a:pt x="596" y="565"/>
                    </a:cubicBezTo>
                    <a:cubicBezTo>
                      <a:pt x="596" y="572"/>
                      <a:pt x="601" y="577"/>
                      <a:pt x="608" y="577"/>
                    </a:cubicBezTo>
                    <a:cubicBezTo>
                      <a:pt x="615" y="577"/>
                      <a:pt x="620" y="572"/>
                      <a:pt x="620" y="565"/>
                    </a:cubicBezTo>
                    <a:cubicBezTo>
                      <a:pt x="620" y="558"/>
                      <a:pt x="615" y="553"/>
                      <a:pt x="608" y="553"/>
                    </a:cubicBezTo>
                    <a:close/>
                    <a:moveTo>
                      <a:pt x="608" y="614"/>
                    </a:moveTo>
                    <a:cubicBezTo>
                      <a:pt x="601" y="614"/>
                      <a:pt x="596" y="620"/>
                      <a:pt x="596" y="627"/>
                    </a:cubicBezTo>
                    <a:cubicBezTo>
                      <a:pt x="596" y="633"/>
                      <a:pt x="601" y="639"/>
                      <a:pt x="608" y="639"/>
                    </a:cubicBezTo>
                    <a:cubicBezTo>
                      <a:pt x="615" y="639"/>
                      <a:pt x="620" y="633"/>
                      <a:pt x="620" y="627"/>
                    </a:cubicBezTo>
                    <a:cubicBezTo>
                      <a:pt x="620" y="620"/>
                      <a:pt x="615" y="614"/>
                      <a:pt x="608" y="614"/>
                    </a:cubicBezTo>
                    <a:close/>
                    <a:moveTo>
                      <a:pt x="573" y="338"/>
                    </a:moveTo>
                    <a:cubicBezTo>
                      <a:pt x="566" y="338"/>
                      <a:pt x="561" y="343"/>
                      <a:pt x="561" y="350"/>
                    </a:cubicBezTo>
                    <a:cubicBezTo>
                      <a:pt x="561" y="357"/>
                      <a:pt x="566" y="362"/>
                      <a:pt x="573" y="362"/>
                    </a:cubicBezTo>
                    <a:cubicBezTo>
                      <a:pt x="580" y="362"/>
                      <a:pt x="585" y="357"/>
                      <a:pt x="585" y="350"/>
                    </a:cubicBezTo>
                    <a:cubicBezTo>
                      <a:pt x="585" y="343"/>
                      <a:pt x="580" y="338"/>
                      <a:pt x="573" y="338"/>
                    </a:cubicBezTo>
                    <a:close/>
                    <a:moveTo>
                      <a:pt x="573" y="307"/>
                    </a:moveTo>
                    <a:cubicBezTo>
                      <a:pt x="566" y="307"/>
                      <a:pt x="561" y="312"/>
                      <a:pt x="561" y="319"/>
                    </a:cubicBezTo>
                    <a:cubicBezTo>
                      <a:pt x="561" y="326"/>
                      <a:pt x="566" y="331"/>
                      <a:pt x="573" y="331"/>
                    </a:cubicBezTo>
                    <a:cubicBezTo>
                      <a:pt x="580" y="331"/>
                      <a:pt x="585" y="326"/>
                      <a:pt x="585" y="319"/>
                    </a:cubicBezTo>
                    <a:cubicBezTo>
                      <a:pt x="585" y="312"/>
                      <a:pt x="580" y="307"/>
                      <a:pt x="573" y="307"/>
                    </a:cubicBezTo>
                    <a:close/>
                    <a:moveTo>
                      <a:pt x="573" y="399"/>
                    </a:moveTo>
                    <a:cubicBezTo>
                      <a:pt x="566" y="399"/>
                      <a:pt x="561" y="405"/>
                      <a:pt x="561" y="411"/>
                    </a:cubicBezTo>
                    <a:cubicBezTo>
                      <a:pt x="561" y="418"/>
                      <a:pt x="566" y="424"/>
                      <a:pt x="573" y="424"/>
                    </a:cubicBezTo>
                    <a:cubicBezTo>
                      <a:pt x="580" y="424"/>
                      <a:pt x="585" y="418"/>
                      <a:pt x="585" y="411"/>
                    </a:cubicBezTo>
                    <a:cubicBezTo>
                      <a:pt x="585" y="405"/>
                      <a:pt x="580" y="399"/>
                      <a:pt x="573" y="399"/>
                    </a:cubicBezTo>
                    <a:close/>
                    <a:moveTo>
                      <a:pt x="573" y="276"/>
                    </a:moveTo>
                    <a:cubicBezTo>
                      <a:pt x="566" y="276"/>
                      <a:pt x="561" y="282"/>
                      <a:pt x="561" y="288"/>
                    </a:cubicBezTo>
                    <a:cubicBezTo>
                      <a:pt x="561" y="295"/>
                      <a:pt x="566" y="301"/>
                      <a:pt x="573" y="301"/>
                    </a:cubicBezTo>
                    <a:cubicBezTo>
                      <a:pt x="580" y="301"/>
                      <a:pt x="585" y="295"/>
                      <a:pt x="585" y="288"/>
                    </a:cubicBezTo>
                    <a:cubicBezTo>
                      <a:pt x="585" y="282"/>
                      <a:pt x="580" y="276"/>
                      <a:pt x="573" y="276"/>
                    </a:cubicBezTo>
                    <a:close/>
                    <a:moveTo>
                      <a:pt x="573" y="614"/>
                    </a:moveTo>
                    <a:cubicBezTo>
                      <a:pt x="566" y="614"/>
                      <a:pt x="561" y="620"/>
                      <a:pt x="561" y="627"/>
                    </a:cubicBezTo>
                    <a:cubicBezTo>
                      <a:pt x="561" y="633"/>
                      <a:pt x="566" y="639"/>
                      <a:pt x="573" y="639"/>
                    </a:cubicBezTo>
                    <a:cubicBezTo>
                      <a:pt x="580" y="639"/>
                      <a:pt x="585" y="633"/>
                      <a:pt x="585" y="627"/>
                    </a:cubicBezTo>
                    <a:cubicBezTo>
                      <a:pt x="585" y="620"/>
                      <a:pt x="580" y="614"/>
                      <a:pt x="573" y="614"/>
                    </a:cubicBezTo>
                    <a:close/>
                    <a:moveTo>
                      <a:pt x="573" y="584"/>
                    </a:moveTo>
                    <a:cubicBezTo>
                      <a:pt x="566" y="584"/>
                      <a:pt x="561" y="589"/>
                      <a:pt x="561" y="596"/>
                    </a:cubicBezTo>
                    <a:cubicBezTo>
                      <a:pt x="561" y="603"/>
                      <a:pt x="566" y="608"/>
                      <a:pt x="573" y="608"/>
                    </a:cubicBezTo>
                    <a:cubicBezTo>
                      <a:pt x="580" y="608"/>
                      <a:pt x="585" y="603"/>
                      <a:pt x="585" y="596"/>
                    </a:cubicBezTo>
                    <a:cubicBezTo>
                      <a:pt x="585" y="589"/>
                      <a:pt x="580" y="584"/>
                      <a:pt x="573" y="584"/>
                    </a:cubicBezTo>
                    <a:close/>
                    <a:moveTo>
                      <a:pt x="573" y="645"/>
                    </a:moveTo>
                    <a:cubicBezTo>
                      <a:pt x="566" y="645"/>
                      <a:pt x="561" y="651"/>
                      <a:pt x="561" y="657"/>
                    </a:cubicBezTo>
                    <a:cubicBezTo>
                      <a:pt x="561" y="664"/>
                      <a:pt x="566" y="669"/>
                      <a:pt x="573" y="669"/>
                    </a:cubicBezTo>
                    <a:cubicBezTo>
                      <a:pt x="580" y="669"/>
                      <a:pt x="585" y="664"/>
                      <a:pt x="585" y="657"/>
                    </a:cubicBezTo>
                    <a:cubicBezTo>
                      <a:pt x="585" y="651"/>
                      <a:pt x="580" y="645"/>
                      <a:pt x="573" y="645"/>
                    </a:cubicBezTo>
                    <a:close/>
                    <a:moveTo>
                      <a:pt x="573" y="430"/>
                    </a:moveTo>
                    <a:cubicBezTo>
                      <a:pt x="566" y="430"/>
                      <a:pt x="561" y="435"/>
                      <a:pt x="561" y="442"/>
                    </a:cubicBezTo>
                    <a:cubicBezTo>
                      <a:pt x="561" y="449"/>
                      <a:pt x="566" y="454"/>
                      <a:pt x="573" y="454"/>
                    </a:cubicBezTo>
                    <a:cubicBezTo>
                      <a:pt x="580" y="454"/>
                      <a:pt x="585" y="449"/>
                      <a:pt x="585" y="442"/>
                    </a:cubicBezTo>
                    <a:cubicBezTo>
                      <a:pt x="585" y="435"/>
                      <a:pt x="580" y="430"/>
                      <a:pt x="573" y="430"/>
                    </a:cubicBezTo>
                    <a:close/>
                    <a:moveTo>
                      <a:pt x="573" y="676"/>
                    </a:moveTo>
                    <a:cubicBezTo>
                      <a:pt x="566" y="676"/>
                      <a:pt x="561" y="681"/>
                      <a:pt x="561" y="688"/>
                    </a:cubicBezTo>
                    <a:cubicBezTo>
                      <a:pt x="561" y="695"/>
                      <a:pt x="566" y="700"/>
                      <a:pt x="573" y="700"/>
                    </a:cubicBezTo>
                    <a:cubicBezTo>
                      <a:pt x="580" y="700"/>
                      <a:pt x="585" y="695"/>
                      <a:pt x="585" y="688"/>
                    </a:cubicBezTo>
                    <a:cubicBezTo>
                      <a:pt x="585" y="681"/>
                      <a:pt x="580" y="676"/>
                      <a:pt x="573" y="676"/>
                    </a:cubicBezTo>
                    <a:close/>
                    <a:moveTo>
                      <a:pt x="573" y="461"/>
                    </a:moveTo>
                    <a:cubicBezTo>
                      <a:pt x="566" y="461"/>
                      <a:pt x="561" y="466"/>
                      <a:pt x="561" y="473"/>
                    </a:cubicBezTo>
                    <a:cubicBezTo>
                      <a:pt x="561" y="480"/>
                      <a:pt x="566" y="485"/>
                      <a:pt x="573" y="485"/>
                    </a:cubicBezTo>
                    <a:cubicBezTo>
                      <a:pt x="580" y="485"/>
                      <a:pt x="585" y="480"/>
                      <a:pt x="585" y="473"/>
                    </a:cubicBezTo>
                    <a:cubicBezTo>
                      <a:pt x="585" y="466"/>
                      <a:pt x="580" y="461"/>
                      <a:pt x="573" y="461"/>
                    </a:cubicBezTo>
                    <a:close/>
                    <a:moveTo>
                      <a:pt x="573" y="553"/>
                    </a:moveTo>
                    <a:cubicBezTo>
                      <a:pt x="566" y="553"/>
                      <a:pt x="561" y="558"/>
                      <a:pt x="561" y="565"/>
                    </a:cubicBezTo>
                    <a:cubicBezTo>
                      <a:pt x="561" y="572"/>
                      <a:pt x="566" y="577"/>
                      <a:pt x="573" y="577"/>
                    </a:cubicBezTo>
                    <a:cubicBezTo>
                      <a:pt x="580" y="577"/>
                      <a:pt x="585" y="572"/>
                      <a:pt x="585" y="565"/>
                    </a:cubicBezTo>
                    <a:cubicBezTo>
                      <a:pt x="585" y="558"/>
                      <a:pt x="580" y="553"/>
                      <a:pt x="573" y="553"/>
                    </a:cubicBezTo>
                    <a:close/>
                    <a:moveTo>
                      <a:pt x="573" y="491"/>
                    </a:moveTo>
                    <a:cubicBezTo>
                      <a:pt x="566" y="491"/>
                      <a:pt x="561" y="497"/>
                      <a:pt x="561" y="504"/>
                    </a:cubicBezTo>
                    <a:cubicBezTo>
                      <a:pt x="561" y="510"/>
                      <a:pt x="566" y="516"/>
                      <a:pt x="573" y="516"/>
                    </a:cubicBezTo>
                    <a:cubicBezTo>
                      <a:pt x="580" y="516"/>
                      <a:pt x="585" y="510"/>
                      <a:pt x="585" y="504"/>
                    </a:cubicBezTo>
                    <a:cubicBezTo>
                      <a:pt x="585" y="497"/>
                      <a:pt x="580" y="491"/>
                      <a:pt x="573" y="491"/>
                    </a:cubicBezTo>
                    <a:close/>
                    <a:moveTo>
                      <a:pt x="573" y="707"/>
                    </a:moveTo>
                    <a:cubicBezTo>
                      <a:pt x="566" y="707"/>
                      <a:pt x="561" y="712"/>
                      <a:pt x="561" y="719"/>
                    </a:cubicBezTo>
                    <a:cubicBezTo>
                      <a:pt x="561" y="725"/>
                      <a:pt x="566" y="731"/>
                      <a:pt x="573" y="731"/>
                    </a:cubicBezTo>
                    <a:cubicBezTo>
                      <a:pt x="580" y="731"/>
                      <a:pt x="585" y="725"/>
                      <a:pt x="585" y="719"/>
                    </a:cubicBezTo>
                    <a:cubicBezTo>
                      <a:pt x="585" y="712"/>
                      <a:pt x="580" y="707"/>
                      <a:pt x="573" y="707"/>
                    </a:cubicBezTo>
                    <a:close/>
                    <a:moveTo>
                      <a:pt x="608" y="584"/>
                    </a:moveTo>
                    <a:cubicBezTo>
                      <a:pt x="601" y="584"/>
                      <a:pt x="596" y="589"/>
                      <a:pt x="596" y="596"/>
                    </a:cubicBezTo>
                    <a:cubicBezTo>
                      <a:pt x="596" y="603"/>
                      <a:pt x="601" y="608"/>
                      <a:pt x="608" y="608"/>
                    </a:cubicBezTo>
                    <a:cubicBezTo>
                      <a:pt x="615" y="608"/>
                      <a:pt x="620" y="603"/>
                      <a:pt x="620" y="596"/>
                    </a:cubicBezTo>
                    <a:cubicBezTo>
                      <a:pt x="620" y="589"/>
                      <a:pt x="615" y="584"/>
                      <a:pt x="608" y="584"/>
                    </a:cubicBezTo>
                    <a:close/>
                    <a:moveTo>
                      <a:pt x="678" y="276"/>
                    </a:moveTo>
                    <a:cubicBezTo>
                      <a:pt x="671" y="276"/>
                      <a:pt x="666" y="282"/>
                      <a:pt x="666" y="288"/>
                    </a:cubicBezTo>
                    <a:cubicBezTo>
                      <a:pt x="666" y="295"/>
                      <a:pt x="671" y="301"/>
                      <a:pt x="678" y="301"/>
                    </a:cubicBezTo>
                    <a:cubicBezTo>
                      <a:pt x="685" y="301"/>
                      <a:pt x="690" y="295"/>
                      <a:pt x="690" y="288"/>
                    </a:cubicBezTo>
                    <a:cubicBezTo>
                      <a:pt x="690" y="282"/>
                      <a:pt x="685" y="276"/>
                      <a:pt x="678" y="276"/>
                    </a:cubicBezTo>
                    <a:close/>
                    <a:moveTo>
                      <a:pt x="678" y="491"/>
                    </a:moveTo>
                    <a:cubicBezTo>
                      <a:pt x="671" y="491"/>
                      <a:pt x="666" y="497"/>
                      <a:pt x="666" y="504"/>
                    </a:cubicBezTo>
                    <a:cubicBezTo>
                      <a:pt x="666" y="510"/>
                      <a:pt x="671" y="516"/>
                      <a:pt x="678" y="516"/>
                    </a:cubicBezTo>
                    <a:cubicBezTo>
                      <a:pt x="685" y="516"/>
                      <a:pt x="690" y="510"/>
                      <a:pt x="690" y="504"/>
                    </a:cubicBezTo>
                    <a:cubicBezTo>
                      <a:pt x="690" y="497"/>
                      <a:pt x="685" y="491"/>
                      <a:pt x="678" y="491"/>
                    </a:cubicBezTo>
                    <a:close/>
                    <a:moveTo>
                      <a:pt x="678" y="522"/>
                    </a:moveTo>
                    <a:cubicBezTo>
                      <a:pt x="671" y="522"/>
                      <a:pt x="666" y="528"/>
                      <a:pt x="666" y="534"/>
                    </a:cubicBezTo>
                    <a:cubicBezTo>
                      <a:pt x="666" y="541"/>
                      <a:pt x="671" y="546"/>
                      <a:pt x="678" y="546"/>
                    </a:cubicBezTo>
                    <a:cubicBezTo>
                      <a:pt x="685" y="546"/>
                      <a:pt x="690" y="541"/>
                      <a:pt x="690" y="534"/>
                    </a:cubicBezTo>
                    <a:cubicBezTo>
                      <a:pt x="690" y="528"/>
                      <a:pt x="685" y="522"/>
                      <a:pt x="678" y="522"/>
                    </a:cubicBezTo>
                    <a:close/>
                    <a:moveTo>
                      <a:pt x="678" y="553"/>
                    </a:moveTo>
                    <a:cubicBezTo>
                      <a:pt x="671" y="553"/>
                      <a:pt x="666" y="558"/>
                      <a:pt x="666" y="565"/>
                    </a:cubicBezTo>
                    <a:cubicBezTo>
                      <a:pt x="666" y="572"/>
                      <a:pt x="671" y="577"/>
                      <a:pt x="678" y="577"/>
                    </a:cubicBezTo>
                    <a:cubicBezTo>
                      <a:pt x="685" y="577"/>
                      <a:pt x="690" y="572"/>
                      <a:pt x="690" y="565"/>
                    </a:cubicBezTo>
                    <a:cubicBezTo>
                      <a:pt x="690" y="558"/>
                      <a:pt x="685" y="553"/>
                      <a:pt x="678" y="553"/>
                    </a:cubicBezTo>
                    <a:close/>
                    <a:moveTo>
                      <a:pt x="678" y="584"/>
                    </a:moveTo>
                    <a:cubicBezTo>
                      <a:pt x="671" y="584"/>
                      <a:pt x="666" y="589"/>
                      <a:pt x="666" y="596"/>
                    </a:cubicBezTo>
                    <a:cubicBezTo>
                      <a:pt x="666" y="603"/>
                      <a:pt x="671" y="608"/>
                      <a:pt x="678" y="608"/>
                    </a:cubicBezTo>
                    <a:cubicBezTo>
                      <a:pt x="685" y="608"/>
                      <a:pt x="690" y="603"/>
                      <a:pt x="690" y="596"/>
                    </a:cubicBezTo>
                    <a:cubicBezTo>
                      <a:pt x="690" y="589"/>
                      <a:pt x="685" y="584"/>
                      <a:pt x="678" y="584"/>
                    </a:cubicBezTo>
                    <a:close/>
                    <a:moveTo>
                      <a:pt x="678" y="368"/>
                    </a:moveTo>
                    <a:cubicBezTo>
                      <a:pt x="671" y="368"/>
                      <a:pt x="666" y="374"/>
                      <a:pt x="666" y="381"/>
                    </a:cubicBezTo>
                    <a:cubicBezTo>
                      <a:pt x="666" y="387"/>
                      <a:pt x="671" y="393"/>
                      <a:pt x="678" y="393"/>
                    </a:cubicBezTo>
                    <a:cubicBezTo>
                      <a:pt x="685" y="393"/>
                      <a:pt x="690" y="387"/>
                      <a:pt x="690" y="381"/>
                    </a:cubicBezTo>
                    <a:cubicBezTo>
                      <a:pt x="690" y="374"/>
                      <a:pt x="685" y="368"/>
                      <a:pt x="678" y="368"/>
                    </a:cubicBezTo>
                    <a:close/>
                    <a:moveTo>
                      <a:pt x="678" y="338"/>
                    </a:moveTo>
                    <a:cubicBezTo>
                      <a:pt x="671" y="338"/>
                      <a:pt x="666" y="343"/>
                      <a:pt x="666" y="350"/>
                    </a:cubicBezTo>
                    <a:cubicBezTo>
                      <a:pt x="666" y="357"/>
                      <a:pt x="671" y="362"/>
                      <a:pt x="678" y="362"/>
                    </a:cubicBezTo>
                    <a:cubicBezTo>
                      <a:pt x="685" y="362"/>
                      <a:pt x="690" y="357"/>
                      <a:pt x="690" y="350"/>
                    </a:cubicBezTo>
                    <a:cubicBezTo>
                      <a:pt x="690" y="343"/>
                      <a:pt x="685" y="338"/>
                      <a:pt x="678" y="338"/>
                    </a:cubicBezTo>
                    <a:close/>
                    <a:moveTo>
                      <a:pt x="678" y="399"/>
                    </a:moveTo>
                    <a:cubicBezTo>
                      <a:pt x="671" y="399"/>
                      <a:pt x="666" y="405"/>
                      <a:pt x="666" y="411"/>
                    </a:cubicBezTo>
                    <a:cubicBezTo>
                      <a:pt x="666" y="418"/>
                      <a:pt x="671" y="424"/>
                      <a:pt x="678" y="424"/>
                    </a:cubicBezTo>
                    <a:cubicBezTo>
                      <a:pt x="685" y="424"/>
                      <a:pt x="690" y="418"/>
                      <a:pt x="690" y="411"/>
                    </a:cubicBezTo>
                    <a:cubicBezTo>
                      <a:pt x="690" y="405"/>
                      <a:pt x="685" y="399"/>
                      <a:pt x="678" y="399"/>
                    </a:cubicBezTo>
                    <a:close/>
                    <a:moveTo>
                      <a:pt x="678" y="461"/>
                    </a:moveTo>
                    <a:cubicBezTo>
                      <a:pt x="671" y="461"/>
                      <a:pt x="666" y="466"/>
                      <a:pt x="666" y="473"/>
                    </a:cubicBezTo>
                    <a:cubicBezTo>
                      <a:pt x="666" y="480"/>
                      <a:pt x="671" y="485"/>
                      <a:pt x="678" y="485"/>
                    </a:cubicBezTo>
                    <a:cubicBezTo>
                      <a:pt x="685" y="485"/>
                      <a:pt x="690" y="480"/>
                      <a:pt x="690" y="473"/>
                    </a:cubicBezTo>
                    <a:cubicBezTo>
                      <a:pt x="690" y="466"/>
                      <a:pt x="685" y="461"/>
                      <a:pt x="678" y="461"/>
                    </a:cubicBezTo>
                    <a:close/>
                    <a:moveTo>
                      <a:pt x="678" y="430"/>
                    </a:moveTo>
                    <a:cubicBezTo>
                      <a:pt x="671" y="430"/>
                      <a:pt x="666" y="435"/>
                      <a:pt x="666" y="442"/>
                    </a:cubicBezTo>
                    <a:cubicBezTo>
                      <a:pt x="666" y="449"/>
                      <a:pt x="671" y="454"/>
                      <a:pt x="678" y="454"/>
                    </a:cubicBezTo>
                    <a:cubicBezTo>
                      <a:pt x="685" y="454"/>
                      <a:pt x="690" y="449"/>
                      <a:pt x="690" y="442"/>
                    </a:cubicBezTo>
                    <a:cubicBezTo>
                      <a:pt x="690" y="435"/>
                      <a:pt x="685" y="430"/>
                      <a:pt x="678" y="430"/>
                    </a:cubicBezTo>
                    <a:close/>
                    <a:moveTo>
                      <a:pt x="713" y="276"/>
                    </a:moveTo>
                    <a:cubicBezTo>
                      <a:pt x="706" y="276"/>
                      <a:pt x="701" y="282"/>
                      <a:pt x="701" y="288"/>
                    </a:cubicBezTo>
                    <a:cubicBezTo>
                      <a:pt x="701" y="295"/>
                      <a:pt x="706" y="301"/>
                      <a:pt x="713" y="301"/>
                    </a:cubicBezTo>
                    <a:cubicBezTo>
                      <a:pt x="720" y="301"/>
                      <a:pt x="725" y="295"/>
                      <a:pt x="725" y="288"/>
                    </a:cubicBezTo>
                    <a:cubicBezTo>
                      <a:pt x="725" y="282"/>
                      <a:pt x="720" y="276"/>
                      <a:pt x="713" y="276"/>
                    </a:cubicBezTo>
                    <a:close/>
                    <a:moveTo>
                      <a:pt x="713" y="307"/>
                    </a:moveTo>
                    <a:cubicBezTo>
                      <a:pt x="706" y="307"/>
                      <a:pt x="701" y="312"/>
                      <a:pt x="701" y="319"/>
                    </a:cubicBezTo>
                    <a:cubicBezTo>
                      <a:pt x="701" y="326"/>
                      <a:pt x="706" y="331"/>
                      <a:pt x="713" y="331"/>
                    </a:cubicBezTo>
                    <a:cubicBezTo>
                      <a:pt x="720" y="331"/>
                      <a:pt x="725" y="326"/>
                      <a:pt x="725" y="319"/>
                    </a:cubicBezTo>
                    <a:cubicBezTo>
                      <a:pt x="725" y="312"/>
                      <a:pt x="720" y="307"/>
                      <a:pt x="713" y="307"/>
                    </a:cubicBezTo>
                    <a:close/>
                    <a:moveTo>
                      <a:pt x="713" y="368"/>
                    </a:moveTo>
                    <a:cubicBezTo>
                      <a:pt x="706" y="368"/>
                      <a:pt x="701" y="374"/>
                      <a:pt x="701" y="381"/>
                    </a:cubicBezTo>
                    <a:cubicBezTo>
                      <a:pt x="701" y="387"/>
                      <a:pt x="706" y="393"/>
                      <a:pt x="713" y="393"/>
                    </a:cubicBezTo>
                    <a:cubicBezTo>
                      <a:pt x="720" y="393"/>
                      <a:pt x="725" y="387"/>
                      <a:pt x="725" y="381"/>
                    </a:cubicBezTo>
                    <a:cubicBezTo>
                      <a:pt x="725" y="374"/>
                      <a:pt x="720" y="368"/>
                      <a:pt x="713" y="368"/>
                    </a:cubicBezTo>
                    <a:close/>
                    <a:moveTo>
                      <a:pt x="713" y="338"/>
                    </a:moveTo>
                    <a:cubicBezTo>
                      <a:pt x="706" y="338"/>
                      <a:pt x="701" y="343"/>
                      <a:pt x="701" y="350"/>
                    </a:cubicBezTo>
                    <a:cubicBezTo>
                      <a:pt x="701" y="357"/>
                      <a:pt x="706" y="362"/>
                      <a:pt x="713" y="362"/>
                    </a:cubicBezTo>
                    <a:cubicBezTo>
                      <a:pt x="720" y="362"/>
                      <a:pt x="725" y="357"/>
                      <a:pt x="725" y="350"/>
                    </a:cubicBezTo>
                    <a:cubicBezTo>
                      <a:pt x="725" y="343"/>
                      <a:pt x="720" y="338"/>
                      <a:pt x="713" y="338"/>
                    </a:cubicBezTo>
                    <a:close/>
                    <a:moveTo>
                      <a:pt x="678" y="307"/>
                    </a:moveTo>
                    <a:cubicBezTo>
                      <a:pt x="671" y="307"/>
                      <a:pt x="666" y="312"/>
                      <a:pt x="666" y="319"/>
                    </a:cubicBezTo>
                    <a:cubicBezTo>
                      <a:pt x="666" y="326"/>
                      <a:pt x="671" y="331"/>
                      <a:pt x="678" y="331"/>
                    </a:cubicBezTo>
                    <a:cubicBezTo>
                      <a:pt x="685" y="331"/>
                      <a:pt x="690" y="326"/>
                      <a:pt x="690" y="319"/>
                    </a:cubicBezTo>
                    <a:cubicBezTo>
                      <a:pt x="690" y="312"/>
                      <a:pt x="685" y="307"/>
                      <a:pt x="678" y="307"/>
                    </a:cubicBezTo>
                    <a:close/>
                    <a:moveTo>
                      <a:pt x="643" y="338"/>
                    </a:moveTo>
                    <a:cubicBezTo>
                      <a:pt x="636" y="338"/>
                      <a:pt x="631" y="343"/>
                      <a:pt x="631" y="350"/>
                    </a:cubicBezTo>
                    <a:cubicBezTo>
                      <a:pt x="631" y="357"/>
                      <a:pt x="636" y="362"/>
                      <a:pt x="643" y="362"/>
                    </a:cubicBezTo>
                    <a:cubicBezTo>
                      <a:pt x="650" y="362"/>
                      <a:pt x="655" y="357"/>
                      <a:pt x="655" y="350"/>
                    </a:cubicBezTo>
                    <a:cubicBezTo>
                      <a:pt x="655" y="343"/>
                      <a:pt x="650" y="338"/>
                      <a:pt x="643" y="338"/>
                    </a:cubicBezTo>
                    <a:close/>
                    <a:moveTo>
                      <a:pt x="643" y="307"/>
                    </a:moveTo>
                    <a:cubicBezTo>
                      <a:pt x="636" y="307"/>
                      <a:pt x="631" y="312"/>
                      <a:pt x="631" y="319"/>
                    </a:cubicBezTo>
                    <a:cubicBezTo>
                      <a:pt x="631" y="326"/>
                      <a:pt x="636" y="331"/>
                      <a:pt x="643" y="331"/>
                    </a:cubicBezTo>
                    <a:cubicBezTo>
                      <a:pt x="650" y="331"/>
                      <a:pt x="655" y="326"/>
                      <a:pt x="655" y="319"/>
                    </a:cubicBezTo>
                    <a:cubicBezTo>
                      <a:pt x="655" y="312"/>
                      <a:pt x="650" y="307"/>
                      <a:pt x="643" y="307"/>
                    </a:cubicBezTo>
                    <a:close/>
                    <a:moveTo>
                      <a:pt x="643" y="276"/>
                    </a:moveTo>
                    <a:cubicBezTo>
                      <a:pt x="636" y="276"/>
                      <a:pt x="631" y="282"/>
                      <a:pt x="631" y="288"/>
                    </a:cubicBezTo>
                    <a:cubicBezTo>
                      <a:pt x="631" y="295"/>
                      <a:pt x="636" y="301"/>
                      <a:pt x="643" y="301"/>
                    </a:cubicBezTo>
                    <a:cubicBezTo>
                      <a:pt x="650" y="301"/>
                      <a:pt x="655" y="295"/>
                      <a:pt x="655" y="288"/>
                    </a:cubicBezTo>
                    <a:cubicBezTo>
                      <a:pt x="655" y="282"/>
                      <a:pt x="650" y="276"/>
                      <a:pt x="643" y="276"/>
                    </a:cubicBezTo>
                    <a:close/>
                    <a:moveTo>
                      <a:pt x="643" y="399"/>
                    </a:moveTo>
                    <a:cubicBezTo>
                      <a:pt x="636" y="399"/>
                      <a:pt x="631" y="405"/>
                      <a:pt x="631" y="411"/>
                    </a:cubicBezTo>
                    <a:cubicBezTo>
                      <a:pt x="631" y="418"/>
                      <a:pt x="636" y="424"/>
                      <a:pt x="643" y="424"/>
                    </a:cubicBezTo>
                    <a:cubicBezTo>
                      <a:pt x="650" y="424"/>
                      <a:pt x="655" y="418"/>
                      <a:pt x="655" y="411"/>
                    </a:cubicBezTo>
                    <a:cubicBezTo>
                      <a:pt x="655" y="405"/>
                      <a:pt x="650" y="399"/>
                      <a:pt x="643" y="399"/>
                    </a:cubicBezTo>
                    <a:close/>
                    <a:moveTo>
                      <a:pt x="643" y="368"/>
                    </a:moveTo>
                    <a:cubicBezTo>
                      <a:pt x="636" y="368"/>
                      <a:pt x="631" y="374"/>
                      <a:pt x="631" y="381"/>
                    </a:cubicBezTo>
                    <a:cubicBezTo>
                      <a:pt x="631" y="387"/>
                      <a:pt x="636" y="393"/>
                      <a:pt x="643" y="393"/>
                    </a:cubicBezTo>
                    <a:cubicBezTo>
                      <a:pt x="650" y="393"/>
                      <a:pt x="655" y="387"/>
                      <a:pt x="655" y="381"/>
                    </a:cubicBezTo>
                    <a:cubicBezTo>
                      <a:pt x="655" y="374"/>
                      <a:pt x="650" y="368"/>
                      <a:pt x="643" y="368"/>
                    </a:cubicBezTo>
                    <a:close/>
                    <a:moveTo>
                      <a:pt x="643" y="522"/>
                    </a:moveTo>
                    <a:cubicBezTo>
                      <a:pt x="636" y="522"/>
                      <a:pt x="631" y="528"/>
                      <a:pt x="631" y="534"/>
                    </a:cubicBezTo>
                    <a:cubicBezTo>
                      <a:pt x="631" y="541"/>
                      <a:pt x="636" y="546"/>
                      <a:pt x="643" y="546"/>
                    </a:cubicBezTo>
                    <a:cubicBezTo>
                      <a:pt x="650" y="546"/>
                      <a:pt x="655" y="541"/>
                      <a:pt x="655" y="534"/>
                    </a:cubicBezTo>
                    <a:cubicBezTo>
                      <a:pt x="655" y="528"/>
                      <a:pt x="650" y="522"/>
                      <a:pt x="643" y="522"/>
                    </a:cubicBezTo>
                    <a:close/>
                    <a:moveTo>
                      <a:pt x="643" y="676"/>
                    </a:moveTo>
                    <a:cubicBezTo>
                      <a:pt x="636" y="676"/>
                      <a:pt x="631" y="681"/>
                      <a:pt x="631" y="688"/>
                    </a:cubicBezTo>
                    <a:cubicBezTo>
                      <a:pt x="631" y="695"/>
                      <a:pt x="636" y="700"/>
                      <a:pt x="643" y="700"/>
                    </a:cubicBezTo>
                    <a:cubicBezTo>
                      <a:pt x="650" y="700"/>
                      <a:pt x="655" y="695"/>
                      <a:pt x="655" y="688"/>
                    </a:cubicBezTo>
                    <a:cubicBezTo>
                      <a:pt x="655" y="681"/>
                      <a:pt x="650" y="676"/>
                      <a:pt x="643" y="676"/>
                    </a:cubicBezTo>
                    <a:close/>
                    <a:moveTo>
                      <a:pt x="643" y="645"/>
                    </a:moveTo>
                    <a:cubicBezTo>
                      <a:pt x="636" y="645"/>
                      <a:pt x="631" y="651"/>
                      <a:pt x="631" y="657"/>
                    </a:cubicBezTo>
                    <a:cubicBezTo>
                      <a:pt x="631" y="664"/>
                      <a:pt x="636" y="669"/>
                      <a:pt x="643" y="669"/>
                    </a:cubicBezTo>
                    <a:cubicBezTo>
                      <a:pt x="650" y="669"/>
                      <a:pt x="655" y="664"/>
                      <a:pt x="655" y="657"/>
                    </a:cubicBezTo>
                    <a:cubicBezTo>
                      <a:pt x="655" y="651"/>
                      <a:pt x="650" y="645"/>
                      <a:pt x="643" y="645"/>
                    </a:cubicBezTo>
                    <a:close/>
                    <a:moveTo>
                      <a:pt x="643" y="614"/>
                    </a:moveTo>
                    <a:cubicBezTo>
                      <a:pt x="636" y="614"/>
                      <a:pt x="631" y="620"/>
                      <a:pt x="631" y="627"/>
                    </a:cubicBezTo>
                    <a:cubicBezTo>
                      <a:pt x="631" y="633"/>
                      <a:pt x="636" y="639"/>
                      <a:pt x="643" y="639"/>
                    </a:cubicBezTo>
                    <a:cubicBezTo>
                      <a:pt x="650" y="639"/>
                      <a:pt x="655" y="633"/>
                      <a:pt x="655" y="627"/>
                    </a:cubicBezTo>
                    <a:cubicBezTo>
                      <a:pt x="655" y="620"/>
                      <a:pt x="650" y="614"/>
                      <a:pt x="643" y="614"/>
                    </a:cubicBezTo>
                    <a:close/>
                    <a:moveTo>
                      <a:pt x="643" y="584"/>
                    </a:moveTo>
                    <a:cubicBezTo>
                      <a:pt x="636" y="584"/>
                      <a:pt x="631" y="589"/>
                      <a:pt x="631" y="596"/>
                    </a:cubicBezTo>
                    <a:cubicBezTo>
                      <a:pt x="631" y="603"/>
                      <a:pt x="636" y="608"/>
                      <a:pt x="643" y="608"/>
                    </a:cubicBezTo>
                    <a:cubicBezTo>
                      <a:pt x="650" y="608"/>
                      <a:pt x="655" y="603"/>
                      <a:pt x="655" y="596"/>
                    </a:cubicBezTo>
                    <a:cubicBezTo>
                      <a:pt x="655" y="589"/>
                      <a:pt x="650" y="584"/>
                      <a:pt x="643" y="584"/>
                    </a:cubicBezTo>
                    <a:close/>
                    <a:moveTo>
                      <a:pt x="643" y="491"/>
                    </a:moveTo>
                    <a:cubicBezTo>
                      <a:pt x="636" y="491"/>
                      <a:pt x="631" y="497"/>
                      <a:pt x="631" y="504"/>
                    </a:cubicBezTo>
                    <a:cubicBezTo>
                      <a:pt x="631" y="510"/>
                      <a:pt x="636" y="516"/>
                      <a:pt x="643" y="516"/>
                    </a:cubicBezTo>
                    <a:cubicBezTo>
                      <a:pt x="650" y="516"/>
                      <a:pt x="655" y="510"/>
                      <a:pt x="655" y="504"/>
                    </a:cubicBezTo>
                    <a:cubicBezTo>
                      <a:pt x="655" y="497"/>
                      <a:pt x="650" y="491"/>
                      <a:pt x="643" y="491"/>
                    </a:cubicBezTo>
                    <a:close/>
                    <a:moveTo>
                      <a:pt x="643" y="461"/>
                    </a:moveTo>
                    <a:cubicBezTo>
                      <a:pt x="636" y="461"/>
                      <a:pt x="631" y="466"/>
                      <a:pt x="631" y="473"/>
                    </a:cubicBezTo>
                    <a:cubicBezTo>
                      <a:pt x="631" y="480"/>
                      <a:pt x="636" y="485"/>
                      <a:pt x="643" y="485"/>
                    </a:cubicBezTo>
                    <a:cubicBezTo>
                      <a:pt x="650" y="485"/>
                      <a:pt x="655" y="480"/>
                      <a:pt x="655" y="473"/>
                    </a:cubicBezTo>
                    <a:cubicBezTo>
                      <a:pt x="655" y="466"/>
                      <a:pt x="650" y="461"/>
                      <a:pt x="643" y="461"/>
                    </a:cubicBezTo>
                    <a:close/>
                    <a:moveTo>
                      <a:pt x="643" y="553"/>
                    </a:moveTo>
                    <a:cubicBezTo>
                      <a:pt x="636" y="553"/>
                      <a:pt x="631" y="558"/>
                      <a:pt x="631" y="565"/>
                    </a:cubicBezTo>
                    <a:cubicBezTo>
                      <a:pt x="631" y="572"/>
                      <a:pt x="636" y="577"/>
                      <a:pt x="643" y="577"/>
                    </a:cubicBezTo>
                    <a:cubicBezTo>
                      <a:pt x="650" y="577"/>
                      <a:pt x="655" y="572"/>
                      <a:pt x="655" y="565"/>
                    </a:cubicBezTo>
                    <a:cubicBezTo>
                      <a:pt x="655" y="558"/>
                      <a:pt x="650" y="553"/>
                      <a:pt x="643" y="553"/>
                    </a:cubicBezTo>
                    <a:close/>
                    <a:moveTo>
                      <a:pt x="643" y="430"/>
                    </a:moveTo>
                    <a:cubicBezTo>
                      <a:pt x="636" y="430"/>
                      <a:pt x="631" y="435"/>
                      <a:pt x="631" y="442"/>
                    </a:cubicBezTo>
                    <a:cubicBezTo>
                      <a:pt x="631" y="449"/>
                      <a:pt x="636" y="454"/>
                      <a:pt x="643" y="454"/>
                    </a:cubicBezTo>
                    <a:cubicBezTo>
                      <a:pt x="650" y="454"/>
                      <a:pt x="655" y="449"/>
                      <a:pt x="655" y="442"/>
                    </a:cubicBezTo>
                    <a:cubicBezTo>
                      <a:pt x="655" y="435"/>
                      <a:pt x="650" y="430"/>
                      <a:pt x="643" y="430"/>
                    </a:cubicBezTo>
                    <a:close/>
                  </a:path>
                </a:pathLst>
              </a:custGeom>
              <a:solidFill>
                <a:srgbClr val="FFFFFF"/>
              </a:solidFill>
              <a:ln>
                <a:noFill/>
              </a:ln>
              <a:extLst/>
            </p:spPr>
            <p:txBody>
              <a:bodyPr/>
              <a:lstStyle/>
              <a:p>
                <a:pPr>
                  <a:spcBef>
                    <a:spcPct val="50000"/>
                  </a:spcBef>
                  <a:defRPr/>
                </a:pPr>
                <a:endParaRPr lang="en-US">
                  <a:solidFill>
                    <a:srgbClr val="00A9D4"/>
                  </a:solidFill>
                  <a:latin typeface="Arial" charset="0"/>
                  <a:cs typeface="Arial" pitchFamily="34" charset="0"/>
                </a:endParaRPr>
              </a:p>
            </p:txBody>
          </p:sp>
          <p:sp>
            <p:nvSpPr>
              <p:cNvPr id="45" name="Freeform 8"/>
              <p:cNvSpPr>
                <a:spLocks noChangeAspect="1" noEditPoints="1"/>
              </p:cNvSpPr>
              <p:nvPr/>
            </p:nvSpPr>
            <p:spPr bwMode="auto">
              <a:xfrm>
                <a:off x="6402388" y="2374900"/>
                <a:ext cx="1470025" cy="996950"/>
              </a:xfrm>
              <a:custGeom>
                <a:avLst/>
                <a:gdLst>
                  <a:gd name="T0" fmla="*/ 2147483647 w 761"/>
                  <a:gd name="T1" fmla="*/ 2147483647 h 516"/>
                  <a:gd name="T2" fmla="*/ 2147483647 w 761"/>
                  <a:gd name="T3" fmla="*/ 2147483647 h 516"/>
                  <a:gd name="T4" fmla="*/ 2147483647 w 761"/>
                  <a:gd name="T5" fmla="*/ 2147483647 h 516"/>
                  <a:gd name="T6" fmla="*/ 2147483647 w 761"/>
                  <a:gd name="T7" fmla="*/ 2147483647 h 516"/>
                  <a:gd name="T8" fmla="*/ 2147483647 w 761"/>
                  <a:gd name="T9" fmla="*/ 2147483647 h 516"/>
                  <a:gd name="T10" fmla="*/ 2147483647 w 761"/>
                  <a:gd name="T11" fmla="*/ 2147483647 h 516"/>
                  <a:gd name="T12" fmla="*/ 2147483647 w 761"/>
                  <a:gd name="T13" fmla="*/ 2147483647 h 516"/>
                  <a:gd name="T14" fmla="*/ 2147483647 w 761"/>
                  <a:gd name="T15" fmla="*/ 2147483647 h 516"/>
                  <a:gd name="T16" fmla="*/ 2147483647 w 761"/>
                  <a:gd name="T17" fmla="*/ 2147483647 h 516"/>
                  <a:gd name="T18" fmla="*/ 2147483647 w 761"/>
                  <a:gd name="T19" fmla="*/ 2147483647 h 516"/>
                  <a:gd name="T20" fmla="*/ 2147483647 w 761"/>
                  <a:gd name="T21" fmla="*/ 2147483647 h 516"/>
                  <a:gd name="T22" fmla="*/ 2147483647 w 761"/>
                  <a:gd name="T23" fmla="*/ 2147483647 h 516"/>
                  <a:gd name="T24" fmla="*/ 2147483647 w 761"/>
                  <a:gd name="T25" fmla="*/ 2147483647 h 516"/>
                  <a:gd name="T26" fmla="*/ 2147483647 w 761"/>
                  <a:gd name="T27" fmla="*/ 2147483647 h 516"/>
                  <a:gd name="T28" fmla="*/ 2147483647 w 761"/>
                  <a:gd name="T29" fmla="*/ 2147483647 h 516"/>
                  <a:gd name="T30" fmla="*/ 2147483647 w 761"/>
                  <a:gd name="T31" fmla="*/ 2147483647 h 516"/>
                  <a:gd name="T32" fmla="*/ 2147483647 w 761"/>
                  <a:gd name="T33" fmla="*/ 2147483647 h 516"/>
                  <a:gd name="T34" fmla="*/ 2147483647 w 761"/>
                  <a:gd name="T35" fmla="*/ 2147483647 h 516"/>
                  <a:gd name="T36" fmla="*/ 2147483647 w 761"/>
                  <a:gd name="T37" fmla="*/ 2147483647 h 516"/>
                  <a:gd name="T38" fmla="*/ 2147483647 w 761"/>
                  <a:gd name="T39" fmla="*/ 2147483647 h 516"/>
                  <a:gd name="T40" fmla="*/ 2147483647 w 761"/>
                  <a:gd name="T41" fmla="*/ 2147483647 h 516"/>
                  <a:gd name="T42" fmla="*/ 2147483647 w 761"/>
                  <a:gd name="T43" fmla="*/ 2147483647 h 516"/>
                  <a:gd name="T44" fmla="*/ 2147483647 w 761"/>
                  <a:gd name="T45" fmla="*/ 2147483647 h 516"/>
                  <a:gd name="T46" fmla="*/ 2147483647 w 761"/>
                  <a:gd name="T47" fmla="*/ 2147483647 h 516"/>
                  <a:gd name="T48" fmla="*/ 2147483647 w 761"/>
                  <a:gd name="T49" fmla="*/ 2147483647 h 516"/>
                  <a:gd name="T50" fmla="*/ 2147483647 w 761"/>
                  <a:gd name="T51" fmla="*/ 2147483647 h 516"/>
                  <a:gd name="T52" fmla="*/ 2147483647 w 761"/>
                  <a:gd name="T53" fmla="*/ 2147483647 h 516"/>
                  <a:gd name="T54" fmla="*/ 2147483647 w 761"/>
                  <a:gd name="T55" fmla="*/ 2147483647 h 516"/>
                  <a:gd name="T56" fmla="*/ 2147483647 w 761"/>
                  <a:gd name="T57" fmla="*/ 2147483647 h 516"/>
                  <a:gd name="T58" fmla="*/ 2147483647 w 761"/>
                  <a:gd name="T59" fmla="*/ 2147483647 h 516"/>
                  <a:gd name="T60" fmla="*/ 2147483647 w 761"/>
                  <a:gd name="T61" fmla="*/ 2147483647 h 516"/>
                  <a:gd name="T62" fmla="*/ 2147483647 w 761"/>
                  <a:gd name="T63" fmla="*/ 2147483647 h 516"/>
                  <a:gd name="T64" fmla="*/ 2147483647 w 761"/>
                  <a:gd name="T65" fmla="*/ 2147483647 h 516"/>
                  <a:gd name="T66" fmla="*/ 2147483647 w 761"/>
                  <a:gd name="T67" fmla="*/ 2147483647 h 516"/>
                  <a:gd name="T68" fmla="*/ 2147483647 w 761"/>
                  <a:gd name="T69" fmla="*/ 2147483647 h 516"/>
                  <a:gd name="T70" fmla="*/ 2147483647 w 761"/>
                  <a:gd name="T71" fmla="*/ 2147483647 h 516"/>
                  <a:gd name="T72" fmla="*/ 2147483647 w 761"/>
                  <a:gd name="T73" fmla="*/ 2147483647 h 516"/>
                  <a:gd name="T74" fmla="*/ 2147483647 w 761"/>
                  <a:gd name="T75" fmla="*/ 2147483647 h 516"/>
                  <a:gd name="T76" fmla="*/ 2147483647 w 761"/>
                  <a:gd name="T77" fmla="*/ 2147483647 h 516"/>
                  <a:gd name="T78" fmla="*/ 2147483647 w 761"/>
                  <a:gd name="T79" fmla="*/ 2147483647 h 516"/>
                  <a:gd name="T80" fmla="*/ 2147483647 w 761"/>
                  <a:gd name="T81" fmla="*/ 2147483647 h 516"/>
                  <a:gd name="T82" fmla="*/ 2147483647 w 761"/>
                  <a:gd name="T83" fmla="*/ 2147483647 h 516"/>
                  <a:gd name="T84" fmla="*/ 2147483647 w 761"/>
                  <a:gd name="T85" fmla="*/ 2147483647 h 516"/>
                  <a:gd name="T86" fmla="*/ 2147483647 w 761"/>
                  <a:gd name="T87" fmla="*/ 2147483647 h 516"/>
                  <a:gd name="T88" fmla="*/ 2147483647 w 761"/>
                  <a:gd name="T89" fmla="*/ 2147483647 h 516"/>
                  <a:gd name="T90" fmla="*/ 2147483647 w 761"/>
                  <a:gd name="T91" fmla="*/ 2147483647 h 516"/>
                  <a:gd name="T92" fmla="*/ 2147483647 w 761"/>
                  <a:gd name="T93" fmla="*/ 2147483647 h 516"/>
                  <a:gd name="T94" fmla="*/ 2147483647 w 761"/>
                  <a:gd name="T95" fmla="*/ 2147483647 h 516"/>
                  <a:gd name="T96" fmla="*/ 2147483647 w 761"/>
                  <a:gd name="T97" fmla="*/ 2147483647 h 516"/>
                  <a:gd name="T98" fmla="*/ 2147483647 w 761"/>
                  <a:gd name="T99" fmla="*/ 2147483647 h 516"/>
                  <a:gd name="T100" fmla="*/ 2147483647 w 761"/>
                  <a:gd name="T101" fmla="*/ 2147483647 h 516"/>
                  <a:gd name="T102" fmla="*/ 2147483647 w 761"/>
                  <a:gd name="T103" fmla="*/ 2147483647 h 516"/>
                  <a:gd name="T104" fmla="*/ 2147483647 w 761"/>
                  <a:gd name="T105" fmla="*/ 2147483647 h 516"/>
                  <a:gd name="T106" fmla="*/ 2147483647 w 761"/>
                  <a:gd name="T107" fmla="*/ 2147483647 h 516"/>
                  <a:gd name="T108" fmla="*/ 2147483647 w 761"/>
                  <a:gd name="T109" fmla="*/ 2147483647 h 516"/>
                  <a:gd name="T110" fmla="*/ 2147483647 w 761"/>
                  <a:gd name="T111" fmla="*/ 2147483647 h 516"/>
                  <a:gd name="T112" fmla="*/ 2147483647 w 761"/>
                  <a:gd name="T113" fmla="*/ 2147483647 h 516"/>
                  <a:gd name="T114" fmla="*/ 2147483647 w 761"/>
                  <a:gd name="T115" fmla="*/ 2147483647 h 516"/>
                  <a:gd name="T116" fmla="*/ 2147483647 w 761"/>
                  <a:gd name="T117" fmla="*/ 2147483647 h 516"/>
                  <a:gd name="T118" fmla="*/ 2147483647 w 761"/>
                  <a:gd name="T119" fmla="*/ 2147483647 h 516"/>
                  <a:gd name="T120" fmla="*/ 2147483647 w 761"/>
                  <a:gd name="T121" fmla="*/ 2147483647 h 516"/>
                  <a:gd name="T122" fmla="*/ 2147483647 w 761"/>
                  <a:gd name="T123" fmla="*/ 2147483647 h 516"/>
                  <a:gd name="T124" fmla="*/ 0 w 761"/>
                  <a:gd name="T125" fmla="*/ 2147483647 h 51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1" h="516">
                    <a:moveTo>
                      <a:pt x="363" y="307"/>
                    </a:moveTo>
                    <a:cubicBezTo>
                      <a:pt x="356" y="307"/>
                      <a:pt x="351" y="313"/>
                      <a:pt x="351" y="319"/>
                    </a:cubicBezTo>
                    <a:cubicBezTo>
                      <a:pt x="351" y="326"/>
                      <a:pt x="356" y="331"/>
                      <a:pt x="363" y="331"/>
                    </a:cubicBezTo>
                    <a:cubicBezTo>
                      <a:pt x="370" y="331"/>
                      <a:pt x="375" y="326"/>
                      <a:pt x="375" y="319"/>
                    </a:cubicBezTo>
                    <a:cubicBezTo>
                      <a:pt x="375" y="313"/>
                      <a:pt x="370" y="307"/>
                      <a:pt x="363" y="307"/>
                    </a:cubicBezTo>
                    <a:close/>
                    <a:moveTo>
                      <a:pt x="363" y="338"/>
                    </a:moveTo>
                    <a:cubicBezTo>
                      <a:pt x="356" y="338"/>
                      <a:pt x="351" y="343"/>
                      <a:pt x="351" y="350"/>
                    </a:cubicBezTo>
                    <a:cubicBezTo>
                      <a:pt x="351" y="357"/>
                      <a:pt x="356" y="362"/>
                      <a:pt x="363" y="362"/>
                    </a:cubicBezTo>
                    <a:cubicBezTo>
                      <a:pt x="370" y="362"/>
                      <a:pt x="375" y="357"/>
                      <a:pt x="375" y="350"/>
                    </a:cubicBezTo>
                    <a:cubicBezTo>
                      <a:pt x="375" y="343"/>
                      <a:pt x="370" y="338"/>
                      <a:pt x="363" y="338"/>
                    </a:cubicBezTo>
                    <a:close/>
                    <a:moveTo>
                      <a:pt x="363" y="369"/>
                    </a:moveTo>
                    <a:cubicBezTo>
                      <a:pt x="356" y="369"/>
                      <a:pt x="351" y="374"/>
                      <a:pt x="351" y="381"/>
                    </a:cubicBezTo>
                    <a:cubicBezTo>
                      <a:pt x="351" y="387"/>
                      <a:pt x="356" y="393"/>
                      <a:pt x="363" y="393"/>
                    </a:cubicBezTo>
                    <a:cubicBezTo>
                      <a:pt x="370" y="393"/>
                      <a:pt x="375" y="387"/>
                      <a:pt x="375" y="381"/>
                    </a:cubicBezTo>
                    <a:cubicBezTo>
                      <a:pt x="375" y="374"/>
                      <a:pt x="370" y="369"/>
                      <a:pt x="363" y="369"/>
                    </a:cubicBezTo>
                    <a:close/>
                    <a:moveTo>
                      <a:pt x="363" y="399"/>
                    </a:moveTo>
                    <a:cubicBezTo>
                      <a:pt x="356" y="399"/>
                      <a:pt x="351" y="405"/>
                      <a:pt x="351" y="411"/>
                    </a:cubicBezTo>
                    <a:cubicBezTo>
                      <a:pt x="351" y="418"/>
                      <a:pt x="356" y="424"/>
                      <a:pt x="363" y="424"/>
                    </a:cubicBezTo>
                    <a:cubicBezTo>
                      <a:pt x="370" y="424"/>
                      <a:pt x="375" y="418"/>
                      <a:pt x="375" y="411"/>
                    </a:cubicBezTo>
                    <a:cubicBezTo>
                      <a:pt x="375" y="405"/>
                      <a:pt x="370" y="399"/>
                      <a:pt x="363" y="399"/>
                    </a:cubicBezTo>
                    <a:close/>
                    <a:moveTo>
                      <a:pt x="363" y="430"/>
                    </a:moveTo>
                    <a:cubicBezTo>
                      <a:pt x="356" y="430"/>
                      <a:pt x="351" y="435"/>
                      <a:pt x="351" y="442"/>
                    </a:cubicBezTo>
                    <a:cubicBezTo>
                      <a:pt x="351" y="449"/>
                      <a:pt x="356" y="454"/>
                      <a:pt x="363" y="454"/>
                    </a:cubicBezTo>
                    <a:cubicBezTo>
                      <a:pt x="370" y="454"/>
                      <a:pt x="375" y="449"/>
                      <a:pt x="375" y="442"/>
                    </a:cubicBezTo>
                    <a:cubicBezTo>
                      <a:pt x="375" y="435"/>
                      <a:pt x="370" y="430"/>
                      <a:pt x="363" y="430"/>
                    </a:cubicBezTo>
                    <a:close/>
                    <a:moveTo>
                      <a:pt x="363" y="246"/>
                    </a:moveTo>
                    <a:cubicBezTo>
                      <a:pt x="356" y="246"/>
                      <a:pt x="351" y="251"/>
                      <a:pt x="351" y="258"/>
                    </a:cubicBezTo>
                    <a:cubicBezTo>
                      <a:pt x="351" y="264"/>
                      <a:pt x="356" y="270"/>
                      <a:pt x="363" y="270"/>
                    </a:cubicBezTo>
                    <a:cubicBezTo>
                      <a:pt x="370" y="270"/>
                      <a:pt x="375" y="264"/>
                      <a:pt x="375" y="258"/>
                    </a:cubicBezTo>
                    <a:cubicBezTo>
                      <a:pt x="375" y="251"/>
                      <a:pt x="370" y="246"/>
                      <a:pt x="363" y="246"/>
                    </a:cubicBezTo>
                    <a:close/>
                    <a:moveTo>
                      <a:pt x="363" y="184"/>
                    </a:moveTo>
                    <a:cubicBezTo>
                      <a:pt x="356" y="184"/>
                      <a:pt x="351" y="190"/>
                      <a:pt x="351" y="196"/>
                    </a:cubicBezTo>
                    <a:cubicBezTo>
                      <a:pt x="351" y="203"/>
                      <a:pt x="356" y="208"/>
                      <a:pt x="363" y="208"/>
                    </a:cubicBezTo>
                    <a:cubicBezTo>
                      <a:pt x="370" y="208"/>
                      <a:pt x="375" y="203"/>
                      <a:pt x="375" y="196"/>
                    </a:cubicBezTo>
                    <a:cubicBezTo>
                      <a:pt x="375" y="190"/>
                      <a:pt x="370" y="184"/>
                      <a:pt x="363" y="184"/>
                    </a:cubicBezTo>
                    <a:close/>
                    <a:moveTo>
                      <a:pt x="363" y="276"/>
                    </a:moveTo>
                    <a:cubicBezTo>
                      <a:pt x="356" y="276"/>
                      <a:pt x="351" y="282"/>
                      <a:pt x="351" y="288"/>
                    </a:cubicBezTo>
                    <a:cubicBezTo>
                      <a:pt x="351" y="295"/>
                      <a:pt x="356" y="301"/>
                      <a:pt x="363" y="301"/>
                    </a:cubicBezTo>
                    <a:cubicBezTo>
                      <a:pt x="370" y="301"/>
                      <a:pt x="375" y="295"/>
                      <a:pt x="375" y="288"/>
                    </a:cubicBezTo>
                    <a:cubicBezTo>
                      <a:pt x="375" y="282"/>
                      <a:pt x="370" y="276"/>
                      <a:pt x="363" y="276"/>
                    </a:cubicBezTo>
                    <a:close/>
                    <a:moveTo>
                      <a:pt x="363" y="215"/>
                    </a:moveTo>
                    <a:cubicBezTo>
                      <a:pt x="356" y="215"/>
                      <a:pt x="351" y="220"/>
                      <a:pt x="351" y="227"/>
                    </a:cubicBezTo>
                    <a:cubicBezTo>
                      <a:pt x="351" y="234"/>
                      <a:pt x="356" y="239"/>
                      <a:pt x="363" y="239"/>
                    </a:cubicBezTo>
                    <a:cubicBezTo>
                      <a:pt x="370" y="239"/>
                      <a:pt x="375" y="234"/>
                      <a:pt x="375" y="227"/>
                    </a:cubicBezTo>
                    <a:cubicBezTo>
                      <a:pt x="375" y="220"/>
                      <a:pt x="370" y="215"/>
                      <a:pt x="363" y="215"/>
                    </a:cubicBezTo>
                    <a:close/>
                    <a:moveTo>
                      <a:pt x="398" y="430"/>
                    </a:moveTo>
                    <a:cubicBezTo>
                      <a:pt x="391" y="430"/>
                      <a:pt x="386" y="435"/>
                      <a:pt x="386" y="442"/>
                    </a:cubicBezTo>
                    <a:cubicBezTo>
                      <a:pt x="386" y="449"/>
                      <a:pt x="391" y="454"/>
                      <a:pt x="398" y="454"/>
                    </a:cubicBezTo>
                    <a:cubicBezTo>
                      <a:pt x="405" y="454"/>
                      <a:pt x="410" y="449"/>
                      <a:pt x="410" y="442"/>
                    </a:cubicBezTo>
                    <a:cubicBezTo>
                      <a:pt x="410" y="435"/>
                      <a:pt x="405" y="430"/>
                      <a:pt x="398" y="430"/>
                    </a:cubicBezTo>
                    <a:close/>
                    <a:moveTo>
                      <a:pt x="398" y="338"/>
                    </a:moveTo>
                    <a:cubicBezTo>
                      <a:pt x="391" y="338"/>
                      <a:pt x="386" y="343"/>
                      <a:pt x="386" y="350"/>
                    </a:cubicBezTo>
                    <a:cubicBezTo>
                      <a:pt x="386" y="357"/>
                      <a:pt x="391" y="362"/>
                      <a:pt x="398" y="362"/>
                    </a:cubicBezTo>
                    <a:cubicBezTo>
                      <a:pt x="405" y="362"/>
                      <a:pt x="410" y="357"/>
                      <a:pt x="410" y="350"/>
                    </a:cubicBezTo>
                    <a:cubicBezTo>
                      <a:pt x="410" y="343"/>
                      <a:pt x="405" y="338"/>
                      <a:pt x="398" y="338"/>
                    </a:cubicBezTo>
                    <a:close/>
                    <a:moveTo>
                      <a:pt x="398" y="369"/>
                    </a:moveTo>
                    <a:cubicBezTo>
                      <a:pt x="391" y="369"/>
                      <a:pt x="386" y="374"/>
                      <a:pt x="386" y="381"/>
                    </a:cubicBezTo>
                    <a:cubicBezTo>
                      <a:pt x="386" y="387"/>
                      <a:pt x="391" y="393"/>
                      <a:pt x="398" y="393"/>
                    </a:cubicBezTo>
                    <a:cubicBezTo>
                      <a:pt x="405" y="393"/>
                      <a:pt x="410" y="387"/>
                      <a:pt x="410" y="381"/>
                    </a:cubicBezTo>
                    <a:cubicBezTo>
                      <a:pt x="410" y="374"/>
                      <a:pt x="405" y="369"/>
                      <a:pt x="398" y="369"/>
                    </a:cubicBezTo>
                    <a:close/>
                    <a:moveTo>
                      <a:pt x="398" y="399"/>
                    </a:moveTo>
                    <a:cubicBezTo>
                      <a:pt x="391" y="399"/>
                      <a:pt x="386" y="405"/>
                      <a:pt x="386" y="411"/>
                    </a:cubicBezTo>
                    <a:cubicBezTo>
                      <a:pt x="386" y="418"/>
                      <a:pt x="391" y="424"/>
                      <a:pt x="398" y="424"/>
                    </a:cubicBezTo>
                    <a:cubicBezTo>
                      <a:pt x="405" y="424"/>
                      <a:pt x="410" y="418"/>
                      <a:pt x="410" y="411"/>
                    </a:cubicBezTo>
                    <a:cubicBezTo>
                      <a:pt x="410" y="405"/>
                      <a:pt x="405" y="399"/>
                      <a:pt x="398" y="399"/>
                    </a:cubicBezTo>
                    <a:close/>
                    <a:moveTo>
                      <a:pt x="363" y="461"/>
                    </a:moveTo>
                    <a:cubicBezTo>
                      <a:pt x="356" y="461"/>
                      <a:pt x="351" y="466"/>
                      <a:pt x="351" y="473"/>
                    </a:cubicBezTo>
                    <a:cubicBezTo>
                      <a:pt x="351" y="480"/>
                      <a:pt x="356" y="485"/>
                      <a:pt x="363" y="485"/>
                    </a:cubicBezTo>
                    <a:cubicBezTo>
                      <a:pt x="370" y="485"/>
                      <a:pt x="375" y="480"/>
                      <a:pt x="375" y="473"/>
                    </a:cubicBezTo>
                    <a:cubicBezTo>
                      <a:pt x="375" y="466"/>
                      <a:pt x="370" y="461"/>
                      <a:pt x="363" y="461"/>
                    </a:cubicBezTo>
                    <a:close/>
                    <a:moveTo>
                      <a:pt x="398" y="461"/>
                    </a:moveTo>
                    <a:cubicBezTo>
                      <a:pt x="391" y="461"/>
                      <a:pt x="386" y="466"/>
                      <a:pt x="386" y="473"/>
                    </a:cubicBezTo>
                    <a:cubicBezTo>
                      <a:pt x="386" y="480"/>
                      <a:pt x="391" y="485"/>
                      <a:pt x="398" y="485"/>
                    </a:cubicBezTo>
                    <a:cubicBezTo>
                      <a:pt x="405" y="485"/>
                      <a:pt x="410" y="480"/>
                      <a:pt x="410" y="473"/>
                    </a:cubicBezTo>
                    <a:cubicBezTo>
                      <a:pt x="410" y="466"/>
                      <a:pt x="405" y="461"/>
                      <a:pt x="398" y="461"/>
                    </a:cubicBezTo>
                    <a:close/>
                    <a:moveTo>
                      <a:pt x="398" y="307"/>
                    </a:moveTo>
                    <a:cubicBezTo>
                      <a:pt x="391" y="307"/>
                      <a:pt x="386" y="313"/>
                      <a:pt x="386" y="319"/>
                    </a:cubicBezTo>
                    <a:cubicBezTo>
                      <a:pt x="386" y="326"/>
                      <a:pt x="391" y="331"/>
                      <a:pt x="398" y="331"/>
                    </a:cubicBezTo>
                    <a:cubicBezTo>
                      <a:pt x="405" y="331"/>
                      <a:pt x="410" y="326"/>
                      <a:pt x="410" y="319"/>
                    </a:cubicBezTo>
                    <a:cubicBezTo>
                      <a:pt x="410" y="313"/>
                      <a:pt x="405" y="307"/>
                      <a:pt x="398" y="307"/>
                    </a:cubicBezTo>
                    <a:close/>
                    <a:moveTo>
                      <a:pt x="398" y="246"/>
                    </a:moveTo>
                    <a:cubicBezTo>
                      <a:pt x="391" y="246"/>
                      <a:pt x="386" y="251"/>
                      <a:pt x="386" y="258"/>
                    </a:cubicBezTo>
                    <a:cubicBezTo>
                      <a:pt x="386" y="264"/>
                      <a:pt x="391" y="270"/>
                      <a:pt x="398" y="270"/>
                    </a:cubicBezTo>
                    <a:cubicBezTo>
                      <a:pt x="405" y="270"/>
                      <a:pt x="410" y="264"/>
                      <a:pt x="410" y="258"/>
                    </a:cubicBezTo>
                    <a:cubicBezTo>
                      <a:pt x="410" y="251"/>
                      <a:pt x="405" y="246"/>
                      <a:pt x="398" y="246"/>
                    </a:cubicBezTo>
                    <a:close/>
                    <a:moveTo>
                      <a:pt x="398" y="215"/>
                    </a:moveTo>
                    <a:cubicBezTo>
                      <a:pt x="391" y="215"/>
                      <a:pt x="386" y="220"/>
                      <a:pt x="386" y="227"/>
                    </a:cubicBezTo>
                    <a:cubicBezTo>
                      <a:pt x="386" y="234"/>
                      <a:pt x="391" y="239"/>
                      <a:pt x="398" y="239"/>
                    </a:cubicBezTo>
                    <a:cubicBezTo>
                      <a:pt x="405" y="239"/>
                      <a:pt x="410" y="234"/>
                      <a:pt x="410" y="227"/>
                    </a:cubicBezTo>
                    <a:cubicBezTo>
                      <a:pt x="410" y="220"/>
                      <a:pt x="405" y="215"/>
                      <a:pt x="398" y="215"/>
                    </a:cubicBezTo>
                    <a:close/>
                    <a:moveTo>
                      <a:pt x="398" y="276"/>
                    </a:moveTo>
                    <a:cubicBezTo>
                      <a:pt x="391" y="276"/>
                      <a:pt x="386" y="282"/>
                      <a:pt x="386" y="288"/>
                    </a:cubicBezTo>
                    <a:cubicBezTo>
                      <a:pt x="386" y="295"/>
                      <a:pt x="391" y="301"/>
                      <a:pt x="398" y="301"/>
                    </a:cubicBezTo>
                    <a:cubicBezTo>
                      <a:pt x="405" y="301"/>
                      <a:pt x="410" y="295"/>
                      <a:pt x="410" y="288"/>
                    </a:cubicBezTo>
                    <a:cubicBezTo>
                      <a:pt x="410" y="282"/>
                      <a:pt x="405" y="276"/>
                      <a:pt x="398" y="276"/>
                    </a:cubicBezTo>
                    <a:close/>
                    <a:moveTo>
                      <a:pt x="398" y="492"/>
                    </a:moveTo>
                    <a:cubicBezTo>
                      <a:pt x="391" y="492"/>
                      <a:pt x="386" y="497"/>
                      <a:pt x="386" y="504"/>
                    </a:cubicBezTo>
                    <a:cubicBezTo>
                      <a:pt x="386" y="510"/>
                      <a:pt x="391" y="516"/>
                      <a:pt x="398" y="516"/>
                    </a:cubicBezTo>
                    <a:cubicBezTo>
                      <a:pt x="405" y="516"/>
                      <a:pt x="410" y="510"/>
                      <a:pt x="410" y="504"/>
                    </a:cubicBezTo>
                    <a:cubicBezTo>
                      <a:pt x="410" y="497"/>
                      <a:pt x="405" y="492"/>
                      <a:pt x="398" y="492"/>
                    </a:cubicBezTo>
                    <a:close/>
                    <a:moveTo>
                      <a:pt x="398" y="184"/>
                    </a:moveTo>
                    <a:cubicBezTo>
                      <a:pt x="391" y="184"/>
                      <a:pt x="386" y="190"/>
                      <a:pt x="386" y="196"/>
                    </a:cubicBezTo>
                    <a:cubicBezTo>
                      <a:pt x="386" y="203"/>
                      <a:pt x="391" y="208"/>
                      <a:pt x="398" y="208"/>
                    </a:cubicBezTo>
                    <a:cubicBezTo>
                      <a:pt x="405" y="208"/>
                      <a:pt x="410" y="203"/>
                      <a:pt x="410" y="196"/>
                    </a:cubicBezTo>
                    <a:cubicBezTo>
                      <a:pt x="410" y="190"/>
                      <a:pt x="405" y="184"/>
                      <a:pt x="398" y="184"/>
                    </a:cubicBezTo>
                    <a:close/>
                    <a:moveTo>
                      <a:pt x="328" y="369"/>
                    </a:moveTo>
                    <a:cubicBezTo>
                      <a:pt x="321" y="369"/>
                      <a:pt x="316" y="374"/>
                      <a:pt x="316" y="381"/>
                    </a:cubicBezTo>
                    <a:cubicBezTo>
                      <a:pt x="316" y="387"/>
                      <a:pt x="321" y="393"/>
                      <a:pt x="328" y="393"/>
                    </a:cubicBezTo>
                    <a:cubicBezTo>
                      <a:pt x="335" y="393"/>
                      <a:pt x="340" y="387"/>
                      <a:pt x="340" y="381"/>
                    </a:cubicBezTo>
                    <a:cubicBezTo>
                      <a:pt x="340" y="374"/>
                      <a:pt x="335" y="369"/>
                      <a:pt x="328" y="369"/>
                    </a:cubicBezTo>
                    <a:close/>
                    <a:moveTo>
                      <a:pt x="328" y="399"/>
                    </a:moveTo>
                    <a:cubicBezTo>
                      <a:pt x="321" y="399"/>
                      <a:pt x="316" y="405"/>
                      <a:pt x="316" y="411"/>
                    </a:cubicBezTo>
                    <a:cubicBezTo>
                      <a:pt x="316" y="418"/>
                      <a:pt x="321" y="424"/>
                      <a:pt x="328" y="424"/>
                    </a:cubicBezTo>
                    <a:cubicBezTo>
                      <a:pt x="335" y="424"/>
                      <a:pt x="340" y="418"/>
                      <a:pt x="340" y="411"/>
                    </a:cubicBezTo>
                    <a:cubicBezTo>
                      <a:pt x="340" y="405"/>
                      <a:pt x="335" y="399"/>
                      <a:pt x="328" y="399"/>
                    </a:cubicBezTo>
                    <a:close/>
                    <a:moveTo>
                      <a:pt x="328" y="430"/>
                    </a:moveTo>
                    <a:cubicBezTo>
                      <a:pt x="321" y="430"/>
                      <a:pt x="316" y="435"/>
                      <a:pt x="316" y="442"/>
                    </a:cubicBezTo>
                    <a:cubicBezTo>
                      <a:pt x="316" y="449"/>
                      <a:pt x="321" y="454"/>
                      <a:pt x="328" y="454"/>
                    </a:cubicBezTo>
                    <a:cubicBezTo>
                      <a:pt x="335" y="454"/>
                      <a:pt x="340" y="449"/>
                      <a:pt x="340" y="442"/>
                    </a:cubicBezTo>
                    <a:cubicBezTo>
                      <a:pt x="340" y="435"/>
                      <a:pt x="335" y="430"/>
                      <a:pt x="328" y="430"/>
                    </a:cubicBezTo>
                    <a:close/>
                    <a:moveTo>
                      <a:pt x="328" y="461"/>
                    </a:moveTo>
                    <a:cubicBezTo>
                      <a:pt x="321" y="461"/>
                      <a:pt x="316" y="466"/>
                      <a:pt x="316" y="473"/>
                    </a:cubicBezTo>
                    <a:cubicBezTo>
                      <a:pt x="316" y="480"/>
                      <a:pt x="321" y="485"/>
                      <a:pt x="328" y="485"/>
                    </a:cubicBezTo>
                    <a:cubicBezTo>
                      <a:pt x="335" y="485"/>
                      <a:pt x="340" y="480"/>
                      <a:pt x="340" y="473"/>
                    </a:cubicBezTo>
                    <a:cubicBezTo>
                      <a:pt x="340" y="466"/>
                      <a:pt x="335" y="461"/>
                      <a:pt x="328" y="461"/>
                    </a:cubicBezTo>
                    <a:close/>
                    <a:moveTo>
                      <a:pt x="328" y="338"/>
                    </a:moveTo>
                    <a:cubicBezTo>
                      <a:pt x="321" y="338"/>
                      <a:pt x="316" y="343"/>
                      <a:pt x="316" y="350"/>
                    </a:cubicBezTo>
                    <a:cubicBezTo>
                      <a:pt x="316" y="357"/>
                      <a:pt x="321" y="362"/>
                      <a:pt x="328" y="362"/>
                    </a:cubicBezTo>
                    <a:cubicBezTo>
                      <a:pt x="335" y="362"/>
                      <a:pt x="340" y="357"/>
                      <a:pt x="340" y="350"/>
                    </a:cubicBezTo>
                    <a:cubicBezTo>
                      <a:pt x="340" y="343"/>
                      <a:pt x="335" y="338"/>
                      <a:pt x="328" y="338"/>
                    </a:cubicBezTo>
                    <a:close/>
                    <a:moveTo>
                      <a:pt x="328" y="307"/>
                    </a:moveTo>
                    <a:cubicBezTo>
                      <a:pt x="321" y="307"/>
                      <a:pt x="316" y="313"/>
                      <a:pt x="316" y="319"/>
                    </a:cubicBezTo>
                    <a:cubicBezTo>
                      <a:pt x="316" y="326"/>
                      <a:pt x="321" y="331"/>
                      <a:pt x="328" y="331"/>
                    </a:cubicBezTo>
                    <a:cubicBezTo>
                      <a:pt x="335" y="331"/>
                      <a:pt x="340" y="326"/>
                      <a:pt x="340" y="319"/>
                    </a:cubicBezTo>
                    <a:cubicBezTo>
                      <a:pt x="340" y="313"/>
                      <a:pt x="335" y="307"/>
                      <a:pt x="328" y="307"/>
                    </a:cubicBezTo>
                    <a:close/>
                    <a:moveTo>
                      <a:pt x="328" y="246"/>
                    </a:moveTo>
                    <a:cubicBezTo>
                      <a:pt x="321" y="246"/>
                      <a:pt x="316" y="251"/>
                      <a:pt x="316" y="258"/>
                    </a:cubicBezTo>
                    <a:cubicBezTo>
                      <a:pt x="316" y="264"/>
                      <a:pt x="321" y="270"/>
                      <a:pt x="328" y="270"/>
                    </a:cubicBezTo>
                    <a:cubicBezTo>
                      <a:pt x="335" y="270"/>
                      <a:pt x="340" y="264"/>
                      <a:pt x="340" y="258"/>
                    </a:cubicBezTo>
                    <a:cubicBezTo>
                      <a:pt x="340" y="251"/>
                      <a:pt x="335" y="246"/>
                      <a:pt x="328" y="246"/>
                    </a:cubicBezTo>
                    <a:close/>
                    <a:moveTo>
                      <a:pt x="328" y="276"/>
                    </a:moveTo>
                    <a:cubicBezTo>
                      <a:pt x="321" y="276"/>
                      <a:pt x="316" y="282"/>
                      <a:pt x="316" y="288"/>
                    </a:cubicBezTo>
                    <a:cubicBezTo>
                      <a:pt x="316" y="295"/>
                      <a:pt x="321" y="301"/>
                      <a:pt x="328" y="301"/>
                    </a:cubicBezTo>
                    <a:cubicBezTo>
                      <a:pt x="335" y="301"/>
                      <a:pt x="340" y="295"/>
                      <a:pt x="340" y="288"/>
                    </a:cubicBezTo>
                    <a:cubicBezTo>
                      <a:pt x="340" y="282"/>
                      <a:pt x="335" y="276"/>
                      <a:pt x="328" y="276"/>
                    </a:cubicBezTo>
                    <a:close/>
                    <a:moveTo>
                      <a:pt x="328" y="184"/>
                    </a:moveTo>
                    <a:cubicBezTo>
                      <a:pt x="321" y="184"/>
                      <a:pt x="316" y="190"/>
                      <a:pt x="316" y="196"/>
                    </a:cubicBezTo>
                    <a:cubicBezTo>
                      <a:pt x="316" y="203"/>
                      <a:pt x="321" y="208"/>
                      <a:pt x="328" y="208"/>
                    </a:cubicBezTo>
                    <a:cubicBezTo>
                      <a:pt x="335" y="208"/>
                      <a:pt x="340" y="203"/>
                      <a:pt x="340" y="196"/>
                    </a:cubicBezTo>
                    <a:cubicBezTo>
                      <a:pt x="340" y="190"/>
                      <a:pt x="335" y="184"/>
                      <a:pt x="328" y="184"/>
                    </a:cubicBezTo>
                    <a:close/>
                    <a:moveTo>
                      <a:pt x="363" y="492"/>
                    </a:moveTo>
                    <a:cubicBezTo>
                      <a:pt x="356" y="492"/>
                      <a:pt x="351" y="497"/>
                      <a:pt x="351" y="504"/>
                    </a:cubicBezTo>
                    <a:cubicBezTo>
                      <a:pt x="351" y="510"/>
                      <a:pt x="356" y="516"/>
                      <a:pt x="363" y="516"/>
                    </a:cubicBezTo>
                    <a:cubicBezTo>
                      <a:pt x="370" y="516"/>
                      <a:pt x="375" y="510"/>
                      <a:pt x="375" y="504"/>
                    </a:cubicBezTo>
                    <a:cubicBezTo>
                      <a:pt x="375" y="497"/>
                      <a:pt x="370" y="492"/>
                      <a:pt x="363" y="492"/>
                    </a:cubicBezTo>
                    <a:close/>
                    <a:moveTo>
                      <a:pt x="328" y="215"/>
                    </a:moveTo>
                    <a:cubicBezTo>
                      <a:pt x="321" y="215"/>
                      <a:pt x="316" y="220"/>
                      <a:pt x="316" y="227"/>
                    </a:cubicBezTo>
                    <a:cubicBezTo>
                      <a:pt x="316" y="234"/>
                      <a:pt x="321" y="239"/>
                      <a:pt x="328" y="239"/>
                    </a:cubicBezTo>
                    <a:cubicBezTo>
                      <a:pt x="335" y="239"/>
                      <a:pt x="340" y="234"/>
                      <a:pt x="340" y="227"/>
                    </a:cubicBezTo>
                    <a:cubicBezTo>
                      <a:pt x="340" y="220"/>
                      <a:pt x="335" y="215"/>
                      <a:pt x="328" y="215"/>
                    </a:cubicBezTo>
                    <a:close/>
                    <a:moveTo>
                      <a:pt x="468" y="307"/>
                    </a:moveTo>
                    <a:cubicBezTo>
                      <a:pt x="461" y="307"/>
                      <a:pt x="456" y="313"/>
                      <a:pt x="456" y="319"/>
                    </a:cubicBezTo>
                    <a:cubicBezTo>
                      <a:pt x="456" y="326"/>
                      <a:pt x="461" y="331"/>
                      <a:pt x="468" y="331"/>
                    </a:cubicBezTo>
                    <a:cubicBezTo>
                      <a:pt x="475" y="331"/>
                      <a:pt x="480" y="326"/>
                      <a:pt x="480" y="319"/>
                    </a:cubicBezTo>
                    <a:cubicBezTo>
                      <a:pt x="480" y="313"/>
                      <a:pt x="475" y="307"/>
                      <a:pt x="468" y="307"/>
                    </a:cubicBezTo>
                    <a:close/>
                    <a:moveTo>
                      <a:pt x="468" y="338"/>
                    </a:moveTo>
                    <a:cubicBezTo>
                      <a:pt x="461" y="338"/>
                      <a:pt x="456" y="343"/>
                      <a:pt x="456" y="350"/>
                    </a:cubicBezTo>
                    <a:cubicBezTo>
                      <a:pt x="456" y="357"/>
                      <a:pt x="461" y="362"/>
                      <a:pt x="468" y="362"/>
                    </a:cubicBezTo>
                    <a:cubicBezTo>
                      <a:pt x="475" y="362"/>
                      <a:pt x="480" y="357"/>
                      <a:pt x="480" y="350"/>
                    </a:cubicBezTo>
                    <a:cubicBezTo>
                      <a:pt x="480" y="343"/>
                      <a:pt x="475" y="338"/>
                      <a:pt x="468" y="338"/>
                    </a:cubicBezTo>
                    <a:close/>
                    <a:moveTo>
                      <a:pt x="468" y="369"/>
                    </a:moveTo>
                    <a:cubicBezTo>
                      <a:pt x="461" y="369"/>
                      <a:pt x="456" y="374"/>
                      <a:pt x="456" y="381"/>
                    </a:cubicBezTo>
                    <a:cubicBezTo>
                      <a:pt x="456" y="387"/>
                      <a:pt x="461" y="393"/>
                      <a:pt x="468" y="393"/>
                    </a:cubicBezTo>
                    <a:cubicBezTo>
                      <a:pt x="475" y="393"/>
                      <a:pt x="480" y="387"/>
                      <a:pt x="480" y="381"/>
                    </a:cubicBezTo>
                    <a:cubicBezTo>
                      <a:pt x="480" y="374"/>
                      <a:pt x="475" y="369"/>
                      <a:pt x="468" y="369"/>
                    </a:cubicBezTo>
                    <a:close/>
                    <a:moveTo>
                      <a:pt x="468" y="399"/>
                    </a:moveTo>
                    <a:cubicBezTo>
                      <a:pt x="461" y="399"/>
                      <a:pt x="456" y="405"/>
                      <a:pt x="456" y="411"/>
                    </a:cubicBezTo>
                    <a:cubicBezTo>
                      <a:pt x="456" y="418"/>
                      <a:pt x="461" y="424"/>
                      <a:pt x="468" y="424"/>
                    </a:cubicBezTo>
                    <a:cubicBezTo>
                      <a:pt x="475" y="424"/>
                      <a:pt x="480" y="418"/>
                      <a:pt x="480" y="411"/>
                    </a:cubicBezTo>
                    <a:cubicBezTo>
                      <a:pt x="480" y="405"/>
                      <a:pt x="475" y="399"/>
                      <a:pt x="468" y="399"/>
                    </a:cubicBezTo>
                    <a:close/>
                    <a:moveTo>
                      <a:pt x="468" y="430"/>
                    </a:moveTo>
                    <a:cubicBezTo>
                      <a:pt x="461" y="430"/>
                      <a:pt x="456" y="435"/>
                      <a:pt x="456" y="442"/>
                    </a:cubicBezTo>
                    <a:cubicBezTo>
                      <a:pt x="456" y="449"/>
                      <a:pt x="461" y="454"/>
                      <a:pt x="468" y="454"/>
                    </a:cubicBezTo>
                    <a:cubicBezTo>
                      <a:pt x="475" y="454"/>
                      <a:pt x="480" y="449"/>
                      <a:pt x="480" y="442"/>
                    </a:cubicBezTo>
                    <a:cubicBezTo>
                      <a:pt x="480" y="435"/>
                      <a:pt x="475" y="430"/>
                      <a:pt x="468" y="430"/>
                    </a:cubicBezTo>
                    <a:close/>
                    <a:moveTo>
                      <a:pt x="468" y="276"/>
                    </a:moveTo>
                    <a:cubicBezTo>
                      <a:pt x="461" y="276"/>
                      <a:pt x="456" y="282"/>
                      <a:pt x="456" y="288"/>
                    </a:cubicBezTo>
                    <a:cubicBezTo>
                      <a:pt x="456" y="295"/>
                      <a:pt x="461" y="301"/>
                      <a:pt x="468" y="301"/>
                    </a:cubicBezTo>
                    <a:cubicBezTo>
                      <a:pt x="475" y="301"/>
                      <a:pt x="480" y="295"/>
                      <a:pt x="480" y="288"/>
                    </a:cubicBezTo>
                    <a:cubicBezTo>
                      <a:pt x="480" y="282"/>
                      <a:pt x="475" y="276"/>
                      <a:pt x="468" y="276"/>
                    </a:cubicBezTo>
                    <a:close/>
                    <a:moveTo>
                      <a:pt x="468" y="153"/>
                    </a:moveTo>
                    <a:cubicBezTo>
                      <a:pt x="461" y="153"/>
                      <a:pt x="456" y="159"/>
                      <a:pt x="456" y="166"/>
                    </a:cubicBezTo>
                    <a:cubicBezTo>
                      <a:pt x="456" y="172"/>
                      <a:pt x="461" y="178"/>
                      <a:pt x="468" y="178"/>
                    </a:cubicBezTo>
                    <a:cubicBezTo>
                      <a:pt x="475" y="178"/>
                      <a:pt x="480" y="172"/>
                      <a:pt x="480" y="166"/>
                    </a:cubicBezTo>
                    <a:cubicBezTo>
                      <a:pt x="480" y="159"/>
                      <a:pt x="475" y="153"/>
                      <a:pt x="468" y="153"/>
                    </a:cubicBezTo>
                    <a:close/>
                    <a:moveTo>
                      <a:pt x="468" y="184"/>
                    </a:moveTo>
                    <a:cubicBezTo>
                      <a:pt x="461" y="184"/>
                      <a:pt x="456" y="190"/>
                      <a:pt x="456" y="196"/>
                    </a:cubicBezTo>
                    <a:cubicBezTo>
                      <a:pt x="456" y="203"/>
                      <a:pt x="461" y="208"/>
                      <a:pt x="468" y="208"/>
                    </a:cubicBezTo>
                    <a:cubicBezTo>
                      <a:pt x="475" y="208"/>
                      <a:pt x="480" y="203"/>
                      <a:pt x="480" y="196"/>
                    </a:cubicBezTo>
                    <a:cubicBezTo>
                      <a:pt x="480" y="190"/>
                      <a:pt x="475" y="184"/>
                      <a:pt x="468" y="184"/>
                    </a:cubicBezTo>
                    <a:close/>
                    <a:moveTo>
                      <a:pt x="468" y="215"/>
                    </a:moveTo>
                    <a:cubicBezTo>
                      <a:pt x="461" y="215"/>
                      <a:pt x="456" y="220"/>
                      <a:pt x="456" y="227"/>
                    </a:cubicBezTo>
                    <a:cubicBezTo>
                      <a:pt x="456" y="234"/>
                      <a:pt x="461" y="239"/>
                      <a:pt x="468" y="239"/>
                    </a:cubicBezTo>
                    <a:cubicBezTo>
                      <a:pt x="475" y="239"/>
                      <a:pt x="480" y="234"/>
                      <a:pt x="480" y="227"/>
                    </a:cubicBezTo>
                    <a:cubicBezTo>
                      <a:pt x="480" y="220"/>
                      <a:pt x="475" y="215"/>
                      <a:pt x="468" y="215"/>
                    </a:cubicBezTo>
                    <a:close/>
                    <a:moveTo>
                      <a:pt x="433" y="215"/>
                    </a:moveTo>
                    <a:cubicBezTo>
                      <a:pt x="426" y="215"/>
                      <a:pt x="421" y="220"/>
                      <a:pt x="421" y="227"/>
                    </a:cubicBezTo>
                    <a:cubicBezTo>
                      <a:pt x="421" y="234"/>
                      <a:pt x="426" y="239"/>
                      <a:pt x="433" y="239"/>
                    </a:cubicBezTo>
                    <a:cubicBezTo>
                      <a:pt x="440" y="239"/>
                      <a:pt x="445" y="234"/>
                      <a:pt x="445" y="227"/>
                    </a:cubicBezTo>
                    <a:cubicBezTo>
                      <a:pt x="445" y="220"/>
                      <a:pt x="440" y="215"/>
                      <a:pt x="433" y="215"/>
                    </a:cubicBezTo>
                    <a:close/>
                    <a:moveTo>
                      <a:pt x="433" y="246"/>
                    </a:moveTo>
                    <a:cubicBezTo>
                      <a:pt x="426" y="246"/>
                      <a:pt x="421" y="251"/>
                      <a:pt x="421" y="258"/>
                    </a:cubicBezTo>
                    <a:cubicBezTo>
                      <a:pt x="421" y="264"/>
                      <a:pt x="426" y="270"/>
                      <a:pt x="433" y="270"/>
                    </a:cubicBezTo>
                    <a:cubicBezTo>
                      <a:pt x="440" y="270"/>
                      <a:pt x="445" y="264"/>
                      <a:pt x="445" y="258"/>
                    </a:cubicBezTo>
                    <a:cubicBezTo>
                      <a:pt x="445" y="251"/>
                      <a:pt x="440" y="246"/>
                      <a:pt x="433" y="246"/>
                    </a:cubicBezTo>
                    <a:close/>
                    <a:moveTo>
                      <a:pt x="433" y="307"/>
                    </a:moveTo>
                    <a:cubicBezTo>
                      <a:pt x="426" y="307"/>
                      <a:pt x="421" y="313"/>
                      <a:pt x="421" y="319"/>
                    </a:cubicBezTo>
                    <a:cubicBezTo>
                      <a:pt x="421" y="326"/>
                      <a:pt x="426" y="331"/>
                      <a:pt x="433" y="331"/>
                    </a:cubicBezTo>
                    <a:cubicBezTo>
                      <a:pt x="440" y="331"/>
                      <a:pt x="445" y="326"/>
                      <a:pt x="445" y="319"/>
                    </a:cubicBezTo>
                    <a:cubicBezTo>
                      <a:pt x="445" y="313"/>
                      <a:pt x="440" y="307"/>
                      <a:pt x="433" y="307"/>
                    </a:cubicBezTo>
                    <a:close/>
                    <a:moveTo>
                      <a:pt x="433" y="184"/>
                    </a:moveTo>
                    <a:cubicBezTo>
                      <a:pt x="426" y="184"/>
                      <a:pt x="421" y="190"/>
                      <a:pt x="421" y="196"/>
                    </a:cubicBezTo>
                    <a:cubicBezTo>
                      <a:pt x="421" y="203"/>
                      <a:pt x="426" y="208"/>
                      <a:pt x="433" y="208"/>
                    </a:cubicBezTo>
                    <a:cubicBezTo>
                      <a:pt x="440" y="208"/>
                      <a:pt x="445" y="203"/>
                      <a:pt x="445" y="196"/>
                    </a:cubicBezTo>
                    <a:cubicBezTo>
                      <a:pt x="445" y="190"/>
                      <a:pt x="440" y="184"/>
                      <a:pt x="433" y="184"/>
                    </a:cubicBezTo>
                    <a:close/>
                    <a:moveTo>
                      <a:pt x="433" y="338"/>
                    </a:moveTo>
                    <a:cubicBezTo>
                      <a:pt x="426" y="338"/>
                      <a:pt x="421" y="343"/>
                      <a:pt x="421" y="350"/>
                    </a:cubicBezTo>
                    <a:cubicBezTo>
                      <a:pt x="421" y="357"/>
                      <a:pt x="426" y="362"/>
                      <a:pt x="433" y="362"/>
                    </a:cubicBezTo>
                    <a:cubicBezTo>
                      <a:pt x="440" y="362"/>
                      <a:pt x="445" y="357"/>
                      <a:pt x="445" y="350"/>
                    </a:cubicBezTo>
                    <a:cubicBezTo>
                      <a:pt x="445" y="343"/>
                      <a:pt x="440" y="338"/>
                      <a:pt x="433" y="338"/>
                    </a:cubicBezTo>
                    <a:close/>
                    <a:moveTo>
                      <a:pt x="433" y="153"/>
                    </a:moveTo>
                    <a:cubicBezTo>
                      <a:pt x="426" y="153"/>
                      <a:pt x="421" y="159"/>
                      <a:pt x="421" y="166"/>
                    </a:cubicBezTo>
                    <a:cubicBezTo>
                      <a:pt x="421" y="172"/>
                      <a:pt x="426" y="178"/>
                      <a:pt x="433" y="178"/>
                    </a:cubicBezTo>
                    <a:cubicBezTo>
                      <a:pt x="440" y="178"/>
                      <a:pt x="445" y="172"/>
                      <a:pt x="445" y="166"/>
                    </a:cubicBezTo>
                    <a:cubicBezTo>
                      <a:pt x="445" y="159"/>
                      <a:pt x="440" y="153"/>
                      <a:pt x="433" y="153"/>
                    </a:cubicBezTo>
                    <a:close/>
                    <a:moveTo>
                      <a:pt x="433" y="276"/>
                    </a:moveTo>
                    <a:cubicBezTo>
                      <a:pt x="426" y="276"/>
                      <a:pt x="421" y="282"/>
                      <a:pt x="421" y="288"/>
                    </a:cubicBezTo>
                    <a:cubicBezTo>
                      <a:pt x="421" y="295"/>
                      <a:pt x="426" y="301"/>
                      <a:pt x="433" y="301"/>
                    </a:cubicBezTo>
                    <a:cubicBezTo>
                      <a:pt x="440" y="301"/>
                      <a:pt x="445" y="295"/>
                      <a:pt x="445" y="288"/>
                    </a:cubicBezTo>
                    <a:cubicBezTo>
                      <a:pt x="445" y="282"/>
                      <a:pt x="440" y="276"/>
                      <a:pt x="433" y="276"/>
                    </a:cubicBezTo>
                    <a:close/>
                    <a:moveTo>
                      <a:pt x="433" y="399"/>
                    </a:moveTo>
                    <a:cubicBezTo>
                      <a:pt x="426" y="399"/>
                      <a:pt x="421" y="405"/>
                      <a:pt x="421" y="411"/>
                    </a:cubicBezTo>
                    <a:cubicBezTo>
                      <a:pt x="421" y="418"/>
                      <a:pt x="426" y="424"/>
                      <a:pt x="433" y="424"/>
                    </a:cubicBezTo>
                    <a:cubicBezTo>
                      <a:pt x="440" y="424"/>
                      <a:pt x="445" y="418"/>
                      <a:pt x="445" y="411"/>
                    </a:cubicBezTo>
                    <a:cubicBezTo>
                      <a:pt x="445" y="405"/>
                      <a:pt x="440" y="399"/>
                      <a:pt x="433" y="399"/>
                    </a:cubicBezTo>
                    <a:close/>
                    <a:moveTo>
                      <a:pt x="433" y="430"/>
                    </a:moveTo>
                    <a:cubicBezTo>
                      <a:pt x="426" y="430"/>
                      <a:pt x="421" y="435"/>
                      <a:pt x="421" y="442"/>
                    </a:cubicBezTo>
                    <a:cubicBezTo>
                      <a:pt x="421" y="449"/>
                      <a:pt x="426" y="454"/>
                      <a:pt x="433" y="454"/>
                    </a:cubicBezTo>
                    <a:cubicBezTo>
                      <a:pt x="440" y="454"/>
                      <a:pt x="445" y="449"/>
                      <a:pt x="445" y="442"/>
                    </a:cubicBezTo>
                    <a:cubicBezTo>
                      <a:pt x="445" y="435"/>
                      <a:pt x="440" y="430"/>
                      <a:pt x="433" y="430"/>
                    </a:cubicBezTo>
                    <a:close/>
                    <a:moveTo>
                      <a:pt x="433" y="369"/>
                    </a:moveTo>
                    <a:cubicBezTo>
                      <a:pt x="426" y="369"/>
                      <a:pt x="421" y="374"/>
                      <a:pt x="421" y="381"/>
                    </a:cubicBezTo>
                    <a:cubicBezTo>
                      <a:pt x="421" y="387"/>
                      <a:pt x="426" y="393"/>
                      <a:pt x="433" y="393"/>
                    </a:cubicBezTo>
                    <a:cubicBezTo>
                      <a:pt x="440" y="393"/>
                      <a:pt x="445" y="387"/>
                      <a:pt x="445" y="381"/>
                    </a:cubicBezTo>
                    <a:cubicBezTo>
                      <a:pt x="445" y="374"/>
                      <a:pt x="440" y="369"/>
                      <a:pt x="433" y="369"/>
                    </a:cubicBezTo>
                    <a:close/>
                    <a:moveTo>
                      <a:pt x="433" y="461"/>
                    </a:moveTo>
                    <a:cubicBezTo>
                      <a:pt x="426" y="461"/>
                      <a:pt x="421" y="466"/>
                      <a:pt x="421" y="473"/>
                    </a:cubicBezTo>
                    <a:cubicBezTo>
                      <a:pt x="421" y="480"/>
                      <a:pt x="426" y="485"/>
                      <a:pt x="433" y="485"/>
                    </a:cubicBezTo>
                    <a:cubicBezTo>
                      <a:pt x="440" y="485"/>
                      <a:pt x="445" y="480"/>
                      <a:pt x="445" y="473"/>
                    </a:cubicBezTo>
                    <a:cubicBezTo>
                      <a:pt x="445" y="466"/>
                      <a:pt x="440" y="461"/>
                      <a:pt x="433" y="461"/>
                    </a:cubicBezTo>
                    <a:close/>
                    <a:moveTo>
                      <a:pt x="188" y="338"/>
                    </a:moveTo>
                    <a:cubicBezTo>
                      <a:pt x="181" y="338"/>
                      <a:pt x="176" y="343"/>
                      <a:pt x="176" y="350"/>
                    </a:cubicBezTo>
                    <a:cubicBezTo>
                      <a:pt x="176" y="357"/>
                      <a:pt x="181" y="362"/>
                      <a:pt x="188" y="362"/>
                    </a:cubicBezTo>
                    <a:cubicBezTo>
                      <a:pt x="195" y="362"/>
                      <a:pt x="200" y="357"/>
                      <a:pt x="200" y="350"/>
                    </a:cubicBezTo>
                    <a:cubicBezTo>
                      <a:pt x="200" y="343"/>
                      <a:pt x="195" y="338"/>
                      <a:pt x="188" y="338"/>
                    </a:cubicBezTo>
                    <a:close/>
                    <a:moveTo>
                      <a:pt x="188" y="276"/>
                    </a:moveTo>
                    <a:cubicBezTo>
                      <a:pt x="181" y="276"/>
                      <a:pt x="176" y="282"/>
                      <a:pt x="176" y="288"/>
                    </a:cubicBezTo>
                    <a:cubicBezTo>
                      <a:pt x="176" y="295"/>
                      <a:pt x="181" y="301"/>
                      <a:pt x="188" y="301"/>
                    </a:cubicBezTo>
                    <a:cubicBezTo>
                      <a:pt x="195" y="301"/>
                      <a:pt x="200" y="295"/>
                      <a:pt x="200" y="288"/>
                    </a:cubicBezTo>
                    <a:cubicBezTo>
                      <a:pt x="200" y="282"/>
                      <a:pt x="195" y="276"/>
                      <a:pt x="188" y="276"/>
                    </a:cubicBezTo>
                    <a:close/>
                    <a:moveTo>
                      <a:pt x="188" y="307"/>
                    </a:moveTo>
                    <a:cubicBezTo>
                      <a:pt x="181" y="307"/>
                      <a:pt x="176" y="313"/>
                      <a:pt x="176" y="319"/>
                    </a:cubicBezTo>
                    <a:cubicBezTo>
                      <a:pt x="176" y="326"/>
                      <a:pt x="181" y="331"/>
                      <a:pt x="188" y="331"/>
                    </a:cubicBezTo>
                    <a:cubicBezTo>
                      <a:pt x="195" y="331"/>
                      <a:pt x="200" y="326"/>
                      <a:pt x="200" y="319"/>
                    </a:cubicBezTo>
                    <a:cubicBezTo>
                      <a:pt x="200" y="313"/>
                      <a:pt x="195" y="307"/>
                      <a:pt x="188" y="307"/>
                    </a:cubicBezTo>
                    <a:close/>
                    <a:moveTo>
                      <a:pt x="188" y="246"/>
                    </a:moveTo>
                    <a:cubicBezTo>
                      <a:pt x="181" y="246"/>
                      <a:pt x="176" y="251"/>
                      <a:pt x="176" y="258"/>
                    </a:cubicBezTo>
                    <a:cubicBezTo>
                      <a:pt x="176" y="264"/>
                      <a:pt x="181" y="270"/>
                      <a:pt x="188" y="270"/>
                    </a:cubicBezTo>
                    <a:cubicBezTo>
                      <a:pt x="195" y="270"/>
                      <a:pt x="200" y="264"/>
                      <a:pt x="200" y="258"/>
                    </a:cubicBezTo>
                    <a:cubicBezTo>
                      <a:pt x="200" y="251"/>
                      <a:pt x="195" y="246"/>
                      <a:pt x="188" y="246"/>
                    </a:cubicBezTo>
                    <a:close/>
                    <a:moveTo>
                      <a:pt x="188" y="92"/>
                    </a:moveTo>
                    <a:cubicBezTo>
                      <a:pt x="181" y="92"/>
                      <a:pt x="176" y="97"/>
                      <a:pt x="176" y="104"/>
                    </a:cubicBezTo>
                    <a:cubicBezTo>
                      <a:pt x="176" y="111"/>
                      <a:pt x="181" y="116"/>
                      <a:pt x="188" y="116"/>
                    </a:cubicBezTo>
                    <a:cubicBezTo>
                      <a:pt x="195" y="116"/>
                      <a:pt x="200" y="111"/>
                      <a:pt x="200" y="104"/>
                    </a:cubicBezTo>
                    <a:cubicBezTo>
                      <a:pt x="200" y="97"/>
                      <a:pt x="195" y="92"/>
                      <a:pt x="188" y="92"/>
                    </a:cubicBezTo>
                    <a:close/>
                    <a:moveTo>
                      <a:pt x="188" y="123"/>
                    </a:moveTo>
                    <a:cubicBezTo>
                      <a:pt x="181" y="123"/>
                      <a:pt x="176" y="128"/>
                      <a:pt x="176" y="135"/>
                    </a:cubicBezTo>
                    <a:cubicBezTo>
                      <a:pt x="176" y="141"/>
                      <a:pt x="181" y="147"/>
                      <a:pt x="188" y="147"/>
                    </a:cubicBezTo>
                    <a:cubicBezTo>
                      <a:pt x="195" y="147"/>
                      <a:pt x="200" y="141"/>
                      <a:pt x="200" y="135"/>
                    </a:cubicBezTo>
                    <a:cubicBezTo>
                      <a:pt x="200" y="128"/>
                      <a:pt x="195" y="123"/>
                      <a:pt x="188" y="123"/>
                    </a:cubicBezTo>
                    <a:close/>
                    <a:moveTo>
                      <a:pt x="223" y="369"/>
                    </a:moveTo>
                    <a:cubicBezTo>
                      <a:pt x="216" y="369"/>
                      <a:pt x="211" y="374"/>
                      <a:pt x="211" y="381"/>
                    </a:cubicBezTo>
                    <a:cubicBezTo>
                      <a:pt x="211" y="387"/>
                      <a:pt x="216" y="393"/>
                      <a:pt x="223" y="393"/>
                    </a:cubicBezTo>
                    <a:cubicBezTo>
                      <a:pt x="230" y="393"/>
                      <a:pt x="235" y="387"/>
                      <a:pt x="235" y="381"/>
                    </a:cubicBezTo>
                    <a:cubicBezTo>
                      <a:pt x="235" y="374"/>
                      <a:pt x="230" y="369"/>
                      <a:pt x="223" y="369"/>
                    </a:cubicBezTo>
                    <a:close/>
                    <a:moveTo>
                      <a:pt x="223" y="338"/>
                    </a:moveTo>
                    <a:cubicBezTo>
                      <a:pt x="216" y="338"/>
                      <a:pt x="211" y="343"/>
                      <a:pt x="211" y="350"/>
                    </a:cubicBezTo>
                    <a:cubicBezTo>
                      <a:pt x="211" y="357"/>
                      <a:pt x="216" y="362"/>
                      <a:pt x="223" y="362"/>
                    </a:cubicBezTo>
                    <a:cubicBezTo>
                      <a:pt x="230" y="362"/>
                      <a:pt x="235" y="357"/>
                      <a:pt x="235" y="350"/>
                    </a:cubicBezTo>
                    <a:cubicBezTo>
                      <a:pt x="235" y="343"/>
                      <a:pt x="230" y="338"/>
                      <a:pt x="223" y="338"/>
                    </a:cubicBezTo>
                    <a:close/>
                    <a:moveTo>
                      <a:pt x="223" y="399"/>
                    </a:moveTo>
                    <a:cubicBezTo>
                      <a:pt x="216" y="399"/>
                      <a:pt x="211" y="405"/>
                      <a:pt x="211" y="411"/>
                    </a:cubicBezTo>
                    <a:cubicBezTo>
                      <a:pt x="211" y="418"/>
                      <a:pt x="216" y="424"/>
                      <a:pt x="223" y="424"/>
                    </a:cubicBezTo>
                    <a:cubicBezTo>
                      <a:pt x="230" y="424"/>
                      <a:pt x="235" y="418"/>
                      <a:pt x="235" y="411"/>
                    </a:cubicBezTo>
                    <a:cubicBezTo>
                      <a:pt x="235" y="405"/>
                      <a:pt x="230" y="399"/>
                      <a:pt x="223" y="399"/>
                    </a:cubicBezTo>
                    <a:close/>
                    <a:moveTo>
                      <a:pt x="223" y="430"/>
                    </a:moveTo>
                    <a:cubicBezTo>
                      <a:pt x="216" y="430"/>
                      <a:pt x="211" y="435"/>
                      <a:pt x="211" y="442"/>
                    </a:cubicBezTo>
                    <a:cubicBezTo>
                      <a:pt x="211" y="449"/>
                      <a:pt x="216" y="454"/>
                      <a:pt x="223" y="454"/>
                    </a:cubicBezTo>
                    <a:cubicBezTo>
                      <a:pt x="230" y="454"/>
                      <a:pt x="235" y="449"/>
                      <a:pt x="235" y="442"/>
                    </a:cubicBezTo>
                    <a:cubicBezTo>
                      <a:pt x="235" y="435"/>
                      <a:pt x="230" y="430"/>
                      <a:pt x="223" y="430"/>
                    </a:cubicBezTo>
                    <a:close/>
                    <a:moveTo>
                      <a:pt x="223" y="307"/>
                    </a:moveTo>
                    <a:cubicBezTo>
                      <a:pt x="216" y="307"/>
                      <a:pt x="211" y="313"/>
                      <a:pt x="211" y="319"/>
                    </a:cubicBezTo>
                    <a:cubicBezTo>
                      <a:pt x="211" y="326"/>
                      <a:pt x="216" y="331"/>
                      <a:pt x="223" y="331"/>
                    </a:cubicBezTo>
                    <a:cubicBezTo>
                      <a:pt x="230" y="331"/>
                      <a:pt x="235" y="326"/>
                      <a:pt x="235" y="319"/>
                    </a:cubicBezTo>
                    <a:cubicBezTo>
                      <a:pt x="235" y="313"/>
                      <a:pt x="230" y="307"/>
                      <a:pt x="223" y="307"/>
                    </a:cubicBezTo>
                    <a:close/>
                    <a:moveTo>
                      <a:pt x="223" y="215"/>
                    </a:moveTo>
                    <a:cubicBezTo>
                      <a:pt x="216" y="215"/>
                      <a:pt x="211" y="220"/>
                      <a:pt x="211" y="227"/>
                    </a:cubicBezTo>
                    <a:cubicBezTo>
                      <a:pt x="211" y="234"/>
                      <a:pt x="216" y="239"/>
                      <a:pt x="223" y="239"/>
                    </a:cubicBezTo>
                    <a:cubicBezTo>
                      <a:pt x="230" y="239"/>
                      <a:pt x="235" y="234"/>
                      <a:pt x="235" y="227"/>
                    </a:cubicBezTo>
                    <a:cubicBezTo>
                      <a:pt x="235" y="220"/>
                      <a:pt x="230" y="215"/>
                      <a:pt x="223" y="215"/>
                    </a:cubicBezTo>
                    <a:close/>
                    <a:moveTo>
                      <a:pt x="223" y="246"/>
                    </a:moveTo>
                    <a:cubicBezTo>
                      <a:pt x="216" y="246"/>
                      <a:pt x="211" y="251"/>
                      <a:pt x="211" y="258"/>
                    </a:cubicBezTo>
                    <a:cubicBezTo>
                      <a:pt x="211" y="264"/>
                      <a:pt x="216" y="270"/>
                      <a:pt x="223" y="270"/>
                    </a:cubicBezTo>
                    <a:cubicBezTo>
                      <a:pt x="230" y="270"/>
                      <a:pt x="235" y="264"/>
                      <a:pt x="235" y="258"/>
                    </a:cubicBezTo>
                    <a:cubicBezTo>
                      <a:pt x="235" y="251"/>
                      <a:pt x="230" y="246"/>
                      <a:pt x="223" y="246"/>
                    </a:cubicBezTo>
                    <a:close/>
                    <a:moveTo>
                      <a:pt x="223" y="276"/>
                    </a:moveTo>
                    <a:cubicBezTo>
                      <a:pt x="216" y="276"/>
                      <a:pt x="211" y="282"/>
                      <a:pt x="211" y="288"/>
                    </a:cubicBezTo>
                    <a:cubicBezTo>
                      <a:pt x="211" y="295"/>
                      <a:pt x="216" y="301"/>
                      <a:pt x="223" y="301"/>
                    </a:cubicBezTo>
                    <a:cubicBezTo>
                      <a:pt x="230" y="301"/>
                      <a:pt x="235" y="295"/>
                      <a:pt x="235" y="288"/>
                    </a:cubicBezTo>
                    <a:cubicBezTo>
                      <a:pt x="235" y="282"/>
                      <a:pt x="230" y="276"/>
                      <a:pt x="223" y="276"/>
                    </a:cubicBezTo>
                    <a:close/>
                    <a:moveTo>
                      <a:pt x="153" y="369"/>
                    </a:moveTo>
                    <a:cubicBezTo>
                      <a:pt x="146" y="369"/>
                      <a:pt x="141" y="374"/>
                      <a:pt x="141" y="381"/>
                    </a:cubicBezTo>
                    <a:cubicBezTo>
                      <a:pt x="141" y="387"/>
                      <a:pt x="146" y="393"/>
                      <a:pt x="153" y="393"/>
                    </a:cubicBezTo>
                    <a:cubicBezTo>
                      <a:pt x="160" y="393"/>
                      <a:pt x="165" y="387"/>
                      <a:pt x="165" y="381"/>
                    </a:cubicBezTo>
                    <a:cubicBezTo>
                      <a:pt x="165" y="374"/>
                      <a:pt x="160" y="369"/>
                      <a:pt x="153" y="369"/>
                    </a:cubicBezTo>
                    <a:close/>
                    <a:moveTo>
                      <a:pt x="153" y="307"/>
                    </a:moveTo>
                    <a:cubicBezTo>
                      <a:pt x="146" y="307"/>
                      <a:pt x="141" y="313"/>
                      <a:pt x="141" y="319"/>
                    </a:cubicBezTo>
                    <a:cubicBezTo>
                      <a:pt x="141" y="326"/>
                      <a:pt x="146" y="331"/>
                      <a:pt x="153" y="331"/>
                    </a:cubicBezTo>
                    <a:cubicBezTo>
                      <a:pt x="160" y="331"/>
                      <a:pt x="165" y="326"/>
                      <a:pt x="165" y="319"/>
                    </a:cubicBezTo>
                    <a:cubicBezTo>
                      <a:pt x="165" y="313"/>
                      <a:pt x="160" y="307"/>
                      <a:pt x="153" y="307"/>
                    </a:cubicBezTo>
                    <a:close/>
                    <a:moveTo>
                      <a:pt x="153" y="338"/>
                    </a:moveTo>
                    <a:cubicBezTo>
                      <a:pt x="146" y="338"/>
                      <a:pt x="141" y="343"/>
                      <a:pt x="141" y="350"/>
                    </a:cubicBezTo>
                    <a:cubicBezTo>
                      <a:pt x="141" y="357"/>
                      <a:pt x="146" y="362"/>
                      <a:pt x="153" y="362"/>
                    </a:cubicBezTo>
                    <a:cubicBezTo>
                      <a:pt x="160" y="362"/>
                      <a:pt x="165" y="357"/>
                      <a:pt x="165" y="350"/>
                    </a:cubicBezTo>
                    <a:cubicBezTo>
                      <a:pt x="165" y="343"/>
                      <a:pt x="160" y="338"/>
                      <a:pt x="153" y="338"/>
                    </a:cubicBezTo>
                    <a:close/>
                    <a:moveTo>
                      <a:pt x="153" y="61"/>
                    </a:moveTo>
                    <a:cubicBezTo>
                      <a:pt x="146" y="61"/>
                      <a:pt x="141" y="67"/>
                      <a:pt x="141" y="73"/>
                    </a:cubicBezTo>
                    <a:cubicBezTo>
                      <a:pt x="141" y="80"/>
                      <a:pt x="146" y="85"/>
                      <a:pt x="153" y="85"/>
                    </a:cubicBezTo>
                    <a:cubicBezTo>
                      <a:pt x="160" y="85"/>
                      <a:pt x="165" y="80"/>
                      <a:pt x="165" y="73"/>
                    </a:cubicBezTo>
                    <a:cubicBezTo>
                      <a:pt x="165" y="67"/>
                      <a:pt x="160" y="61"/>
                      <a:pt x="153" y="61"/>
                    </a:cubicBezTo>
                    <a:close/>
                    <a:moveTo>
                      <a:pt x="153" y="399"/>
                    </a:moveTo>
                    <a:cubicBezTo>
                      <a:pt x="146" y="399"/>
                      <a:pt x="141" y="405"/>
                      <a:pt x="141" y="411"/>
                    </a:cubicBezTo>
                    <a:cubicBezTo>
                      <a:pt x="141" y="418"/>
                      <a:pt x="146" y="424"/>
                      <a:pt x="153" y="424"/>
                    </a:cubicBezTo>
                    <a:cubicBezTo>
                      <a:pt x="160" y="424"/>
                      <a:pt x="165" y="418"/>
                      <a:pt x="165" y="411"/>
                    </a:cubicBezTo>
                    <a:cubicBezTo>
                      <a:pt x="165" y="405"/>
                      <a:pt x="160" y="399"/>
                      <a:pt x="153" y="399"/>
                    </a:cubicBezTo>
                    <a:close/>
                    <a:moveTo>
                      <a:pt x="188" y="399"/>
                    </a:moveTo>
                    <a:cubicBezTo>
                      <a:pt x="181" y="399"/>
                      <a:pt x="176" y="405"/>
                      <a:pt x="176" y="411"/>
                    </a:cubicBezTo>
                    <a:cubicBezTo>
                      <a:pt x="176" y="418"/>
                      <a:pt x="181" y="424"/>
                      <a:pt x="188" y="424"/>
                    </a:cubicBezTo>
                    <a:cubicBezTo>
                      <a:pt x="195" y="424"/>
                      <a:pt x="200" y="418"/>
                      <a:pt x="200" y="411"/>
                    </a:cubicBezTo>
                    <a:cubicBezTo>
                      <a:pt x="200" y="405"/>
                      <a:pt x="195" y="399"/>
                      <a:pt x="188" y="399"/>
                    </a:cubicBezTo>
                    <a:close/>
                    <a:moveTo>
                      <a:pt x="188" y="430"/>
                    </a:moveTo>
                    <a:cubicBezTo>
                      <a:pt x="181" y="430"/>
                      <a:pt x="176" y="435"/>
                      <a:pt x="176" y="442"/>
                    </a:cubicBezTo>
                    <a:cubicBezTo>
                      <a:pt x="176" y="449"/>
                      <a:pt x="181" y="454"/>
                      <a:pt x="188" y="454"/>
                    </a:cubicBezTo>
                    <a:cubicBezTo>
                      <a:pt x="195" y="454"/>
                      <a:pt x="200" y="449"/>
                      <a:pt x="200" y="442"/>
                    </a:cubicBezTo>
                    <a:cubicBezTo>
                      <a:pt x="200" y="435"/>
                      <a:pt x="195" y="430"/>
                      <a:pt x="188" y="430"/>
                    </a:cubicBezTo>
                    <a:close/>
                    <a:moveTo>
                      <a:pt x="188" y="369"/>
                    </a:moveTo>
                    <a:cubicBezTo>
                      <a:pt x="181" y="369"/>
                      <a:pt x="176" y="374"/>
                      <a:pt x="176" y="381"/>
                    </a:cubicBezTo>
                    <a:cubicBezTo>
                      <a:pt x="176" y="387"/>
                      <a:pt x="181" y="393"/>
                      <a:pt x="188" y="393"/>
                    </a:cubicBezTo>
                    <a:cubicBezTo>
                      <a:pt x="195" y="393"/>
                      <a:pt x="200" y="387"/>
                      <a:pt x="200" y="381"/>
                    </a:cubicBezTo>
                    <a:cubicBezTo>
                      <a:pt x="200" y="374"/>
                      <a:pt x="195" y="369"/>
                      <a:pt x="188" y="369"/>
                    </a:cubicBezTo>
                    <a:close/>
                    <a:moveTo>
                      <a:pt x="223" y="184"/>
                    </a:moveTo>
                    <a:cubicBezTo>
                      <a:pt x="216" y="184"/>
                      <a:pt x="211" y="190"/>
                      <a:pt x="211" y="196"/>
                    </a:cubicBezTo>
                    <a:cubicBezTo>
                      <a:pt x="211" y="203"/>
                      <a:pt x="216" y="208"/>
                      <a:pt x="223" y="208"/>
                    </a:cubicBezTo>
                    <a:cubicBezTo>
                      <a:pt x="230" y="208"/>
                      <a:pt x="235" y="203"/>
                      <a:pt x="235" y="196"/>
                    </a:cubicBezTo>
                    <a:cubicBezTo>
                      <a:pt x="235" y="190"/>
                      <a:pt x="230" y="184"/>
                      <a:pt x="223" y="184"/>
                    </a:cubicBezTo>
                    <a:close/>
                    <a:moveTo>
                      <a:pt x="293" y="369"/>
                    </a:moveTo>
                    <a:cubicBezTo>
                      <a:pt x="286" y="369"/>
                      <a:pt x="281" y="374"/>
                      <a:pt x="281" y="381"/>
                    </a:cubicBezTo>
                    <a:cubicBezTo>
                      <a:pt x="281" y="387"/>
                      <a:pt x="286" y="393"/>
                      <a:pt x="293" y="393"/>
                    </a:cubicBezTo>
                    <a:cubicBezTo>
                      <a:pt x="300" y="393"/>
                      <a:pt x="305" y="387"/>
                      <a:pt x="305" y="381"/>
                    </a:cubicBezTo>
                    <a:cubicBezTo>
                      <a:pt x="305" y="374"/>
                      <a:pt x="300" y="369"/>
                      <a:pt x="293" y="369"/>
                    </a:cubicBezTo>
                    <a:close/>
                    <a:moveTo>
                      <a:pt x="293" y="399"/>
                    </a:moveTo>
                    <a:cubicBezTo>
                      <a:pt x="286" y="399"/>
                      <a:pt x="281" y="405"/>
                      <a:pt x="281" y="411"/>
                    </a:cubicBezTo>
                    <a:cubicBezTo>
                      <a:pt x="281" y="418"/>
                      <a:pt x="286" y="424"/>
                      <a:pt x="293" y="424"/>
                    </a:cubicBezTo>
                    <a:cubicBezTo>
                      <a:pt x="300" y="424"/>
                      <a:pt x="305" y="418"/>
                      <a:pt x="305" y="411"/>
                    </a:cubicBezTo>
                    <a:cubicBezTo>
                      <a:pt x="305" y="405"/>
                      <a:pt x="300" y="399"/>
                      <a:pt x="293" y="399"/>
                    </a:cubicBezTo>
                    <a:close/>
                    <a:moveTo>
                      <a:pt x="293" y="430"/>
                    </a:moveTo>
                    <a:cubicBezTo>
                      <a:pt x="286" y="430"/>
                      <a:pt x="281" y="435"/>
                      <a:pt x="281" y="442"/>
                    </a:cubicBezTo>
                    <a:cubicBezTo>
                      <a:pt x="281" y="449"/>
                      <a:pt x="286" y="454"/>
                      <a:pt x="293" y="454"/>
                    </a:cubicBezTo>
                    <a:cubicBezTo>
                      <a:pt x="300" y="454"/>
                      <a:pt x="305" y="449"/>
                      <a:pt x="305" y="442"/>
                    </a:cubicBezTo>
                    <a:cubicBezTo>
                      <a:pt x="305" y="435"/>
                      <a:pt x="300" y="430"/>
                      <a:pt x="293" y="430"/>
                    </a:cubicBezTo>
                    <a:close/>
                    <a:moveTo>
                      <a:pt x="293" y="338"/>
                    </a:moveTo>
                    <a:cubicBezTo>
                      <a:pt x="286" y="338"/>
                      <a:pt x="281" y="343"/>
                      <a:pt x="281" y="350"/>
                    </a:cubicBezTo>
                    <a:cubicBezTo>
                      <a:pt x="281" y="357"/>
                      <a:pt x="286" y="362"/>
                      <a:pt x="293" y="362"/>
                    </a:cubicBezTo>
                    <a:cubicBezTo>
                      <a:pt x="300" y="362"/>
                      <a:pt x="305" y="357"/>
                      <a:pt x="305" y="350"/>
                    </a:cubicBezTo>
                    <a:cubicBezTo>
                      <a:pt x="305" y="343"/>
                      <a:pt x="300" y="338"/>
                      <a:pt x="293" y="338"/>
                    </a:cubicBezTo>
                    <a:close/>
                    <a:moveTo>
                      <a:pt x="293" y="184"/>
                    </a:moveTo>
                    <a:cubicBezTo>
                      <a:pt x="286" y="184"/>
                      <a:pt x="281" y="190"/>
                      <a:pt x="281" y="196"/>
                    </a:cubicBezTo>
                    <a:cubicBezTo>
                      <a:pt x="281" y="203"/>
                      <a:pt x="286" y="208"/>
                      <a:pt x="293" y="208"/>
                    </a:cubicBezTo>
                    <a:cubicBezTo>
                      <a:pt x="300" y="208"/>
                      <a:pt x="305" y="203"/>
                      <a:pt x="305" y="196"/>
                    </a:cubicBezTo>
                    <a:cubicBezTo>
                      <a:pt x="305" y="190"/>
                      <a:pt x="300" y="184"/>
                      <a:pt x="293" y="184"/>
                    </a:cubicBezTo>
                    <a:close/>
                    <a:moveTo>
                      <a:pt x="293" y="246"/>
                    </a:moveTo>
                    <a:cubicBezTo>
                      <a:pt x="286" y="246"/>
                      <a:pt x="281" y="251"/>
                      <a:pt x="281" y="258"/>
                    </a:cubicBezTo>
                    <a:cubicBezTo>
                      <a:pt x="281" y="264"/>
                      <a:pt x="286" y="270"/>
                      <a:pt x="293" y="270"/>
                    </a:cubicBezTo>
                    <a:cubicBezTo>
                      <a:pt x="300" y="270"/>
                      <a:pt x="305" y="264"/>
                      <a:pt x="305" y="258"/>
                    </a:cubicBezTo>
                    <a:cubicBezTo>
                      <a:pt x="305" y="251"/>
                      <a:pt x="300" y="246"/>
                      <a:pt x="293" y="246"/>
                    </a:cubicBezTo>
                    <a:close/>
                    <a:moveTo>
                      <a:pt x="293" y="215"/>
                    </a:moveTo>
                    <a:cubicBezTo>
                      <a:pt x="286" y="215"/>
                      <a:pt x="281" y="220"/>
                      <a:pt x="281" y="227"/>
                    </a:cubicBezTo>
                    <a:cubicBezTo>
                      <a:pt x="281" y="234"/>
                      <a:pt x="286" y="239"/>
                      <a:pt x="293" y="239"/>
                    </a:cubicBezTo>
                    <a:cubicBezTo>
                      <a:pt x="300" y="239"/>
                      <a:pt x="305" y="234"/>
                      <a:pt x="305" y="227"/>
                    </a:cubicBezTo>
                    <a:cubicBezTo>
                      <a:pt x="305" y="220"/>
                      <a:pt x="300" y="215"/>
                      <a:pt x="293" y="215"/>
                    </a:cubicBezTo>
                    <a:close/>
                    <a:moveTo>
                      <a:pt x="223" y="153"/>
                    </a:moveTo>
                    <a:cubicBezTo>
                      <a:pt x="216" y="153"/>
                      <a:pt x="211" y="159"/>
                      <a:pt x="211" y="166"/>
                    </a:cubicBezTo>
                    <a:cubicBezTo>
                      <a:pt x="211" y="172"/>
                      <a:pt x="216" y="178"/>
                      <a:pt x="223" y="178"/>
                    </a:cubicBezTo>
                    <a:cubicBezTo>
                      <a:pt x="230" y="178"/>
                      <a:pt x="235" y="172"/>
                      <a:pt x="235" y="166"/>
                    </a:cubicBezTo>
                    <a:cubicBezTo>
                      <a:pt x="235" y="159"/>
                      <a:pt x="230" y="153"/>
                      <a:pt x="223" y="153"/>
                    </a:cubicBezTo>
                    <a:close/>
                    <a:moveTo>
                      <a:pt x="293" y="276"/>
                    </a:moveTo>
                    <a:cubicBezTo>
                      <a:pt x="286" y="276"/>
                      <a:pt x="281" y="282"/>
                      <a:pt x="281" y="288"/>
                    </a:cubicBezTo>
                    <a:cubicBezTo>
                      <a:pt x="281" y="295"/>
                      <a:pt x="286" y="301"/>
                      <a:pt x="293" y="301"/>
                    </a:cubicBezTo>
                    <a:cubicBezTo>
                      <a:pt x="300" y="301"/>
                      <a:pt x="305" y="295"/>
                      <a:pt x="305" y="288"/>
                    </a:cubicBezTo>
                    <a:cubicBezTo>
                      <a:pt x="305" y="282"/>
                      <a:pt x="300" y="276"/>
                      <a:pt x="293" y="276"/>
                    </a:cubicBezTo>
                    <a:close/>
                    <a:moveTo>
                      <a:pt x="293" y="307"/>
                    </a:moveTo>
                    <a:cubicBezTo>
                      <a:pt x="286" y="307"/>
                      <a:pt x="281" y="313"/>
                      <a:pt x="281" y="319"/>
                    </a:cubicBezTo>
                    <a:cubicBezTo>
                      <a:pt x="281" y="326"/>
                      <a:pt x="286" y="331"/>
                      <a:pt x="293" y="331"/>
                    </a:cubicBezTo>
                    <a:cubicBezTo>
                      <a:pt x="300" y="331"/>
                      <a:pt x="305" y="326"/>
                      <a:pt x="305" y="319"/>
                    </a:cubicBezTo>
                    <a:cubicBezTo>
                      <a:pt x="305" y="313"/>
                      <a:pt x="300" y="307"/>
                      <a:pt x="293" y="307"/>
                    </a:cubicBezTo>
                    <a:close/>
                    <a:moveTo>
                      <a:pt x="223" y="123"/>
                    </a:moveTo>
                    <a:cubicBezTo>
                      <a:pt x="216" y="123"/>
                      <a:pt x="211" y="128"/>
                      <a:pt x="211" y="135"/>
                    </a:cubicBezTo>
                    <a:cubicBezTo>
                      <a:pt x="211" y="141"/>
                      <a:pt x="216" y="147"/>
                      <a:pt x="223" y="147"/>
                    </a:cubicBezTo>
                    <a:cubicBezTo>
                      <a:pt x="230" y="147"/>
                      <a:pt x="235" y="141"/>
                      <a:pt x="235" y="135"/>
                    </a:cubicBezTo>
                    <a:cubicBezTo>
                      <a:pt x="235" y="128"/>
                      <a:pt x="230" y="123"/>
                      <a:pt x="223" y="123"/>
                    </a:cubicBezTo>
                    <a:close/>
                    <a:moveTo>
                      <a:pt x="258" y="215"/>
                    </a:moveTo>
                    <a:cubicBezTo>
                      <a:pt x="251" y="215"/>
                      <a:pt x="246" y="220"/>
                      <a:pt x="246" y="227"/>
                    </a:cubicBezTo>
                    <a:cubicBezTo>
                      <a:pt x="246" y="234"/>
                      <a:pt x="251" y="239"/>
                      <a:pt x="258" y="239"/>
                    </a:cubicBezTo>
                    <a:cubicBezTo>
                      <a:pt x="265" y="239"/>
                      <a:pt x="270" y="234"/>
                      <a:pt x="270" y="227"/>
                    </a:cubicBezTo>
                    <a:cubicBezTo>
                      <a:pt x="270" y="220"/>
                      <a:pt x="265" y="215"/>
                      <a:pt x="258" y="215"/>
                    </a:cubicBezTo>
                    <a:close/>
                    <a:moveTo>
                      <a:pt x="258" y="246"/>
                    </a:moveTo>
                    <a:cubicBezTo>
                      <a:pt x="251" y="246"/>
                      <a:pt x="246" y="251"/>
                      <a:pt x="246" y="258"/>
                    </a:cubicBezTo>
                    <a:cubicBezTo>
                      <a:pt x="246" y="264"/>
                      <a:pt x="251" y="270"/>
                      <a:pt x="258" y="270"/>
                    </a:cubicBezTo>
                    <a:cubicBezTo>
                      <a:pt x="265" y="270"/>
                      <a:pt x="270" y="264"/>
                      <a:pt x="270" y="258"/>
                    </a:cubicBezTo>
                    <a:cubicBezTo>
                      <a:pt x="270" y="251"/>
                      <a:pt x="265" y="246"/>
                      <a:pt x="258" y="246"/>
                    </a:cubicBezTo>
                    <a:close/>
                    <a:moveTo>
                      <a:pt x="258" y="276"/>
                    </a:moveTo>
                    <a:cubicBezTo>
                      <a:pt x="251" y="276"/>
                      <a:pt x="246" y="282"/>
                      <a:pt x="246" y="288"/>
                    </a:cubicBezTo>
                    <a:cubicBezTo>
                      <a:pt x="246" y="295"/>
                      <a:pt x="251" y="301"/>
                      <a:pt x="258" y="301"/>
                    </a:cubicBezTo>
                    <a:cubicBezTo>
                      <a:pt x="265" y="301"/>
                      <a:pt x="270" y="295"/>
                      <a:pt x="270" y="288"/>
                    </a:cubicBezTo>
                    <a:cubicBezTo>
                      <a:pt x="270" y="282"/>
                      <a:pt x="265" y="276"/>
                      <a:pt x="258" y="276"/>
                    </a:cubicBezTo>
                    <a:close/>
                    <a:moveTo>
                      <a:pt x="258" y="338"/>
                    </a:moveTo>
                    <a:cubicBezTo>
                      <a:pt x="251" y="338"/>
                      <a:pt x="246" y="343"/>
                      <a:pt x="246" y="350"/>
                    </a:cubicBezTo>
                    <a:cubicBezTo>
                      <a:pt x="246" y="357"/>
                      <a:pt x="251" y="362"/>
                      <a:pt x="258" y="362"/>
                    </a:cubicBezTo>
                    <a:cubicBezTo>
                      <a:pt x="265" y="362"/>
                      <a:pt x="270" y="357"/>
                      <a:pt x="270" y="350"/>
                    </a:cubicBezTo>
                    <a:cubicBezTo>
                      <a:pt x="270" y="343"/>
                      <a:pt x="265" y="338"/>
                      <a:pt x="258" y="338"/>
                    </a:cubicBezTo>
                    <a:close/>
                    <a:moveTo>
                      <a:pt x="258" y="184"/>
                    </a:moveTo>
                    <a:cubicBezTo>
                      <a:pt x="251" y="184"/>
                      <a:pt x="246" y="190"/>
                      <a:pt x="246" y="196"/>
                    </a:cubicBezTo>
                    <a:cubicBezTo>
                      <a:pt x="246" y="203"/>
                      <a:pt x="251" y="208"/>
                      <a:pt x="258" y="208"/>
                    </a:cubicBezTo>
                    <a:cubicBezTo>
                      <a:pt x="265" y="208"/>
                      <a:pt x="270" y="203"/>
                      <a:pt x="270" y="196"/>
                    </a:cubicBezTo>
                    <a:cubicBezTo>
                      <a:pt x="270" y="190"/>
                      <a:pt x="265" y="184"/>
                      <a:pt x="258" y="184"/>
                    </a:cubicBezTo>
                    <a:close/>
                    <a:moveTo>
                      <a:pt x="258" y="153"/>
                    </a:moveTo>
                    <a:cubicBezTo>
                      <a:pt x="251" y="153"/>
                      <a:pt x="246" y="159"/>
                      <a:pt x="246" y="166"/>
                    </a:cubicBezTo>
                    <a:cubicBezTo>
                      <a:pt x="246" y="172"/>
                      <a:pt x="251" y="178"/>
                      <a:pt x="258" y="178"/>
                    </a:cubicBezTo>
                    <a:cubicBezTo>
                      <a:pt x="265" y="178"/>
                      <a:pt x="270" y="172"/>
                      <a:pt x="270" y="166"/>
                    </a:cubicBezTo>
                    <a:cubicBezTo>
                      <a:pt x="270" y="159"/>
                      <a:pt x="265" y="153"/>
                      <a:pt x="258" y="153"/>
                    </a:cubicBezTo>
                    <a:close/>
                    <a:moveTo>
                      <a:pt x="258" y="369"/>
                    </a:moveTo>
                    <a:cubicBezTo>
                      <a:pt x="251" y="369"/>
                      <a:pt x="246" y="374"/>
                      <a:pt x="246" y="381"/>
                    </a:cubicBezTo>
                    <a:cubicBezTo>
                      <a:pt x="246" y="387"/>
                      <a:pt x="251" y="393"/>
                      <a:pt x="258" y="393"/>
                    </a:cubicBezTo>
                    <a:cubicBezTo>
                      <a:pt x="265" y="393"/>
                      <a:pt x="270" y="387"/>
                      <a:pt x="270" y="381"/>
                    </a:cubicBezTo>
                    <a:cubicBezTo>
                      <a:pt x="270" y="374"/>
                      <a:pt x="265" y="369"/>
                      <a:pt x="258" y="369"/>
                    </a:cubicBezTo>
                    <a:close/>
                    <a:moveTo>
                      <a:pt x="258" y="307"/>
                    </a:moveTo>
                    <a:cubicBezTo>
                      <a:pt x="251" y="307"/>
                      <a:pt x="246" y="313"/>
                      <a:pt x="246" y="319"/>
                    </a:cubicBezTo>
                    <a:cubicBezTo>
                      <a:pt x="246" y="326"/>
                      <a:pt x="251" y="331"/>
                      <a:pt x="258" y="331"/>
                    </a:cubicBezTo>
                    <a:cubicBezTo>
                      <a:pt x="265" y="331"/>
                      <a:pt x="270" y="326"/>
                      <a:pt x="270" y="319"/>
                    </a:cubicBezTo>
                    <a:cubicBezTo>
                      <a:pt x="270" y="313"/>
                      <a:pt x="265" y="307"/>
                      <a:pt x="258" y="307"/>
                    </a:cubicBezTo>
                    <a:close/>
                    <a:moveTo>
                      <a:pt x="258" y="399"/>
                    </a:moveTo>
                    <a:cubicBezTo>
                      <a:pt x="251" y="399"/>
                      <a:pt x="246" y="405"/>
                      <a:pt x="246" y="411"/>
                    </a:cubicBezTo>
                    <a:cubicBezTo>
                      <a:pt x="246" y="418"/>
                      <a:pt x="251" y="424"/>
                      <a:pt x="258" y="424"/>
                    </a:cubicBezTo>
                    <a:cubicBezTo>
                      <a:pt x="265" y="424"/>
                      <a:pt x="270" y="418"/>
                      <a:pt x="270" y="411"/>
                    </a:cubicBezTo>
                    <a:cubicBezTo>
                      <a:pt x="270" y="405"/>
                      <a:pt x="265" y="399"/>
                      <a:pt x="258" y="399"/>
                    </a:cubicBezTo>
                    <a:close/>
                    <a:moveTo>
                      <a:pt x="713" y="246"/>
                    </a:moveTo>
                    <a:cubicBezTo>
                      <a:pt x="707" y="246"/>
                      <a:pt x="701" y="251"/>
                      <a:pt x="701" y="258"/>
                    </a:cubicBezTo>
                    <a:cubicBezTo>
                      <a:pt x="701" y="264"/>
                      <a:pt x="707" y="270"/>
                      <a:pt x="713" y="270"/>
                    </a:cubicBezTo>
                    <a:cubicBezTo>
                      <a:pt x="720" y="270"/>
                      <a:pt x="726" y="264"/>
                      <a:pt x="726" y="258"/>
                    </a:cubicBezTo>
                    <a:cubicBezTo>
                      <a:pt x="726" y="251"/>
                      <a:pt x="720" y="246"/>
                      <a:pt x="713" y="246"/>
                    </a:cubicBezTo>
                    <a:close/>
                    <a:moveTo>
                      <a:pt x="749" y="246"/>
                    </a:moveTo>
                    <a:cubicBezTo>
                      <a:pt x="742" y="246"/>
                      <a:pt x="736" y="251"/>
                      <a:pt x="736" y="258"/>
                    </a:cubicBezTo>
                    <a:cubicBezTo>
                      <a:pt x="736" y="264"/>
                      <a:pt x="742" y="270"/>
                      <a:pt x="749" y="270"/>
                    </a:cubicBezTo>
                    <a:cubicBezTo>
                      <a:pt x="755" y="270"/>
                      <a:pt x="761" y="264"/>
                      <a:pt x="761" y="258"/>
                    </a:cubicBezTo>
                    <a:cubicBezTo>
                      <a:pt x="761" y="251"/>
                      <a:pt x="755" y="246"/>
                      <a:pt x="749" y="246"/>
                    </a:cubicBezTo>
                    <a:close/>
                    <a:moveTo>
                      <a:pt x="749" y="239"/>
                    </a:moveTo>
                    <a:cubicBezTo>
                      <a:pt x="755" y="239"/>
                      <a:pt x="761" y="234"/>
                      <a:pt x="761" y="227"/>
                    </a:cubicBezTo>
                    <a:cubicBezTo>
                      <a:pt x="761" y="220"/>
                      <a:pt x="755" y="215"/>
                      <a:pt x="749" y="215"/>
                    </a:cubicBezTo>
                    <a:cubicBezTo>
                      <a:pt x="742" y="215"/>
                      <a:pt x="736" y="220"/>
                      <a:pt x="736" y="227"/>
                    </a:cubicBezTo>
                    <a:cubicBezTo>
                      <a:pt x="736" y="234"/>
                      <a:pt x="742" y="239"/>
                      <a:pt x="749" y="239"/>
                    </a:cubicBezTo>
                    <a:close/>
                    <a:moveTo>
                      <a:pt x="713" y="276"/>
                    </a:moveTo>
                    <a:cubicBezTo>
                      <a:pt x="707" y="276"/>
                      <a:pt x="701" y="282"/>
                      <a:pt x="701" y="288"/>
                    </a:cubicBezTo>
                    <a:cubicBezTo>
                      <a:pt x="701" y="295"/>
                      <a:pt x="707" y="301"/>
                      <a:pt x="713" y="301"/>
                    </a:cubicBezTo>
                    <a:cubicBezTo>
                      <a:pt x="720" y="301"/>
                      <a:pt x="726" y="295"/>
                      <a:pt x="726" y="288"/>
                    </a:cubicBezTo>
                    <a:cubicBezTo>
                      <a:pt x="726" y="282"/>
                      <a:pt x="720" y="276"/>
                      <a:pt x="713" y="276"/>
                    </a:cubicBezTo>
                    <a:close/>
                    <a:moveTo>
                      <a:pt x="573" y="276"/>
                    </a:moveTo>
                    <a:cubicBezTo>
                      <a:pt x="567" y="276"/>
                      <a:pt x="561" y="282"/>
                      <a:pt x="561" y="288"/>
                    </a:cubicBezTo>
                    <a:cubicBezTo>
                      <a:pt x="561" y="295"/>
                      <a:pt x="567" y="301"/>
                      <a:pt x="573" y="301"/>
                    </a:cubicBezTo>
                    <a:cubicBezTo>
                      <a:pt x="580" y="301"/>
                      <a:pt x="585" y="295"/>
                      <a:pt x="585" y="288"/>
                    </a:cubicBezTo>
                    <a:cubicBezTo>
                      <a:pt x="585" y="282"/>
                      <a:pt x="580" y="276"/>
                      <a:pt x="573" y="276"/>
                    </a:cubicBezTo>
                    <a:close/>
                    <a:moveTo>
                      <a:pt x="573" y="184"/>
                    </a:moveTo>
                    <a:cubicBezTo>
                      <a:pt x="567" y="184"/>
                      <a:pt x="561" y="190"/>
                      <a:pt x="561" y="196"/>
                    </a:cubicBezTo>
                    <a:cubicBezTo>
                      <a:pt x="561" y="203"/>
                      <a:pt x="567" y="208"/>
                      <a:pt x="573" y="208"/>
                    </a:cubicBezTo>
                    <a:cubicBezTo>
                      <a:pt x="580" y="208"/>
                      <a:pt x="585" y="203"/>
                      <a:pt x="585" y="196"/>
                    </a:cubicBezTo>
                    <a:cubicBezTo>
                      <a:pt x="585" y="190"/>
                      <a:pt x="580" y="184"/>
                      <a:pt x="573" y="184"/>
                    </a:cubicBezTo>
                    <a:close/>
                    <a:moveTo>
                      <a:pt x="573" y="246"/>
                    </a:moveTo>
                    <a:cubicBezTo>
                      <a:pt x="567" y="246"/>
                      <a:pt x="561" y="251"/>
                      <a:pt x="561" y="258"/>
                    </a:cubicBezTo>
                    <a:cubicBezTo>
                      <a:pt x="561" y="264"/>
                      <a:pt x="567" y="270"/>
                      <a:pt x="573" y="270"/>
                    </a:cubicBezTo>
                    <a:cubicBezTo>
                      <a:pt x="580" y="270"/>
                      <a:pt x="585" y="264"/>
                      <a:pt x="585" y="258"/>
                    </a:cubicBezTo>
                    <a:cubicBezTo>
                      <a:pt x="585" y="251"/>
                      <a:pt x="580" y="246"/>
                      <a:pt x="573" y="246"/>
                    </a:cubicBezTo>
                    <a:close/>
                    <a:moveTo>
                      <a:pt x="573" y="153"/>
                    </a:moveTo>
                    <a:cubicBezTo>
                      <a:pt x="567" y="153"/>
                      <a:pt x="561" y="159"/>
                      <a:pt x="561" y="166"/>
                    </a:cubicBezTo>
                    <a:cubicBezTo>
                      <a:pt x="561" y="172"/>
                      <a:pt x="567" y="178"/>
                      <a:pt x="573" y="178"/>
                    </a:cubicBezTo>
                    <a:cubicBezTo>
                      <a:pt x="580" y="178"/>
                      <a:pt x="585" y="172"/>
                      <a:pt x="585" y="166"/>
                    </a:cubicBezTo>
                    <a:cubicBezTo>
                      <a:pt x="585" y="159"/>
                      <a:pt x="580" y="153"/>
                      <a:pt x="573" y="153"/>
                    </a:cubicBezTo>
                    <a:close/>
                    <a:moveTo>
                      <a:pt x="573" y="215"/>
                    </a:moveTo>
                    <a:cubicBezTo>
                      <a:pt x="567" y="215"/>
                      <a:pt x="561" y="220"/>
                      <a:pt x="561" y="227"/>
                    </a:cubicBezTo>
                    <a:cubicBezTo>
                      <a:pt x="561" y="234"/>
                      <a:pt x="567" y="239"/>
                      <a:pt x="573" y="239"/>
                    </a:cubicBezTo>
                    <a:cubicBezTo>
                      <a:pt x="580" y="239"/>
                      <a:pt x="585" y="234"/>
                      <a:pt x="585" y="227"/>
                    </a:cubicBezTo>
                    <a:cubicBezTo>
                      <a:pt x="585" y="220"/>
                      <a:pt x="580" y="215"/>
                      <a:pt x="573" y="215"/>
                    </a:cubicBezTo>
                    <a:close/>
                    <a:moveTo>
                      <a:pt x="573" y="123"/>
                    </a:moveTo>
                    <a:cubicBezTo>
                      <a:pt x="567" y="123"/>
                      <a:pt x="561" y="128"/>
                      <a:pt x="561" y="135"/>
                    </a:cubicBezTo>
                    <a:cubicBezTo>
                      <a:pt x="561" y="141"/>
                      <a:pt x="567" y="147"/>
                      <a:pt x="573" y="147"/>
                    </a:cubicBezTo>
                    <a:cubicBezTo>
                      <a:pt x="580" y="147"/>
                      <a:pt x="585" y="141"/>
                      <a:pt x="585" y="135"/>
                    </a:cubicBezTo>
                    <a:cubicBezTo>
                      <a:pt x="585" y="128"/>
                      <a:pt x="580" y="123"/>
                      <a:pt x="573" y="123"/>
                    </a:cubicBezTo>
                    <a:close/>
                    <a:moveTo>
                      <a:pt x="503" y="123"/>
                    </a:moveTo>
                    <a:cubicBezTo>
                      <a:pt x="496" y="123"/>
                      <a:pt x="491" y="128"/>
                      <a:pt x="491" y="135"/>
                    </a:cubicBezTo>
                    <a:cubicBezTo>
                      <a:pt x="491" y="141"/>
                      <a:pt x="496" y="147"/>
                      <a:pt x="503" y="147"/>
                    </a:cubicBezTo>
                    <a:cubicBezTo>
                      <a:pt x="510" y="147"/>
                      <a:pt x="515" y="141"/>
                      <a:pt x="515" y="135"/>
                    </a:cubicBezTo>
                    <a:cubicBezTo>
                      <a:pt x="515" y="128"/>
                      <a:pt x="510" y="123"/>
                      <a:pt x="503" y="123"/>
                    </a:cubicBezTo>
                    <a:close/>
                    <a:moveTo>
                      <a:pt x="503" y="153"/>
                    </a:moveTo>
                    <a:cubicBezTo>
                      <a:pt x="496" y="153"/>
                      <a:pt x="491" y="159"/>
                      <a:pt x="491" y="166"/>
                    </a:cubicBezTo>
                    <a:cubicBezTo>
                      <a:pt x="491" y="172"/>
                      <a:pt x="496" y="178"/>
                      <a:pt x="503" y="178"/>
                    </a:cubicBezTo>
                    <a:cubicBezTo>
                      <a:pt x="510" y="178"/>
                      <a:pt x="515" y="172"/>
                      <a:pt x="515" y="166"/>
                    </a:cubicBezTo>
                    <a:cubicBezTo>
                      <a:pt x="515" y="159"/>
                      <a:pt x="510" y="153"/>
                      <a:pt x="503" y="153"/>
                    </a:cubicBezTo>
                    <a:close/>
                    <a:moveTo>
                      <a:pt x="503" y="184"/>
                    </a:moveTo>
                    <a:cubicBezTo>
                      <a:pt x="496" y="184"/>
                      <a:pt x="491" y="190"/>
                      <a:pt x="491" y="196"/>
                    </a:cubicBezTo>
                    <a:cubicBezTo>
                      <a:pt x="491" y="203"/>
                      <a:pt x="496" y="208"/>
                      <a:pt x="503" y="208"/>
                    </a:cubicBezTo>
                    <a:cubicBezTo>
                      <a:pt x="510" y="208"/>
                      <a:pt x="515" y="203"/>
                      <a:pt x="515" y="196"/>
                    </a:cubicBezTo>
                    <a:cubicBezTo>
                      <a:pt x="515" y="190"/>
                      <a:pt x="510" y="184"/>
                      <a:pt x="503" y="184"/>
                    </a:cubicBezTo>
                    <a:close/>
                    <a:moveTo>
                      <a:pt x="503" y="369"/>
                    </a:moveTo>
                    <a:cubicBezTo>
                      <a:pt x="496" y="369"/>
                      <a:pt x="491" y="374"/>
                      <a:pt x="491" y="381"/>
                    </a:cubicBezTo>
                    <a:cubicBezTo>
                      <a:pt x="491" y="387"/>
                      <a:pt x="496" y="393"/>
                      <a:pt x="503" y="393"/>
                    </a:cubicBezTo>
                    <a:cubicBezTo>
                      <a:pt x="510" y="393"/>
                      <a:pt x="515" y="387"/>
                      <a:pt x="515" y="381"/>
                    </a:cubicBezTo>
                    <a:cubicBezTo>
                      <a:pt x="515" y="374"/>
                      <a:pt x="510" y="369"/>
                      <a:pt x="503" y="369"/>
                    </a:cubicBezTo>
                    <a:close/>
                    <a:moveTo>
                      <a:pt x="503" y="399"/>
                    </a:moveTo>
                    <a:cubicBezTo>
                      <a:pt x="496" y="399"/>
                      <a:pt x="491" y="405"/>
                      <a:pt x="491" y="411"/>
                    </a:cubicBezTo>
                    <a:cubicBezTo>
                      <a:pt x="491" y="418"/>
                      <a:pt x="496" y="424"/>
                      <a:pt x="503" y="424"/>
                    </a:cubicBezTo>
                    <a:cubicBezTo>
                      <a:pt x="510" y="424"/>
                      <a:pt x="515" y="418"/>
                      <a:pt x="515" y="411"/>
                    </a:cubicBezTo>
                    <a:cubicBezTo>
                      <a:pt x="515" y="405"/>
                      <a:pt x="510" y="399"/>
                      <a:pt x="503" y="399"/>
                    </a:cubicBezTo>
                    <a:close/>
                    <a:moveTo>
                      <a:pt x="538" y="123"/>
                    </a:moveTo>
                    <a:cubicBezTo>
                      <a:pt x="532" y="123"/>
                      <a:pt x="526" y="128"/>
                      <a:pt x="526" y="135"/>
                    </a:cubicBezTo>
                    <a:cubicBezTo>
                      <a:pt x="526" y="141"/>
                      <a:pt x="532" y="147"/>
                      <a:pt x="538" y="147"/>
                    </a:cubicBezTo>
                    <a:cubicBezTo>
                      <a:pt x="545" y="147"/>
                      <a:pt x="550" y="141"/>
                      <a:pt x="550" y="135"/>
                    </a:cubicBezTo>
                    <a:cubicBezTo>
                      <a:pt x="550" y="128"/>
                      <a:pt x="545" y="123"/>
                      <a:pt x="538" y="123"/>
                    </a:cubicBezTo>
                    <a:close/>
                    <a:moveTo>
                      <a:pt x="538" y="184"/>
                    </a:moveTo>
                    <a:cubicBezTo>
                      <a:pt x="532" y="184"/>
                      <a:pt x="526" y="190"/>
                      <a:pt x="526" y="196"/>
                    </a:cubicBezTo>
                    <a:cubicBezTo>
                      <a:pt x="526" y="203"/>
                      <a:pt x="532" y="208"/>
                      <a:pt x="538" y="208"/>
                    </a:cubicBezTo>
                    <a:cubicBezTo>
                      <a:pt x="545" y="208"/>
                      <a:pt x="550" y="203"/>
                      <a:pt x="550" y="196"/>
                    </a:cubicBezTo>
                    <a:cubicBezTo>
                      <a:pt x="550" y="190"/>
                      <a:pt x="545" y="184"/>
                      <a:pt x="538" y="184"/>
                    </a:cubicBezTo>
                    <a:close/>
                    <a:moveTo>
                      <a:pt x="538" y="215"/>
                    </a:moveTo>
                    <a:cubicBezTo>
                      <a:pt x="532" y="215"/>
                      <a:pt x="526" y="220"/>
                      <a:pt x="526" y="227"/>
                    </a:cubicBezTo>
                    <a:cubicBezTo>
                      <a:pt x="526" y="234"/>
                      <a:pt x="532" y="239"/>
                      <a:pt x="538" y="239"/>
                    </a:cubicBezTo>
                    <a:cubicBezTo>
                      <a:pt x="545" y="239"/>
                      <a:pt x="550" y="234"/>
                      <a:pt x="550" y="227"/>
                    </a:cubicBezTo>
                    <a:cubicBezTo>
                      <a:pt x="550" y="220"/>
                      <a:pt x="545" y="215"/>
                      <a:pt x="538" y="215"/>
                    </a:cubicBezTo>
                    <a:close/>
                    <a:moveTo>
                      <a:pt x="538" y="153"/>
                    </a:moveTo>
                    <a:cubicBezTo>
                      <a:pt x="532" y="153"/>
                      <a:pt x="526" y="159"/>
                      <a:pt x="526" y="166"/>
                    </a:cubicBezTo>
                    <a:cubicBezTo>
                      <a:pt x="526" y="172"/>
                      <a:pt x="532" y="178"/>
                      <a:pt x="538" y="178"/>
                    </a:cubicBezTo>
                    <a:cubicBezTo>
                      <a:pt x="545" y="178"/>
                      <a:pt x="550" y="172"/>
                      <a:pt x="550" y="166"/>
                    </a:cubicBezTo>
                    <a:cubicBezTo>
                      <a:pt x="550" y="159"/>
                      <a:pt x="545" y="153"/>
                      <a:pt x="538" y="153"/>
                    </a:cubicBezTo>
                    <a:close/>
                    <a:moveTo>
                      <a:pt x="573" y="307"/>
                    </a:moveTo>
                    <a:cubicBezTo>
                      <a:pt x="567" y="307"/>
                      <a:pt x="561" y="313"/>
                      <a:pt x="561" y="319"/>
                    </a:cubicBezTo>
                    <a:cubicBezTo>
                      <a:pt x="561" y="326"/>
                      <a:pt x="567" y="331"/>
                      <a:pt x="573" y="331"/>
                    </a:cubicBezTo>
                    <a:cubicBezTo>
                      <a:pt x="580" y="331"/>
                      <a:pt x="585" y="326"/>
                      <a:pt x="585" y="319"/>
                    </a:cubicBezTo>
                    <a:cubicBezTo>
                      <a:pt x="585" y="313"/>
                      <a:pt x="580" y="307"/>
                      <a:pt x="573" y="307"/>
                    </a:cubicBezTo>
                    <a:close/>
                    <a:moveTo>
                      <a:pt x="678" y="276"/>
                    </a:moveTo>
                    <a:cubicBezTo>
                      <a:pt x="672" y="276"/>
                      <a:pt x="666" y="282"/>
                      <a:pt x="666" y="288"/>
                    </a:cubicBezTo>
                    <a:cubicBezTo>
                      <a:pt x="666" y="295"/>
                      <a:pt x="672" y="301"/>
                      <a:pt x="678" y="301"/>
                    </a:cubicBezTo>
                    <a:cubicBezTo>
                      <a:pt x="685" y="301"/>
                      <a:pt x="691" y="295"/>
                      <a:pt x="691" y="288"/>
                    </a:cubicBezTo>
                    <a:cubicBezTo>
                      <a:pt x="691" y="282"/>
                      <a:pt x="685" y="276"/>
                      <a:pt x="678" y="276"/>
                    </a:cubicBezTo>
                    <a:close/>
                    <a:moveTo>
                      <a:pt x="678" y="307"/>
                    </a:moveTo>
                    <a:cubicBezTo>
                      <a:pt x="672" y="307"/>
                      <a:pt x="666" y="313"/>
                      <a:pt x="666" y="319"/>
                    </a:cubicBezTo>
                    <a:cubicBezTo>
                      <a:pt x="666" y="326"/>
                      <a:pt x="672" y="331"/>
                      <a:pt x="678" y="331"/>
                    </a:cubicBezTo>
                    <a:cubicBezTo>
                      <a:pt x="685" y="331"/>
                      <a:pt x="691" y="326"/>
                      <a:pt x="691" y="319"/>
                    </a:cubicBezTo>
                    <a:cubicBezTo>
                      <a:pt x="691" y="313"/>
                      <a:pt x="685" y="307"/>
                      <a:pt x="678" y="307"/>
                    </a:cubicBezTo>
                    <a:close/>
                    <a:moveTo>
                      <a:pt x="608" y="307"/>
                    </a:moveTo>
                    <a:cubicBezTo>
                      <a:pt x="602" y="307"/>
                      <a:pt x="596" y="313"/>
                      <a:pt x="596" y="319"/>
                    </a:cubicBezTo>
                    <a:cubicBezTo>
                      <a:pt x="596" y="326"/>
                      <a:pt x="602" y="331"/>
                      <a:pt x="608" y="331"/>
                    </a:cubicBezTo>
                    <a:cubicBezTo>
                      <a:pt x="615" y="331"/>
                      <a:pt x="621" y="326"/>
                      <a:pt x="621" y="319"/>
                    </a:cubicBezTo>
                    <a:cubicBezTo>
                      <a:pt x="621" y="313"/>
                      <a:pt x="615" y="307"/>
                      <a:pt x="608" y="307"/>
                    </a:cubicBezTo>
                    <a:close/>
                    <a:moveTo>
                      <a:pt x="608" y="153"/>
                    </a:moveTo>
                    <a:cubicBezTo>
                      <a:pt x="602" y="153"/>
                      <a:pt x="596" y="159"/>
                      <a:pt x="596" y="166"/>
                    </a:cubicBezTo>
                    <a:cubicBezTo>
                      <a:pt x="596" y="172"/>
                      <a:pt x="602" y="178"/>
                      <a:pt x="608" y="178"/>
                    </a:cubicBezTo>
                    <a:cubicBezTo>
                      <a:pt x="615" y="178"/>
                      <a:pt x="621" y="172"/>
                      <a:pt x="621" y="166"/>
                    </a:cubicBezTo>
                    <a:cubicBezTo>
                      <a:pt x="621" y="159"/>
                      <a:pt x="615" y="153"/>
                      <a:pt x="608" y="153"/>
                    </a:cubicBezTo>
                    <a:close/>
                    <a:moveTo>
                      <a:pt x="608" y="123"/>
                    </a:moveTo>
                    <a:cubicBezTo>
                      <a:pt x="602" y="123"/>
                      <a:pt x="596" y="128"/>
                      <a:pt x="596" y="135"/>
                    </a:cubicBezTo>
                    <a:cubicBezTo>
                      <a:pt x="596" y="141"/>
                      <a:pt x="602" y="147"/>
                      <a:pt x="608" y="147"/>
                    </a:cubicBezTo>
                    <a:cubicBezTo>
                      <a:pt x="615" y="147"/>
                      <a:pt x="621" y="141"/>
                      <a:pt x="621" y="135"/>
                    </a:cubicBezTo>
                    <a:cubicBezTo>
                      <a:pt x="621" y="128"/>
                      <a:pt x="615" y="123"/>
                      <a:pt x="608" y="123"/>
                    </a:cubicBezTo>
                    <a:close/>
                    <a:moveTo>
                      <a:pt x="608" y="338"/>
                    </a:moveTo>
                    <a:cubicBezTo>
                      <a:pt x="602" y="338"/>
                      <a:pt x="596" y="343"/>
                      <a:pt x="596" y="350"/>
                    </a:cubicBezTo>
                    <a:cubicBezTo>
                      <a:pt x="596" y="357"/>
                      <a:pt x="602" y="362"/>
                      <a:pt x="608" y="362"/>
                    </a:cubicBezTo>
                    <a:cubicBezTo>
                      <a:pt x="615" y="362"/>
                      <a:pt x="621" y="357"/>
                      <a:pt x="621" y="350"/>
                    </a:cubicBezTo>
                    <a:cubicBezTo>
                      <a:pt x="621" y="343"/>
                      <a:pt x="615" y="338"/>
                      <a:pt x="608" y="338"/>
                    </a:cubicBezTo>
                    <a:close/>
                    <a:moveTo>
                      <a:pt x="643" y="307"/>
                    </a:moveTo>
                    <a:cubicBezTo>
                      <a:pt x="637" y="307"/>
                      <a:pt x="631" y="313"/>
                      <a:pt x="631" y="319"/>
                    </a:cubicBezTo>
                    <a:cubicBezTo>
                      <a:pt x="631" y="326"/>
                      <a:pt x="637" y="331"/>
                      <a:pt x="643" y="331"/>
                    </a:cubicBezTo>
                    <a:cubicBezTo>
                      <a:pt x="650" y="331"/>
                      <a:pt x="656" y="326"/>
                      <a:pt x="656" y="319"/>
                    </a:cubicBezTo>
                    <a:cubicBezTo>
                      <a:pt x="656" y="313"/>
                      <a:pt x="650" y="307"/>
                      <a:pt x="643" y="307"/>
                    </a:cubicBezTo>
                    <a:close/>
                    <a:moveTo>
                      <a:pt x="118" y="369"/>
                    </a:moveTo>
                    <a:cubicBezTo>
                      <a:pt x="111" y="369"/>
                      <a:pt x="106" y="374"/>
                      <a:pt x="106" y="381"/>
                    </a:cubicBezTo>
                    <a:cubicBezTo>
                      <a:pt x="106" y="387"/>
                      <a:pt x="111" y="393"/>
                      <a:pt x="118" y="393"/>
                    </a:cubicBezTo>
                    <a:cubicBezTo>
                      <a:pt x="124" y="393"/>
                      <a:pt x="130" y="387"/>
                      <a:pt x="130" y="381"/>
                    </a:cubicBezTo>
                    <a:cubicBezTo>
                      <a:pt x="130" y="374"/>
                      <a:pt x="124" y="369"/>
                      <a:pt x="118" y="369"/>
                    </a:cubicBezTo>
                    <a:close/>
                    <a:moveTo>
                      <a:pt x="83" y="338"/>
                    </a:moveTo>
                    <a:cubicBezTo>
                      <a:pt x="76" y="338"/>
                      <a:pt x="71" y="343"/>
                      <a:pt x="71" y="350"/>
                    </a:cubicBezTo>
                    <a:cubicBezTo>
                      <a:pt x="71" y="357"/>
                      <a:pt x="76" y="362"/>
                      <a:pt x="83" y="362"/>
                    </a:cubicBezTo>
                    <a:cubicBezTo>
                      <a:pt x="89" y="362"/>
                      <a:pt x="95" y="357"/>
                      <a:pt x="95" y="350"/>
                    </a:cubicBezTo>
                    <a:cubicBezTo>
                      <a:pt x="95" y="343"/>
                      <a:pt x="89" y="338"/>
                      <a:pt x="83" y="338"/>
                    </a:cubicBezTo>
                    <a:close/>
                    <a:moveTo>
                      <a:pt x="83" y="369"/>
                    </a:moveTo>
                    <a:cubicBezTo>
                      <a:pt x="76" y="369"/>
                      <a:pt x="71" y="374"/>
                      <a:pt x="71" y="381"/>
                    </a:cubicBezTo>
                    <a:cubicBezTo>
                      <a:pt x="71" y="387"/>
                      <a:pt x="76" y="393"/>
                      <a:pt x="83" y="393"/>
                    </a:cubicBezTo>
                    <a:cubicBezTo>
                      <a:pt x="89" y="393"/>
                      <a:pt x="95" y="387"/>
                      <a:pt x="95" y="381"/>
                    </a:cubicBezTo>
                    <a:cubicBezTo>
                      <a:pt x="95" y="374"/>
                      <a:pt x="89" y="369"/>
                      <a:pt x="83" y="369"/>
                    </a:cubicBezTo>
                    <a:close/>
                    <a:moveTo>
                      <a:pt x="118" y="399"/>
                    </a:moveTo>
                    <a:cubicBezTo>
                      <a:pt x="111" y="399"/>
                      <a:pt x="106" y="405"/>
                      <a:pt x="106" y="411"/>
                    </a:cubicBezTo>
                    <a:cubicBezTo>
                      <a:pt x="106" y="418"/>
                      <a:pt x="111" y="424"/>
                      <a:pt x="118" y="424"/>
                    </a:cubicBezTo>
                    <a:cubicBezTo>
                      <a:pt x="124" y="424"/>
                      <a:pt x="130" y="418"/>
                      <a:pt x="130" y="411"/>
                    </a:cubicBezTo>
                    <a:cubicBezTo>
                      <a:pt x="130" y="405"/>
                      <a:pt x="124" y="399"/>
                      <a:pt x="118" y="399"/>
                    </a:cubicBezTo>
                    <a:close/>
                    <a:moveTo>
                      <a:pt x="188" y="215"/>
                    </a:moveTo>
                    <a:cubicBezTo>
                      <a:pt x="181" y="215"/>
                      <a:pt x="176" y="220"/>
                      <a:pt x="176" y="227"/>
                    </a:cubicBezTo>
                    <a:cubicBezTo>
                      <a:pt x="176" y="234"/>
                      <a:pt x="181" y="239"/>
                      <a:pt x="188" y="239"/>
                    </a:cubicBezTo>
                    <a:cubicBezTo>
                      <a:pt x="195" y="239"/>
                      <a:pt x="200" y="234"/>
                      <a:pt x="200" y="227"/>
                    </a:cubicBezTo>
                    <a:cubicBezTo>
                      <a:pt x="200" y="220"/>
                      <a:pt x="195" y="215"/>
                      <a:pt x="188" y="215"/>
                    </a:cubicBezTo>
                    <a:close/>
                    <a:moveTo>
                      <a:pt x="188" y="184"/>
                    </a:moveTo>
                    <a:cubicBezTo>
                      <a:pt x="181" y="184"/>
                      <a:pt x="176" y="190"/>
                      <a:pt x="176" y="196"/>
                    </a:cubicBezTo>
                    <a:cubicBezTo>
                      <a:pt x="176" y="203"/>
                      <a:pt x="181" y="208"/>
                      <a:pt x="188" y="208"/>
                    </a:cubicBezTo>
                    <a:cubicBezTo>
                      <a:pt x="195" y="208"/>
                      <a:pt x="200" y="203"/>
                      <a:pt x="200" y="196"/>
                    </a:cubicBezTo>
                    <a:cubicBezTo>
                      <a:pt x="200" y="190"/>
                      <a:pt x="195" y="184"/>
                      <a:pt x="188" y="184"/>
                    </a:cubicBezTo>
                    <a:close/>
                    <a:moveTo>
                      <a:pt x="188" y="153"/>
                    </a:moveTo>
                    <a:cubicBezTo>
                      <a:pt x="181" y="153"/>
                      <a:pt x="176" y="159"/>
                      <a:pt x="176" y="166"/>
                    </a:cubicBezTo>
                    <a:cubicBezTo>
                      <a:pt x="176" y="172"/>
                      <a:pt x="181" y="178"/>
                      <a:pt x="188" y="178"/>
                    </a:cubicBezTo>
                    <a:cubicBezTo>
                      <a:pt x="195" y="178"/>
                      <a:pt x="200" y="172"/>
                      <a:pt x="200" y="166"/>
                    </a:cubicBezTo>
                    <a:cubicBezTo>
                      <a:pt x="200" y="159"/>
                      <a:pt x="195" y="153"/>
                      <a:pt x="188" y="153"/>
                    </a:cubicBezTo>
                    <a:close/>
                    <a:moveTo>
                      <a:pt x="153" y="276"/>
                    </a:moveTo>
                    <a:cubicBezTo>
                      <a:pt x="146" y="276"/>
                      <a:pt x="141" y="282"/>
                      <a:pt x="141" y="288"/>
                    </a:cubicBezTo>
                    <a:cubicBezTo>
                      <a:pt x="141" y="295"/>
                      <a:pt x="146" y="301"/>
                      <a:pt x="153" y="301"/>
                    </a:cubicBezTo>
                    <a:cubicBezTo>
                      <a:pt x="160" y="301"/>
                      <a:pt x="165" y="295"/>
                      <a:pt x="165" y="288"/>
                    </a:cubicBezTo>
                    <a:cubicBezTo>
                      <a:pt x="165" y="282"/>
                      <a:pt x="160" y="276"/>
                      <a:pt x="153" y="276"/>
                    </a:cubicBezTo>
                    <a:close/>
                    <a:moveTo>
                      <a:pt x="153" y="246"/>
                    </a:moveTo>
                    <a:cubicBezTo>
                      <a:pt x="146" y="246"/>
                      <a:pt x="141" y="251"/>
                      <a:pt x="141" y="258"/>
                    </a:cubicBezTo>
                    <a:cubicBezTo>
                      <a:pt x="141" y="264"/>
                      <a:pt x="146" y="270"/>
                      <a:pt x="153" y="270"/>
                    </a:cubicBezTo>
                    <a:cubicBezTo>
                      <a:pt x="160" y="270"/>
                      <a:pt x="165" y="264"/>
                      <a:pt x="165" y="258"/>
                    </a:cubicBezTo>
                    <a:cubicBezTo>
                      <a:pt x="165" y="251"/>
                      <a:pt x="160" y="246"/>
                      <a:pt x="153" y="246"/>
                    </a:cubicBezTo>
                    <a:close/>
                    <a:moveTo>
                      <a:pt x="153" y="215"/>
                    </a:moveTo>
                    <a:cubicBezTo>
                      <a:pt x="146" y="215"/>
                      <a:pt x="141" y="220"/>
                      <a:pt x="141" y="227"/>
                    </a:cubicBezTo>
                    <a:cubicBezTo>
                      <a:pt x="141" y="234"/>
                      <a:pt x="146" y="239"/>
                      <a:pt x="153" y="239"/>
                    </a:cubicBezTo>
                    <a:cubicBezTo>
                      <a:pt x="160" y="239"/>
                      <a:pt x="165" y="234"/>
                      <a:pt x="165" y="227"/>
                    </a:cubicBezTo>
                    <a:cubicBezTo>
                      <a:pt x="165" y="220"/>
                      <a:pt x="160" y="215"/>
                      <a:pt x="153" y="215"/>
                    </a:cubicBezTo>
                    <a:close/>
                    <a:moveTo>
                      <a:pt x="573" y="92"/>
                    </a:moveTo>
                    <a:cubicBezTo>
                      <a:pt x="567" y="92"/>
                      <a:pt x="561" y="97"/>
                      <a:pt x="561" y="104"/>
                    </a:cubicBezTo>
                    <a:cubicBezTo>
                      <a:pt x="561" y="111"/>
                      <a:pt x="567" y="116"/>
                      <a:pt x="573" y="116"/>
                    </a:cubicBezTo>
                    <a:cubicBezTo>
                      <a:pt x="580" y="116"/>
                      <a:pt x="585" y="111"/>
                      <a:pt x="585" y="104"/>
                    </a:cubicBezTo>
                    <a:cubicBezTo>
                      <a:pt x="585" y="97"/>
                      <a:pt x="580" y="92"/>
                      <a:pt x="573" y="92"/>
                    </a:cubicBezTo>
                    <a:close/>
                    <a:moveTo>
                      <a:pt x="573" y="61"/>
                    </a:moveTo>
                    <a:cubicBezTo>
                      <a:pt x="567" y="61"/>
                      <a:pt x="561" y="67"/>
                      <a:pt x="561" y="73"/>
                    </a:cubicBezTo>
                    <a:cubicBezTo>
                      <a:pt x="561" y="80"/>
                      <a:pt x="567" y="85"/>
                      <a:pt x="573" y="85"/>
                    </a:cubicBezTo>
                    <a:cubicBezTo>
                      <a:pt x="580" y="85"/>
                      <a:pt x="585" y="80"/>
                      <a:pt x="585" y="73"/>
                    </a:cubicBezTo>
                    <a:cubicBezTo>
                      <a:pt x="585" y="67"/>
                      <a:pt x="580" y="61"/>
                      <a:pt x="573" y="61"/>
                    </a:cubicBezTo>
                    <a:close/>
                    <a:moveTo>
                      <a:pt x="538" y="92"/>
                    </a:moveTo>
                    <a:cubicBezTo>
                      <a:pt x="532" y="92"/>
                      <a:pt x="526" y="97"/>
                      <a:pt x="526" y="104"/>
                    </a:cubicBezTo>
                    <a:cubicBezTo>
                      <a:pt x="526" y="111"/>
                      <a:pt x="532" y="116"/>
                      <a:pt x="538" y="116"/>
                    </a:cubicBezTo>
                    <a:cubicBezTo>
                      <a:pt x="545" y="116"/>
                      <a:pt x="550" y="111"/>
                      <a:pt x="550" y="104"/>
                    </a:cubicBezTo>
                    <a:cubicBezTo>
                      <a:pt x="550" y="97"/>
                      <a:pt x="545" y="92"/>
                      <a:pt x="538" y="92"/>
                    </a:cubicBezTo>
                    <a:close/>
                    <a:moveTo>
                      <a:pt x="538" y="61"/>
                    </a:moveTo>
                    <a:cubicBezTo>
                      <a:pt x="532" y="61"/>
                      <a:pt x="526" y="67"/>
                      <a:pt x="526" y="73"/>
                    </a:cubicBezTo>
                    <a:cubicBezTo>
                      <a:pt x="526" y="80"/>
                      <a:pt x="532" y="85"/>
                      <a:pt x="538" y="85"/>
                    </a:cubicBezTo>
                    <a:cubicBezTo>
                      <a:pt x="545" y="85"/>
                      <a:pt x="550" y="80"/>
                      <a:pt x="550" y="73"/>
                    </a:cubicBezTo>
                    <a:cubicBezTo>
                      <a:pt x="550" y="67"/>
                      <a:pt x="545" y="61"/>
                      <a:pt x="538" y="61"/>
                    </a:cubicBezTo>
                    <a:close/>
                    <a:moveTo>
                      <a:pt x="538" y="30"/>
                    </a:moveTo>
                    <a:cubicBezTo>
                      <a:pt x="532" y="30"/>
                      <a:pt x="526" y="36"/>
                      <a:pt x="526" y="43"/>
                    </a:cubicBezTo>
                    <a:cubicBezTo>
                      <a:pt x="526" y="49"/>
                      <a:pt x="532" y="55"/>
                      <a:pt x="538" y="55"/>
                    </a:cubicBezTo>
                    <a:cubicBezTo>
                      <a:pt x="545" y="55"/>
                      <a:pt x="550" y="49"/>
                      <a:pt x="550" y="43"/>
                    </a:cubicBezTo>
                    <a:cubicBezTo>
                      <a:pt x="550" y="36"/>
                      <a:pt x="545" y="30"/>
                      <a:pt x="538" y="30"/>
                    </a:cubicBezTo>
                    <a:close/>
                    <a:moveTo>
                      <a:pt x="608" y="92"/>
                    </a:moveTo>
                    <a:cubicBezTo>
                      <a:pt x="602" y="92"/>
                      <a:pt x="596" y="97"/>
                      <a:pt x="596" y="104"/>
                    </a:cubicBezTo>
                    <a:cubicBezTo>
                      <a:pt x="596" y="111"/>
                      <a:pt x="602" y="116"/>
                      <a:pt x="608" y="116"/>
                    </a:cubicBezTo>
                    <a:cubicBezTo>
                      <a:pt x="615" y="116"/>
                      <a:pt x="621" y="111"/>
                      <a:pt x="621" y="104"/>
                    </a:cubicBezTo>
                    <a:cubicBezTo>
                      <a:pt x="621" y="97"/>
                      <a:pt x="615" y="92"/>
                      <a:pt x="608" y="92"/>
                    </a:cubicBezTo>
                    <a:close/>
                    <a:moveTo>
                      <a:pt x="643" y="123"/>
                    </a:moveTo>
                    <a:cubicBezTo>
                      <a:pt x="637" y="123"/>
                      <a:pt x="631" y="128"/>
                      <a:pt x="631" y="135"/>
                    </a:cubicBezTo>
                    <a:cubicBezTo>
                      <a:pt x="631" y="141"/>
                      <a:pt x="637" y="147"/>
                      <a:pt x="643" y="147"/>
                    </a:cubicBezTo>
                    <a:cubicBezTo>
                      <a:pt x="650" y="147"/>
                      <a:pt x="656" y="141"/>
                      <a:pt x="656" y="135"/>
                    </a:cubicBezTo>
                    <a:cubicBezTo>
                      <a:pt x="656" y="128"/>
                      <a:pt x="650" y="123"/>
                      <a:pt x="643" y="123"/>
                    </a:cubicBezTo>
                    <a:close/>
                    <a:moveTo>
                      <a:pt x="643" y="153"/>
                    </a:moveTo>
                    <a:cubicBezTo>
                      <a:pt x="637" y="153"/>
                      <a:pt x="631" y="159"/>
                      <a:pt x="631" y="166"/>
                    </a:cubicBezTo>
                    <a:cubicBezTo>
                      <a:pt x="631" y="172"/>
                      <a:pt x="637" y="178"/>
                      <a:pt x="643" y="178"/>
                    </a:cubicBezTo>
                    <a:cubicBezTo>
                      <a:pt x="650" y="178"/>
                      <a:pt x="656" y="172"/>
                      <a:pt x="656" y="166"/>
                    </a:cubicBezTo>
                    <a:cubicBezTo>
                      <a:pt x="656" y="159"/>
                      <a:pt x="650" y="153"/>
                      <a:pt x="643" y="153"/>
                    </a:cubicBezTo>
                    <a:close/>
                    <a:moveTo>
                      <a:pt x="118" y="338"/>
                    </a:moveTo>
                    <a:cubicBezTo>
                      <a:pt x="111" y="338"/>
                      <a:pt x="106" y="343"/>
                      <a:pt x="106" y="350"/>
                    </a:cubicBezTo>
                    <a:cubicBezTo>
                      <a:pt x="106" y="357"/>
                      <a:pt x="111" y="362"/>
                      <a:pt x="118" y="362"/>
                    </a:cubicBezTo>
                    <a:cubicBezTo>
                      <a:pt x="124" y="362"/>
                      <a:pt x="130" y="357"/>
                      <a:pt x="130" y="350"/>
                    </a:cubicBezTo>
                    <a:cubicBezTo>
                      <a:pt x="130" y="343"/>
                      <a:pt x="124" y="338"/>
                      <a:pt x="118" y="338"/>
                    </a:cubicBezTo>
                    <a:close/>
                    <a:moveTo>
                      <a:pt x="118" y="276"/>
                    </a:moveTo>
                    <a:cubicBezTo>
                      <a:pt x="111" y="276"/>
                      <a:pt x="106" y="282"/>
                      <a:pt x="106" y="288"/>
                    </a:cubicBezTo>
                    <a:cubicBezTo>
                      <a:pt x="106" y="295"/>
                      <a:pt x="111" y="301"/>
                      <a:pt x="118" y="301"/>
                    </a:cubicBezTo>
                    <a:cubicBezTo>
                      <a:pt x="124" y="301"/>
                      <a:pt x="130" y="295"/>
                      <a:pt x="130" y="288"/>
                    </a:cubicBezTo>
                    <a:cubicBezTo>
                      <a:pt x="130" y="282"/>
                      <a:pt x="124" y="276"/>
                      <a:pt x="118" y="276"/>
                    </a:cubicBezTo>
                    <a:close/>
                    <a:moveTo>
                      <a:pt x="118" y="307"/>
                    </a:moveTo>
                    <a:cubicBezTo>
                      <a:pt x="111" y="307"/>
                      <a:pt x="106" y="313"/>
                      <a:pt x="106" y="319"/>
                    </a:cubicBezTo>
                    <a:cubicBezTo>
                      <a:pt x="106" y="326"/>
                      <a:pt x="111" y="331"/>
                      <a:pt x="118" y="331"/>
                    </a:cubicBezTo>
                    <a:cubicBezTo>
                      <a:pt x="124" y="331"/>
                      <a:pt x="130" y="326"/>
                      <a:pt x="130" y="319"/>
                    </a:cubicBezTo>
                    <a:cubicBezTo>
                      <a:pt x="130" y="313"/>
                      <a:pt x="124" y="307"/>
                      <a:pt x="118" y="307"/>
                    </a:cubicBezTo>
                    <a:close/>
                    <a:moveTo>
                      <a:pt x="363" y="153"/>
                    </a:moveTo>
                    <a:cubicBezTo>
                      <a:pt x="356" y="153"/>
                      <a:pt x="351" y="159"/>
                      <a:pt x="351" y="166"/>
                    </a:cubicBezTo>
                    <a:cubicBezTo>
                      <a:pt x="351" y="172"/>
                      <a:pt x="356" y="178"/>
                      <a:pt x="363" y="178"/>
                    </a:cubicBezTo>
                    <a:cubicBezTo>
                      <a:pt x="370" y="178"/>
                      <a:pt x="375" y="172"/>
                      <a:pt x="375" y="166"/>
                    </a:cubicBezTo>
                    <a:cubicBezTo>
                      <a:pt x="375" y="159"/>
                      <a:pt x="370" y="153"/>
                      <a:pt x="363" y="153"/>
                    </a:cubicBezTo>
                    <a:close/>
                    <a:moveTo>
                      <a:pt x="328" y="153"/>
                    </a:moveTo>
                    <a:cubicBezTo>
                      <a:pt x="321" y="153"/>
                      <a:pt x="316" y="159"/>
                      <a:pt x="316" y="166"/>
                    </a:cubicBezTo>
                    <a:cubicBezTo>
                      <a:pt x="316" y="172"/>
                      <a:pt x="321" y="178"/>
                      <a:pt x="328" y="178"/>
                    </a:cubicBezTo>
                    <a:cubicBezTo>
                      <a:pt x="335" y="178"/>
                      <a:pt x="340" y="172"/>
                      <a:pt x="340" y="166"/>
                    </a:cubicBezTo>
                    <a:cubicBezTo>
                      <a:pt x="340" y="159"/>
                      <a:pt x="335" y="153"/>
                      <a:pt x="328" y="153"/>
                    </a:cubicBezTo>
                    <a:close/>
                    <a:moveTo>
                      <a:pt x="468" y="123"/>
                    </a:moveTo>
                    <a:cubicBezTo>
                      <a:pt x="461" y="123"/>
                      <a:pt x="456" y="128"/>
                      <a:pt x="456" y="135"/>
                    </a:cubicBezTo>
                    <a:cubicBezTo>
                      <a:pt x="456" y="141"/>
                      <a:pt x="461" y="147"/>
                      <a:pt x="468" y="147"/>
                    </a:cubicBezTo>
                    <a:cubicBezTo>
                      <a:pt x="475" y="147"/>
                      <a:pt x="480" y="141"/>
                      <a:pt x="480" y="135"/>
                    </a:cubicBezTo>
                    <a:cubicBezTo>
                      <a:pt x="480" y="128"/>
                      <a:pt x="475" y="123"/>
                      <a:pt x="468" y="123"/>
                    </a:cubicBezTo>
                    <a:close/>
                    <a:moveTo>
                      <a:pt x="468" y="0"/>
                    </a:moveTo>
                    <a:cubicBezTo>
                      <a:pt x="461" y="0"/>
                      <a:pt x="456" y="5"/>
                      <a:pt x="456" y="12"/>
                    </a:cubicBezTo>
                    <a:cubicBezTo>
                      <a:pt x="456" y="19"/>
                      <a:pt x="461" y="24"/>
                      <a:pt x="468" y="24"/>
                    </a:cubicBezTo>
                    <a:cubicBezTo>
                      <a:pt x="475" y="24"/>
                      <a:pt x="480" y="19"/>
                      <a:pt x="480" y="12"/>
                    </a:cubicBezTo>
                    <a:cubicBezTo>
                      <a:pt x="480" y="5"/>
                      <a:pt x="475" y="0"/>
                      <a:pt x="468" y="0"/>
                    </a:cubicBezTo>
                    <a:close/>
                    <a:moveTo>
                      <a:pt x="468" y="30"/>
                    </a:moveTo>
                    <a:cubicBezTo>
                      <a:pt x="461" y="30"/>
                      <a:pt x="456" y="36"/>
                      <a:pt x="456" y="43"/>
                    </a:cubicBezTo>
                    <a:cubicBezTo>
                      <a:pt x="456" y="49"/>
                      <a:pt x="461" y="55"/>
                      <a:pt x="468" y="55"/>
                    </a:cubicBezTo>
                    <a:cubicBezTo>
                      <a:pt x="475" y="55"/>
                      <a:pt x="480" y="49"/>
                      <a:pt x="480" y="43"/>
                    </a:cubicBezTo>
                    <a:cubicBezTo>
                      <a:pt x="480" y="36"/>
                      <a:pt x="475" y="30"/>
                      <a:pt x="468" y="30"/>
                    </a:cubicBezTo>
                    <a:close/>
                    <a:moveTo>
                      <a:pt x="398" y="153"/>
                    </a:moveTo>
                    <a:cubicBezTo>
                      <a:pt x="391" y="153"/>
                      <a:pt x="386" y="159"/>
                      <a:pt x="386" y="166"/>
                    </a:cubicBezTo>
                    <a:cubicBezTo>
                      <a:pt x="386" y="172"/>
                      <a:pt x="391" y="178"/>
                      <a:pt x="398" y="178"/>
                    </a:cubicBezTo>
                    <a:cubicBezTo>
                      <a:pt x="405" y="178"/>
                      <a:pt x="410" y="172"/>
                      <a:pt x="410" y="166"/>
                    </a:cubicBezTo>
                    <a:cubicBezTo>
                      <a:pt x="410" y="159"/>
                      <a:pt x="405" y="153"/>
                      <a:pt x="398" y="153"/>
                    </a:cubicBezTo>
                    <a:close/>
                    <a:moveTo>
                      <a:pt x="433" y="123"/>
                    </a:moveTo>
                    <a:cubicBezTo>
                      <a:pt x="426" y="123"/>
                      <a:pt x="421" y="128"/>
                      <a:pt x="421" y="135"/>
                    </a:cubicBezTo>
                    <a:cubicBezTo>
                      <a:pt x="421" y="141"/>
                      <a:pt x="426" y="147"/>
                      <a:pt x="433" y="147"/>
                    </a:cubicBezTo>
                    <a:cubicBezTo>
                      <a:pt x="440" y="147"/>
                      <a:pt x="445" y="141"/>
                      <a:pt x="445" y="135"/>
                    </a:cubicBezTo>
                    <a:cubicBezTo>
                      <a:pt x="445" y="128"/>
                      <a:pt x="440" y="123"/>
                      <a:pt x="433" y="123"/>
                    </a:cubicBezTo>
                    <a:close/>
                    <a:moveTo>
                      <a:pt x="153" y="92"/>
                    </a:moveTo>
                    <a:cubicBezTo>
                      <a:pt x="146" y="92"/>
                      <a:pt x="141" y="97"/>
                      <a:pt x="141" y="104"/>
                    </a:cubicBezTo>
                    <a:cubicBezTo>
                      <a:pt x="141" y="111"/>
                      <a:pt x="146" y="116"/>
                      <a:pt x="153" y="116"/>
                    </a:cubicBezTo>
                    <a:cubicBezTo>
                      <a:pt x="160" y="116"/>
                      <a:pt x="165" y="111"/>
                      <a:pt x="165" y="104"/>
                    </a:cubicBezTo>
                    <a:cubicBezTo>
                      <a:pt x="165" y="97"/>
                      <a:pt x="160" y="92"/>
                      <a:pt x="153" y="92"/>
                    </a:cubicBezTo>
                    <a:close/>
                    <a:moveTo>
                      <a:pt x="153" y="123"/>
                    </a:moveTo>
                    <a:cubicBezTo>
                      <a:pt x="146" y="123"/>
                      <a:pt x="141" y="128"/>
                      <a:pt x="141" y="135"/>
                    </a:cubicBezTo>
                    <a:cubicBezTo>
                      <a:pt x="141" y="141"/>
                      <a:pt x="146" y="147"/>
                      <a:pt x="153" y="147"/>
                    </a:cubicBezTo>
                    <a:cubicBezTo>
                      <a:pt x="160" y="147"/>
                      <a:pt x="165" y="141"/>
                      <a:pt x="165" y="135"/>
                    </a:cubicBezTo>
                    <a:cubicBezTo>
                      <a:pt x="165" y="128"/>
                      <a:pt x="160" y="123"/>
                      <a:pt x="153" y="123"/>
                    </a:cubicBezTo>
                    <a:close/>
                    <a:moveTo>
                      <a:pt x="153" y="153"/>
                    </a:moveTo>
                    <a:cubicBezTo>
                      <a:pt x="146" y="153"/>
                      <a:pt x="141" y="159"/>
                      <a:pt x="141" y="166"/>
                    </a:cubicBezTo>
                    <a:cubicBezTo>
                      <a:pt x="141" y="172"/>
                      <a:pt x="146" y="178"/>
                      <a:pt x="153" y="178"/>
                    </a:cubicBezTo>
                    <a:cubicBezTo>
                      <a:pt x="160" y="178"/>
                      <a:pt x="165" y="172"/>
                      <a:pt x="165" y="166"/>
                    </a:cubicBezTo>
                    <a:cubicBezTo>
                      <a:pt x="165" y="159"/>
                      <a:pt x="160" y="153"/>
                      <a:pt x="153" y="153"/>
                    </a:cubicBezTo>
                    <a:close/>
                    <a:moveTo>
                      <a:pt x="153" y="184"/>
                    </a:moveTo>
                    <a:cubicBezTo>
                      <a:pt x="146" y="184"/>
                      <a:pt x="141" y="190"/>
                      <a:pt x="141" y="196"/>
                    </a:cubicBezTo>
                    <a:cubicBezTo>
                      <a:pt x="141" y="203"/>
                      <a:pt x="146" y="208"/>
                      <a:pt x="153" y="208"/>
                    </a:cubicBezTo>
                    <a:cubicBezTo>
                      <a:pt x="160" y="208"/>
                      <a:pt x="165" y="203"/>
                      <a:pt x="165" y="196"/>
                    </a:cubicBezTo>
                    <a:cubicBezTo>
                      <a:pt x="165" y="190"/>
                      <a:pt x="160" y="184"/>
                      <a:pt x="153" y="184"/>
                    </a:cubicBezTo>
                    <a:close/>
                    <a:moveTo>
                      <a:pt x="293" y="153"/>
                    </a:moveTo>
                    <a:cubicBezTo>
                      <a:pt x="286" y="153"/>
                      <a:pt x="281" y="159"/>
                      <a:pt x="281" y="166"/>
                    </a:cubicBezTo>
                    <a:cubicBezTo>
                      <a:pt x="281" y="172"/>
                      <a:pt x="286" y="178"/>
                      <a:pt x="293" y="178"/>
                    </a:cubicBezTo>
                    <a:cubicBezTo>
                      <a:pt x="300" y="178"/>
                      <a:pt x="305" y="172"/>
                      <a:pt x="305" y="166"/>
                    </a:cubicBezTo>
                    <a:cubicBezTo>
                      <a:pt x="305" y="159"/>
                      <a:pt x="300" y="153"/>
                      <a:pt x="293" y="153"/>
                    </a:cubicBezTo>
                    <a:close/>
                    <a:moveTo>
                      <a:pt x="503" y="0"/>
                    </a:moveTo>
                    <a:cubicBezTo>
                      <a:pt x="496" y="0"/>
                      <a:pt x="491" y="5"/>
                      <a:pt x="491" y="12"/>
                    </a:cubicBezTo>
                    <a:cubicBezTo>
                      <a:pt x="491" y="19"/>
                      <a:pt x="496" y="24"/>
                      <a:pt x="503" y="24"/>
                    </a:cubicBezTo>
                    <a:cubicBezTo>
                      <a:pt x="510" y="24"/>
                      <a:pt x="515" y="19"/>
                      <a:pt x="515" y="12"/>
                    </a:cubicBezTo>
                    <a:cubicBezTo>
                      <a:pt x="515" y="5"/>
                      <a:pt x="510" y="0"/>
                      <a:pt x="503" y="0"/>
                    </a:cubicBezTo>
                    <a:close/>
                    <a:moveTo>
                      <a:pt x="503" y="30"/>
                    </a:moveTo>
                    <a:cubicBezTo>
                      <a:pt x="496" y="30"/>
                      <a:pt x="491" y="36"/>
                      <a:pt x="491" y="43"/>
                    </a:cubicBezTo>
                    <a:cubicBezTo>
                      <a:pt x="491" y="49"/>
                      <a:pt x="496" y="55"/>
                      <a:pt x="503" y="55"/>
                    </a:cubicBezTo>
                    <a:cubicBezTo>
                      <a:pt x="510" y="55"/>
                      <a:pt x="515" y="49"/>
                      <a:pt x="515" y="43"/>
                    </a:cubicBezTo>
                    <a:cubicBezTo>
                      <a:pt x="515" y="36"/>
                      <a:pt x="510" y="30"/>
                      <a:pt x="503" y="30"/>
                    </a:cubicBezTo>
                    <a:close/>
                    <a:moveTo>
                      <a:pt x="503" y="61"/>
                    </a:moveTo>
                    <a:cubicBezTo>
                      <a:pt x="496" y="61"/>
                      <a:pt x="491" y="67"/>
                      <a:pt x="491" y="73"/>
                    </a:cubicBezTo>
                    <a:cubicBezTo>
                      <a:pt x="491" y="80"/>
                      <a:pt x="496" y="85"/>
                      <a:pt x="503" y="85"/>
                    </a:cubicBezTo>
                    <a:cubicBezTo>
                      <a:pt x="510" y="85"/>
                      <a:pt x="515" y="80"/>
                      <a:pt x="515" y="73"/>
                    </a:cubicBezTo>
                    <a:cubicBezTo>
                      <a:pt x="515" y="67"/>
                      <a:pt x="510" y="61"/>
                      <a:pt x="503" y="61"/>
                    </a:cubicBezTo>
                    <a:close/>
                    <a:moveTo>
                      <a:pt x="503" y="92"/>
                    </a:moveTo>
                    <a:cubicBezTo>
                      <a:pt x="496" y="92"/>
                      <a:pt x="491" y="97"/>
                      <a:pt x="491" y="104"/>
                    </a:cubicBezTo>
                    <a:cubicBezTo>
                      <a:pt x="491" y="111"/>
                      <a:pt x="496" y="116"/>
                      <a:pt x="503" y="116"/>
                    </a:cubicBezTo>
                    <a:cubicBezTo>
                      <a:pt x="510" y="116"/>
                      <a:pt x="515" y="111"/>
                      <a:pt x="515" y="104"/>
                    </a:cubicBezTo>
                    <a:cubicBezTo>
                      <a:pt x="515" y="97"/>
                      <a:pt x="510" y="92"/>
                      <a:pt x="503" y="92"/>
                    </a:cubicBezTo>
                    <a:close/>
                    <a:moveTo>
                      <a:pt x="83" y="123"/>
                    </a:moveTo>
                    <a:cubicBezTo>
                      <a:pt x="76" y="123"/>
                      <a:pt x="71" y="128"/>
                      <a:pt x="71" y="135"/>
                    </a:cubicBezTo>
                    <a:cubicBezTo>
                      <a:pt x="71" y="141"/>
                      <a:pt x="76" y="147"/>
                      <a:pt x="83" y="147"/>
                    </a:cubicBezTo>
                    <a:cubicBezTo>
                      <a:pt x="89" y="147"/>
                      <a:pt x="95" y="141"/>
                      <a:pt x="95" y="135"/>
                    </a:cubicBezTo>
                    <a:cubicBezTo>
                      <a:pt x="95" y="128"/>
                      <a:pt x="89" y="123"/>
                      <a:pt x="83" y="123"/>
                    </a:cubicBezTo>
                    <a:close/>
                    <a:moveTo>
                      <a:pt x="83" y="153"/>
                    </a:moveTo>
                    <a:cubicBezTo>
                      <a:pt x="76" y="153"/>
                      <a:pt x="71" y="159"/>
                      <a:pt x="71" y="166"/>
                    </a:cubicBezTo>
                    <a:cubicBezTo>
                      <a:pt x="71" y="172"/>
                      <a:pt x="76" y="178"/>
                      <a:pt x="83" y="178"/>
                    </a:cubicBezTo>
                    <a:cubicBezTo>
                      <a:pt x="89" y="178"/>
                      <a:pt x="95" y="172"/>
                      <a:pt x="95" y="166"/>
                    </a:cubicBezTo>
                    <a:cubicBezTo>
                      <a:pt x="95" y="159"/>
                      <a:pt x="89" y="153"/>
                      <a:pt x="83" y="153"/>
                    </a:cubicBezTo>
                    <a:close/>
                    <a:moveTo>
                      <a:pt x="83" y="215"/>
                    </a:moveTo>
                    <a:cubicBezTo>
                      <a:pt x="76" y="215"/>
                      <a:pt x="71" y="220"/>
                      <a:pt x="71" y="227"/>
                    </a:cubicBezTo>
                    <a:cubicBezTo>
                      <a:pt x="71" y="234"/>
                      <a:pt x="76" y="239"/>
                      <a:pt x="83" y="239"/>
                    </a:cubicBezTo>
                    <a:cubicBezTo>
                      <a:pt x="89" y="239"/>
                      <a:pt x="95" y="234"/>
                      <a:pt x="95" y="227"/>
                    </a:cubicBezTo>
                    <a:cubicBezTo>
                      <a:pt x="95" y="220"/>
                      <a:pt x="89" y="215"/>
                      <a:pt x="83" y="215"/>
                    </a:cubicBezTo>
                    <a:close/>
                    <a:moveTo>
                      <a:pt x="83" y="184"/>
                    </a:moveTo>
                    <a:cubicBezTo>
                      <a:pt x="76" y="184"/>
                      <a:pt x="71" y="190"/>
                      <a:pt x="71" y="196"/>
                    </a:cubicBezTo>
                    <a:cubicBezTo>
                      <a:pt x="71" y="203"/>
                      <a:pt x="76" y="208"/>
                      <a:pt x="83" y="208"/>
                    </a:cubicBezTo>
                    <a:cubicBezTo>
                      <a:pt x="89" y="208"/>
                      <a:pt x="95" y="203"/>
                      <a:pt x="95" y="196"/>
                    </a:cubicBezTo>
                    <a:cubicBezTo>
                      <a:pt x="95" y="190"/>
                      <a:pt x="89" y="184"/>
                      <a:pt x="83" y="184"/>
                    </a:cubicBezTo>
                    <a:close/>
                    <a:moveTo>
                      <a:pt x="83" y="246"/>
                    </a:moveTo>
                    <a:cubicBezTo>
                      <a:pt x="76" y="246"/>
                      <a:pt x="71" y="251"/>
                      <a:pt x="71" y="258"/>
                    </a:cubicBezTo>
                    <a:cubicBezTo>
                      <a:pt x="71" y="264"/>
                      <a:pt x="76" y="270"/>
                      <a:pt x="83" y="270"/>
                    </a:cubicBezTo>
                    <a:cubicBezTo>
                      <a:pt x="89" y="270"/>
                      <a:pt x="95" y="264"/>
                      <a:pt x="95" y="258"/>
                    </a:cubicBezTo>
                    <a:cubicBezTo>
                      <a:pt x="95" y="251"/>
                      <a:pt x="89" y="246"/>
                      <a:pt x="83" y="246"/>
                    </a:cubicBezTo>
                    <a:close/>
                    <a:moveTo>
                      <a:pt x="118" y="92"/>
                    </a:moveTo>
                    <a:cubicBezTo>
                      <a:pt x="111" y="92"/>
                      <a:pt x="106" y="97"/>
                      <a:pt x="106" y="104"/>
                    </a:cubicBezTo>
                    <a:cubicBezTo>
                      <a:pt x="106" y="111"/>
                      <a:pt x="111" y="116"/>
                      <a:pt x="118" y="116"/>
                    </a:cubicBezTo>
                    <a:cubicBezTo>
                      <a:pt x="124" y="116"/>
                      <a:pt x="130" y="111"/>
                      <a:pt x="130" y="104"/>
                    </a:cubicBezTo>
                    <a:cubicBezTo>
                      <a:pt x="130" y="97"/>
                      <a:pt x="124" y="92"/>
                      <a:pt x="118" y="92"/>
                    </a:cubicBezTo>
                    <a:close/>
                    <a:moveTo>
                      <a:pt x="118" y="123"/>
                    </a:moveTo>
                    <a:cubicBezTo>
                      <a:pt x="111" y="123"/>
                      <a:pt x="106" y="128"/>
                      <a:pt x="106" y="135"/>
                    </a:cubicBezTo>
                    <a:cubicBezTo>
                      <a:pt x="106" y="141"/>
                      <a:pt x="111" y="147"/>
                      <a:pt x="118" y="147"/>
                    </a:cubicBezTo>
                    <a:cubicBezTo>
                      <a:pt x="124" y="147"/>
                      <a:pt x="130" y="141"/>
                      <a:pt x="130" y="135"/>
                    </a:cubicBezTo>
                    <a:cubicBezTo>
                      <a:pt x="130" y="128"/>
                      <a:pt x="124" y="123"/>
                      <a:pt x="118" y="123"/>
                    </a:cubicBezTo>
                    <a:close/>
                    <a:moveTo>
                      <a:pt x="118" y="153"/>
                    </a:moveTo>
                    <a:cubicBezTo>
                      <a:pt x="111" y="153"/>
                      <a:pt x="106" y="159"/>
                      <a:pt x="106" y="166"/>
                    </a:cubicBezTo>
                    <a:cubicBezTo>
                      <a:pt x="106" y="172"/>
                      <a:pt x="111" y="178"/>
                      <a:pt x="118" y="178"/>
                    </a:cubicBezTo>
                    <a:cubicBezTo>
                      <a:pt x="124" y="178"/>
                      <a:pt x="130" y="172"/>
                      <a:pt x="130" y="166"/>
                    </a:cubicBezTo>
                    <a:cubicBezTo>
                      <a:pt x="130" y="159"/>
                      <a:pt x="124" y="153"/>
                      <a:pt x="118" y="153"/>
                    </a:cubicBezTo>
                    <a:close/>
                    <a:moveTo>
                      <a:pt x="118" y="246"/>
                    </a:moveTo>
                    <a:cubicBezTo>
                      <a:pt x="111" y="246"/>
                      <a:pt x="106" y="251"/>
                      <a:pt x="106" y="258"/>
                    </a:cubicBezTo>
                    <a:cubicBezTo>
                      <a:pt x="106" y="264"/>
                      <a:pt x="111" y="270"/>
                      <a:pt x="118" y="270"/>
                    </a:cubicBezTo>
                    <a:cubicBezTo>
                      <a:pt x="124" y="270"/>
                      <a:pt x="130" y="264"/>
                      <a:pt x="130" y="258"/>
                    </a:cubicBezTo>
                    <a:cubicBezTo>
                      <a:pt x="130" y="251"/>
                      <a:pt x="124" y="246"/>
                      <a:pt x="118" y="246"/>
                    </a:cubicBezTo>
                    <a:close/>
                    <a:moveTo>
                      <a:pt x="118" y="184"/>
                    </a:moveTo>
                    <a:cubicBezTo>
                      <a:pt x="111" y="184"/>
                      <a:pt x="106" y="190"/>
                      <a:pt x="106" y="196"/>
                    </a:cubicBezTo>
                    <a:cubicBezTo>
                      <a:pt x="106" y="203"/>
                      <a:pt x="111" y="208"/>
                      <a:pt x="118" y="208"/>
                    </a:cubicBezTo>
                    <a:cubicBezTo>
                      <a:pt x="124" y="208"/>
                      <a:pt x="130" y="203"/>
                      <a:pt x="130" y="196"/>
                    </a:cubicBezTo>
                    <a:cubicBezTo>
                      <a:pt x="130" y="190"/>
                      <a:pt x="124" y="184"/>
                      <a:pt x="118" y="184"/>
                    </a:cubicBezTo>
                    <a:close/>
                    <a:moveTo>
                      <a:pt x="118" y="215"/>
                    </a:moveTo>
                    <a:cubicBezTo>
                      <a:pt x="111" y="215"/>
                      <a:pt x="106" y="220"/>
                      <a:pt x="106" y="227"/>
                    </a:cubicBezTo>
                    <a:cubicBezTo>
                      <a:pt x="106" y="234"/>
                      <a:pt x="111" y="239"/>
                      <a:pt x="118" y="239"/>
                    </a:cubicBezTo>
                    <a:cubicBezTo>
                      <a:pt x="124" y="239"/>
                      <a:pt x="130" y="234"/>
                      <a:pt x="130" y="227"/>
                    </a:cubicBezTo>
                    <a:cubicBezTo>
                      <a:pt x="130" y="220"/>
                      <a:pt x="124" y="215"/>
                      <a:pt x="118" y="215"/>
                    </a:cubicBezTo>
                    <a:close/>
                    <a:moveTo>
                      <a:pt x="48" y="276"/>
                    </a:moveTo>
                    <a:cubicBezTo>
                      <a:pt x="41" y="276"/>
                      <a:pt x="35" y="282"/>
                      <a:pt x="35" y="288"/>
                    </a:cubicBezTo>
                    <a:cubicBezTo>
                      <a:pt x="35" y="295"/>
                      <a:pt x="41" y="301"/>
                      <a:pt x="48" y="301"/>
                    </a:cubicBezTo>
                    <a:cubicBezTo>
                      <a:pt x="54" y="301"/>
                      <a:pt x="60" y="295"/>
                      <a:pt x="60" y="288"/>
                    </a:cubicBezTo>
                    <a:cubicBezTo>
                      <a:pt x="60" y="282"/>
                      <a:pt x="54" y="276"/>
                      <a:pt x="48" y="276"/>
                    </a:cubicBezTo>
                    <a:close/>
                    <a:moveTo>
                      <a:pt x="48" y="246"/>
                    </a:moveTo>
                    <a:cubicBezTo>
                      <a:pt x="41" y="246"/>
                      <a:pt x="35" y="251"/>
                      <a:pt x="35" y="258"/>
                    </a:cubicBezTo>
                    <a:cubicBezTo>
                      <a:pt x="35" y="264"/>
                      <a:pt x="41" y="270"/>
                      <a:pt x="48" y="270"/>
                    </a:cubicBezTo>
                    <a:cubicBezTo>
                      <a:pt x="54" y="270"/>
                      <a:pt x="60" y="264"/>
                      <a:pt x="60" y="258"/>
                    </a:cubicBezTo>
                    <a:cubicBezTo>
                      <a:pt x="60" y="251"/>
                      <a:pt x="54" y="246"/>
                      <a:pt x="48" y="246"/>
                    </a:cubicBezTo>
                    <a:close/>
                    <a:moveTo>
                      <a:pt x="83" y="276"/>
                    </a:moveTo>
                    <a:cubicBezTo>
                      <a:pt x="76" y="276"/>
                      <a:pt x="71" y="282"/>
                      <a:pt x="71" y="288"/>
                    </a:cubicBezTo>
                    <a:cubicBezTo>
                      <a:pt x="71" y="295"/>
                      <a:pt x="76" y="301"/>
                      <a:pt x="83" y="301"/>
                    </a:cubicBezTo>
                    <a:cubicBezTo>
                      <a:pt x="89" y="301"/>
                      <a:pt x="95" y="295"/>
                      <a:pt x="95" y="288"/>
                    </a:cubicBezTo>
                    <a:cubicBezTo>
                      <a:pt x="95" y="282"/>
                      <a:pt x="89" y="276"/>
                      <a:pt x="83" y="276"/>
                    </a:cubicBezTo>
                    <a:close/>
                    <a:moveTo>
                      <a:pt x="48" y="215"/>
                    </a:moveTo>
                    <a:cubicBezTo>
                      <a:pt x="41" y="215"/>
                      <a:pt x="35" y="220"/>
                      <a:pt x="35" y="227"/>
                    </a:cubicBezTo>
                    <a:cubicBezTo>
                      <a:pt x="35" y="234"/>
                      <a:pt x="41" y="239"/>
                      <a:pt x="48" y="239"/>
                    </a:cubicBezTo>
                    <a:cubicBezTo>
                      <a:pt x="54" y="239"/>
                      <a:pt x="60" y="234"/>
                      <a:pt x="60" y="227"/>
                    </a:cubicBezTo>
                    <a:cubicBezTo>
                      <a:pt x="60" y="220"/>
                      <a:pt x="54" y="215"/>
                      <a:pt x="48" y="215"/>
                    </a:cubicBezTo>
                    <a:close/>
                    <a:moveTo>
                      <a:pt x="48" y="184"/>
                    </a:moveTo>
                    <a:cubicBezTo>
                      <a:pt x="41" y="184"/>
                      <a:pt x="35" y="190"/>
                      <a:pt x="35" y="196"/>
                    </a:cubicBezTo>
                    <a:cubicBezTo>
                      <a:pt x="35" y="203"/>
                      <a:pt x="41" y="208"/>
                      <a:pt x="48" y="208"/>
                    </a:cubicBezTo>
                    <a:cubicBezTo>
                      <a:pt x="54" y="208"/>
                      <a:pt x="60" y="203"/>
                      <a:pt x="60" y="196"/>
                    </a:cubicBezTo>
                    <a:cubicBezTo>
                      <a:pt x="60" y="190"/>
                      <a:pt x="54" y="184"/>
                      <a:pt x="48" y="184"/>
                    </a:cubicBezTo>
                    <a:close/>
                    <a:moveTo>
                      <a:pt x="83" y="307"/>
                    </a:moveTo>
                    <a:cubicBezTo>
                      <a:pt x="76" y="307"/>
                      <a:pt x="71" y="313"/>
                      <a:pt x="71" y="319"/>
                    </a:cubicBezTo>
                    <a:cubicBezTo>
                      <a:pt x="71" y="326"/>
                      <a:pt x="76" y="331"/>
                      <a:pt x="83" y="331"/>
                    </a:cubicBezTo>
                    <a:cubicBezTo>
                      <a:pt x="89" y="331"/>
                      <a:pt x="95" y="326"/>
                      <a:pt x="95" y="319"/>
                    </a:cubicBezTo>
                    <a:cubicBezTo>
                      <a:pt x="95" y="313"/>
                      <a:pt x="89" y="307"/>
                      <a:pt x="83" y="307"/>
                    </a:cubicBezTo>
                    <a:close/>
                    <a:moveTo>
                      <a:pt x="13" y="276"/>
                    </a:moveTo>
                    <a:cubicBezTo>
                      <a:pt x="6" y="276"/>
                      <a:pt x="0" y="282"/>
                      <a:pt x="0" y="288"/>
                    </a:cubicBezTo>
                    <a:cubicBezTo>
                      <a:pt x="0" y="295"/>
                      <a:pt x="6" y="301"/>
                      <a:pt x="13" y="301"/>
                    </a:cubicBezTo>
                    <a:cubicBezTo>
                      <a:pt x="19" y="301"/>
                      <a:pt x="25" y="295"/>
                      <a:pt x="25" y="288"/>
                    </a:cubicBezTo>
                    <a:cubicBezTo>
                      <a:pt x="25" y="282"/>
                      <a:pt x="19" y="276"/>
                      <a:pt x="13" y="276"/>
                    </a:cubicBezTo>
                    <a:close/>
                    <a:moveTo>
                      <a:pt x="48" y="338"/>
                    </a:moveTo>
                    <a:cubicBezTo>
                      <a:pt x="41" y="338"/>
                      <a:pt x="35" y="343"/>
                      <a:pt x="35" y="350"/>
                    </a:cubicBezTo>
                    <a:cubicBezTo>
                      <a:pt x="35" y="357"/>
                      <a:pt x="41" y="362"/>
                      <a:pt x="48" y="362"/>
                    </a:cubicBezTo>
                    <a:cubicBezTo>
                      <a:pt x="54" y="362"/>
                      <a:pt x="60" y="357"/>
                      <a:pt x="60" y="350"/>
                    </a:cubicBezTo>
                    <a:cubicBezTo>
                      <a:pt x="60" y="343"/>
                      <a:pt x="54" y="338"/>
                      <a:pt x="48" y="338"/>
                    </a:cubicBezTo>
                    <a:close/>
                  </a:path>
                </a:pathLst>
              </a:custGeom>
              <a:solidFill>
                <a:srgbClr val="FFFFFF"/>
              </a:solidFill>
              <a:ln>
                <a:noFill/>
              </a:ln>
              <a:extLst/>
            </p:spPr>
            <p:txBody>
              <a:bodyPr/>
              <a:lstStyle/>
              <a:p>
                <a:pPr>
                  <a:spcBef>
                    <a:spcPct val="50000"/>
                  </a:spcBef>
                  <a:defRPr/>
                </a:pPr>
                <a:endParaRPr lang="en-US">
                  <a:solidFill>
                    <a:srgbClr val="00A9D4"/>
                  </a:solidFill>
                  <a:latin typeface="Arial" charset="0"/>
                  <a:cs typeface="Arial" pitchFamily="34" charset="0"/>
                </a:endParaRPr>
              </a:p>
            </p:txBody>
          </p:sp>
          <p:sp>
            <p:nvSpPr>
              <p:cNvPr id="46" name="Freeform 9"/>
              <p:cNvSpPr>
                <a:spLocks noChangeAspect="1" noEditPoints="1"/>
              </p:cNvSpPr>
              <p:nvPr/>
            </p:nvSpPr>
            <p:spPr bwMode="auto">
              <a:xfrm>
                <a:off x="4032250" y="2552700"/>
                <a:ext cx="1266825" cy="936625"/>
              </a:xfrm>
              <a:custGeom>
                <a:avLst/>
                <a:gdLst>
                  <a:gd name="T0" fmla="*/ 2147483647 w 655"/>
                  <a:gd name="T1" fmla="*/ 2147483647 h 485"/>
                  <a:gd name="T2" fmla="*/ 2147483647 w 655"/>
                  <a:gd name="T3" fmla="*/ 2147483647 h 485"/>
                  <a:gd name="T4" fmla="*/ 2147483647 w 655"/>
                  <a:gd name="T5" fmla="*/ 2147483647 h 485"/>
                  <a:gd name="T6" fmla="*/ 2147483647 w 655"/>
                  <a:gd name="T7" fmla="*/ 2147483647 h 485"/>
                  <a:gd name="T8" fmla="*/ 2147483647 w 655"/>
                  <a:gd name="T9" fmla="*/ 2147483647 h 485"/>
                  <a:gd name="T10" fmla="*/ 2147483647 w 655"/>
                  <a:gd name="T11" fmla="*/ 2147483647 h 485"/>
                  <a:gd name="T12" fmla="*/ 2147483647 w 655"/>
                  <a:gd name="T13" fmla="*/ 2147483647 h 485"/>
                  <a:gd name="T14" fmla="*/ 2147483647 w 655"/>
                  <a:gd name="T15" fmla="*/ 2147483647 h 485"/>
                  <a:gd name="T16" fmla="*/ 2147483647 w 655"/>
                  <a:gd name="T17" fmla="*/ 2147483647 h 485"/>
                  <a:gd name="T18" fmla="*/ 2147483647 w 655"/>
                  <a:gd name="T19" fmla="*/ 2147483647 h 485"/>
                  <a:gd name="T20" fmla="*/ 2147483647 w 655"/>
                  <a:gd name="T21" fmla="*/ 2147483647 h 485"/>
                  <a:gd name="T22" fmla="*/ 2147483647 w 655"/>
                  <a:gd name="T23" fmla="*/ 2147483647 h 485"/>
                  <a:gd name="T24" fmla="*/ 2147483647 w 655"/>
                  <a:gd name="T25" fmla="*/ 2147483647 h 485"/>
                  <a:gd name="T26" fmla="*/ 2147483647 w 655"/>
                  <a:gd name="T27" fmla="*/ 2147483647 h 485"/>
                  <a:gd name="T28" fmla="*/ 2147483647 w 655"/>
                  <a:gd name="T29" fmla="*/ 2147483647 h 485"/>
                  <a:gd name="T30" fmla="*/ 2147483647 w 655"/>
                  <a:gd name="T31" fmla="*/ 2147483647 h 485"/>
                  <a:gd name="T32" fmla="*/ 2147483647 w 655"/>
                  <a:gd name="T33" fmla="*/ 2147483647 h 485"/>
                  <a:gd name="T34" fmla="*/ 2147483647 w 655"/>
                  <a:gd name="T35" fmla="*/ 2147483647 h 485"/>
                  <a:gd name="T36" fmla="*/ 2147483647 w 655"/>
                  <a:gd name="T37" fmla="*/ 2147483647 h 485"/>
                  <a:gd name="T38" fmla="*/ 2147483647 w 655"/>
                  <a:gd name="T39" fmla="*/ 2147483647 h 485"/>
                  <a:gd name="T40" fmla="*/ 2147483647 w 655"/>
                  <a:gd name="T41" fmla="*/ 2147483647 h 485"/>
                  <a:gd name="T42" fmla="*/ 2147483647 w 655"/>
                  <a:gd name="T43" fmla="*/ 2147483647 h 485"/>
                  <a:gd name="T44" fmla="*/ 2147483647 w 655"/>
                  <a:gd name="T45" fmla="*/ 2147483647 h 485"/>
                  <a:gd name="T46" fmla="*/ 2147483647 w 655"/>
                  <a:gd name="T47" fmla="*/ 2147483647 h 485"/>
                  <a:gd name="T48" fmla="*/ 2147483647 w 655"/>
                  <a:gd name="T49" fmla="*/ 2147483647 h 485"/>
                  <a:gd name="T50" fmla="*/ 2147483647 w 655"/>
                  <a:gd name="T51" fmla="*/ 2147483647 h 485"/>
                  <a:gd name="T52" fmla="*/ 2147483647 w 655"/>
                  <a:gd name="T53" fmla="*/ 2147483647 h 485"/>
                  <a:gd name="T54" fmla="*/ 2147483647 w 655"/>
                  <a:gd name="T55" fmla="*/ 2147483647 h 485"/>
                  <a:gd name="T56" fmla="*/ 2147483647 w 655"/>
                  <a:gd name="T57" fmla="*/ 2147483647 h 485"/>
                  <a:gd name="T58" fmla="*/ 2147483647 w 655"/>
                  <a:gd name="T59" fmla="*/ 2147483647 h 485"/>
                  <a:gd name="T60" fmla="*/ 2147483647 w 655"/>
                  <a:gd name="T61" fmla="*/ 2147483647 h 485"/>
                  <a:gd name="T62" fmla="*/ 2147483647 w 655"/>
                  <a:gd name="T63" fmla="*/ 2147483647 h 485"/>
                  <a:gd name="T64" fmla="*/ 2147483647 w 655"/>
                  <a:gd name="T65" fmla="*/ 2147483647 h 485"/>
                  <a:gd name="T66" fmla="*/ 2147483647 w 655"/>
                  <a:gd name="T67" fmla="*/ 2147483647 h 485"/>
                  <a:gd name="T68" fmla="*/ 2147483647 w 655"/>
                  <a:gd name="T69" fmla="*/ 0 h 485"/>
                  <a:gd name="T70" fmla="*/ 2147483647 w 655"/>
                  <a:gd name="T71" fmla="*/ 2147483647 h 485"/>
                  <a:gd name="T72" fmla="*/ 2147483647 w 655"/>
                  <a:gd name="T73" fmla="*/ 2147483647 h 485"/>
                  <a:gd name="T74" fmla="*/ 2147483647 w 655"/>
                  <a:gd name="T75" fmla="*/ 2147483647 h 485"/>
                  <a:gd name="T76" fmla="*/ 2147483647 w 655"/>
                  <a:gd name="T77" fmla="*/ 2147483647 h 485"/>
                  <a:gd name="T78" fmla="*/ 2147483647 w 655"/>
                  <a:gd name="T79" fmla="*/ 2147483647 h 485"/>
                  <a:gd name="T80" fmla="*/ 2147483647 w 655"/>
                  <a:gd name="T81" fmla="*/ 2147483647 h 485"/>
                  <a:gd name="T82" fmla="*/ 2147483647 w 655"/>
                  <a:gd name="T83" fmla="*/ 2147483647 h 485"/>
                  <a:gd name="T84" fmla="*/ 2147483647 w 655"/>
                  <a:gd name="T85" fmla="*/ 2147483647 h 485"/>
                  <a:gd name="T86" fmla="*/ 2147483647 w 655"/>
                  <a:gd name="T87" fmla="*/ 2147483647 h 485"/>
                  <a:gd name="T88" fmla="*/ 2147483647 w 655"/>
                  <a:gd name="T89" fmla="*/ 2147483647 h 485"/>
                  <a:gd name="T90" fmla="*/ 2147483647 w 655"/>
                  <a:gd name="T91" fmla="*/ 2147483647 h 485"/>
                  <a:gd name="T92" fmla="*/ 2147483647 w 655"/>
                  <a:gd name="T93" fmla="*/ 2147483647 h 485"/>
                  <a:gd name="T94" fmla="*/ 2147483647 w 655"/>
                  <a:gd name="T95" fmla="*/ 2147483647 h 485"/>
                  <a:gd name="T96" fmla="*/ 2147483647 w 655"/>
                  <a:gd name="T97" fmla="*/ 2147483647 h 485"/>
                  <a:gd name="T98" fmla="*/ 2147483647 w 655"/>
                  <a:gd name="T99" fmla="*/ 2147483647 h 485"/>
                  <a:gd name="T100" fmla="*/ 2147483647 w 655"/>
                  <a:gd name="T101" fmla="*/ 2147483647 h 485"/>
                  <a:gd name="T102" fmla="*/ 2147483647 w 655"/>
                  <a:gd name="T103" fmla="*/ 2147483647 h 485"/>
                  <a:gd name="T104" fmla="*/ 2147483647 w 655"/>
                  <a:gd name="T105" fmla="*/ 2147483647 h 485"/>
                  <a:gd name="T106" fmla="*/ 2147483647 w 655"/>
                  <a:gd name="T107" fmla="*/ 2147483647 h 485"/>
                  <a:gd name="T108" fmla="*/ 2147483647 w 655"/>
                  <a:gd name="T109" fmla="*/ 2147483647 h 485"/>
                  <a:gd name="T110" fmla="*/ 2147483647 w 655"/>
                  <a:gd name="T111" fmla="*/ 2147483647 h 485"/>
                  <a:gd name="T112" fmla="*/ 2147483647 w 655"/>
                  <a:gd name="T113" fmla="*/ 2147483647 h 485"/>
                  <a:gd name="T114" fmla="*/ 2147483647 w 655"/>
                  <a:gd name="T115" fmla="*/ 2147483647 h 485"/>
                  <a:gd name="T116" fmla="*/ 2147483647 w 655"/>
                  <a:gd name="T117" fmla="*/ 2147483647 h 485"/>
                  <a:gd name="T118" fmla="*/ 2147483647 w 655"/>
                  <a:gd name="T119" fmla="*/ 2147483647 h 48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55" h="485">
                    <a:moveTo>
                      <a:pt x="503" y="92"/>
                    </a:moveTo>
                    <a:cubicBezTo>
                      <a:pt x="496" y="92"/>
                      <a:pt x="491" y="98"/>
                      <a:pt x="491" y="104"/>
                    </a:cubicBezTo>
                    <a:cubicBezTo>
                      <a:pt x="491" y="111"/>
                      <a:pt x="496" y="116"/>
                      <a:pt x="503" y="116"/>
                    </a:cubicBezTo>
                    <a:cubicBezTo>
                      <a:pt x="509" y="116"/>
                      <a:pt x="515" y="111"/>
                      <a:pt x="515" y="104"/>
                    </a:cubicBezTo>
                    <a:cubicBezTo>
                      <a:pt x="515" y="98"/>
                      <a:pt x="509" y="92"/>
                      <a:pt x="503" y="92"/>
                    </a:cubicBezTo>
                    <a:close/>
                    <a:moveTo>
                      <a:pt x="503" y="61"/>
                    </a:moveTo>
                    <a:cubicBezTo>
                      <a:pt x="496" y="61"/>
                      <a:pt x="491" y="67"/>
                      <a:pt x="491" y="74"/>
                    </a:cubicBezTo>
                    <a:cubicBezTo>
                      <a:pt x="491" y="80"/>
                      <a:pt x="496" y="86"/>
                      <a:pt x="503" y="86"/>
                    </a:cubicBezTo>
                    <a:cubicBezTo>
                      <a:pt x="509" y="86"/>
                      <a:pt x="515" y="80"/>
                      <a:pt x="515" y="74"/>
                    </a:cubicBezTo>
                    <a:cubicBezTo>
                      <a:pt x="515" y="67"/>
                      <a:pt x="509" y="61"/>
                      <a:pt x="503" y="61"/>
                    </a:cubicBezTo>
                    <a:close/>
                    <a:moveTo>
                      <a:pt x="538" y="31"/>
                    </a:moveTo>
                    <a:cubicBezTo>
                      <a:pt x="531" y="31"/>
                      <a:pt x="526" y="36"/>
                      <a:pt x="526" y="43"/>
                    </a:cubicBezTo>
                    <a:cubicBezTo>
                      <a:pt x="526" y="49"/>
                      <a:pt x="531" y="55"/>
                      <a:pt x="538" y="55"/>
                    </a:cubicBezTo>
                    <a:cubicBezTo>
                      <a:pt x="545" y="55"/>
                      <a:pt x="550" y="49"/>
                      <a:pt x="550" y="43"/>
                    </a:cubicBezTo>
                    <a:cubicBezTo>
                      <a:pt x="550" y="36"/>
                      <a:pt x="545" y="31"/>
                      <a:pt x="538" y="31"/>
                    </a:cubicBezTo>
                    <a:close/>
                    <a:moveTo>
                      <a:pt x="538" y="61"/>
                    </a:moveTo>
                    <a:cubicBezTo>
                      <a:pt x="531" y="61"/>
                      <a:pt x="526" y="67"/>
                      <a:pt x="526" y="74"/>
                    </a:cubicBezTo>
                    <a:cubicBezTo>
                      <a:pt x="526" y="80"/>
                      <a:pt x="531" y="86"/>
                      <a:pt x="538" y="86"/>
                    </a:cubicBezTo>
                    <a:cubicBezTo>
                      <a:pt x="545" y="86"/>
                      <a:pt x="550" y="80"/>
                      <a:pt x="550" y="74"/>
                    </a:cubicBezTo>
                    <a:cubicBezTo>
                      <a:pt x="550" y="67"/>
                      <a:pt x="545" y="61"/>
                      <a:pt x="538" y="61"/>
                    </a:cubicBezTo>
                    <a:close/>
                    <a:moveTo>
                      <a:pt x="222" y="369"/>
                    </a:moveTo>
                    <a:cubicBezTo>
                      <a:pt x="216" y="369"/>
                      <a:pt x="210" y="374"/>
                      <a:pt x="210" y="381"/>
                    </a:cubicBezTo>
                    <a:cubicBezTo>
                      <a:pt x="210" y="388"/>
                      <a:pt x="216" y="393"/>
                      <a:pt x="222" y="393"/>
                    </a:cubicBezTo>
                    <a:cubicBezTo>
                      <a:pt x="229" y="393"/>
                      <a:pt x="235" y="388"/>
                      <a:pt x="235" y="381"/>
                    </a:cubicBezTo>
                    <a:cubicBezTo>
                      <a:pt x="235" y="374"/>
                      <a:pt x="229" y="369"/>
                      <a:pt x="222" y="369"/>
                    </a:cubicBezTo>
                    <a:close/>
                    <a:moveTo>
                      <a:pt x="257" y="400"/>
                    </a:moveTo>
                    <a:cubicBezTo>
                      <a:pt x="251" y="400"/>
                      <a:pt x="245" y="405"/>
                      <a:pt x="245" y="412"/>
                    </a:cubicBezTo>
                    <a:cubicBezTo>
                      <a:pt x="245" y="418"/>
                      <a:pt x="251" y="424"/>
                      <a:pt x="257" y="424"/>
                    </a:cubicBezTo>
                    <a:cubicBezTo>
                      <a:pt x="264" y="424"/>
                      <a:pt x="270" y="418"/>
                      <a:pt x="270" y="412"/>
                    </a:cubicBezTo>
                    <a:cubicBezTo>
                      <a:pt x="270" y="405"/>
                      <a:pt x="264" y="400"/>
                      <a:pt x="257" y="400"/>
                    </a:cubicBezTo>
                    <a:close/>
                    <a:moveTo>
                      <a:pt x="293" y="430"/>
                    </a:moveTo>
                    <a:cubicBezTo>
                      <a:pt x="286" y="430"/>
                      <a:pt x="280" y="436"/>
                      <a:pt x="280" y="442"/>
                    </a:cubicBezTo>
                    <a:cubicBezTo>
                      <a:pt x="280" y="449"/>
                      <a:pt x="286" y="455"/>
                      <a:pt x="293" y="455"/>
                    </a:cubicBezTo>
                    <a:cubicBezTo>
                      <a:pt x="299" y="455"/>
                      <a:pt x="305" y="449"/>
                      <a:pt x="305" y="442"/>
                    </a:cubicBezTo>
                    <a:cubicBezTo>
                      <a:pt x="305" y="436"/>
                      <a:pt x="299" y="430"/>
                      <a:pt x="293" y="430"/>
                    </a:cubicBezTo>
                    <a:close/>
                    <a:moveTo>
                      <a:pt x="82" y="461"/>
                    </a:moveTo>
                    <a:cubicBezTo>
                      <a:pt x="76" y="461"/>
                      <a:pt x="70" y="466"/>
                      <a:pt x="70" y="473"/>
                    </a:cubicBezTo>
                    <a:cubicBezTo>
                      <a:pt x="70" y="480"/>
                      <a:pt x="76" y="485"/>
                      <a:pt x="82" y="485"/>
                    </a:cubicBezTo>
                    <a:cubicBezTo>
                      <a:pt x="89" y="485"/>
                      <a:pt x="94" y="480"/>
                      <a:pt x="94" y="473"/>
                    </a:cubicBezTo>
                    <a:cubicBezTo>
                      <a:pt x="94" y="466"/>
                      <a:pt x="89" y="461"/>
                      <a:pt x="82" y="461"/>
                    </a:cubicBezTo>
                    <a:close/>
                    <a:moveTo>
                      <a:pt x="117" y="461"/>
                    </a:moveTo>
                    <a:cubicBezTo>
                      <a:pt x="111" y="461"/>
                      <a:pt x="105" y="466"/>
                      <a:pt x="105" y="473"/>
                    </a:cubicBezTo>
                    <a:cubicBezTo>
                      <a:pt x="105" y="480"/>
                      <a:pt x="111" y="485"/>
                      <a:pt x="117" y="485"/>
                    </a:cubicBezTo>
                    <a:cubicBezTo>
                      <a:pt x="124" y="485"/>
                      <a:pt x="129" y="480"/>
                      <a:pt x="129" y="473"/>
                    </a:cubicBezTo>
                    <a:cubicBezTo>
                      <a:pt x="129" y="466"/>
                      <a:pt x="124" y="461"/>
                      <a:pt x="117" y="461"/>
                    </a:cubicBezTo>
                    <a:close/>
                    <a:moveTo>
                      <a:pt x="47" y="461"/>
                    </a:moveTo>
                    <a:cubicBezTo>
                      <a:pt x="41" y="461"/>
                      <a:pt x="35" y="466"/>
                      <a:pt x="35" y="473"/>
                    </a:cubicBezTo>
                    <a:cubicBezTo>
                      <a:pt x="35" y="480"/>
                      <a:pt x="41" y="485"/>
                      <a:pt x="47" y="485"/>
                    </a:cubicBezTo>
                    <a:cubicBezTo>
                      <a:pt x="54" y="485"/>
                      <a:pt x="59" y="480"/>
                      <a:pt x="59" y="473"/>
                    </a:cubicBezTo>
                    <a:cubicBezTo>
                      <a:pt x="59" y="466"/>
                      <a:pt x="54" y="461"/>
                      <a:pt x="47" y="461"/>
                    </a:cubicBezTo>
                    <a:close/>
                    <a:moveTo>
                      <a:pt x="12" y="461"/>
                    </a:moveTo>
                    <a:cubicBezTo>
                      <a:pt x="5" y="461"/>
                      <a:pt x="0" y="466"/>
                      <a:pt x="0" y="473"/>
                    </a:cubicBezTo>
                    <a:cubicBezTo>
                      <a:pt x="0" y="480"/>
                      <a:pt x="5" y="485"/>
                      <a:pt x="12" y="485"/>
                    </a:cubicBezTo>
                    <a:cubicBezTo>
                      <a:pt x="19" y="485"/>
                      <a:pt x="24" y="480"/>
                      <a:pt x="24" y="473"/>
                    </a:cubicBezTo>
                    <a:cubicBezTo>
                      <a:pt x="24" y="466"/>
                      <a:pt x="19" y="461"/>
                      <a:pt x="12" y="461"/>
                    </a:cubicBezTo>
                    <a:close/>
                    <a:moveTo>
                      <a:pt x="330" y="61"/>
                    </a:moveTo>
                    <a:cubicBezTo>
                      <a:pt x="323" y="61"/>
                      <a:pt x="317" y="67"/>
                      <a:pt x="317" y="74"/>
                    </a:cubicBezTo>
                    <a:cubicBezTo>
                      <a:pt x="317" y="80"/>
                      <a:pt x="323" y="86"/>
                      <a:pt x="330" y="86"/>
                    </a:cubicBezTo>
                    <a:cubicBezTo>
                      <a:pt x="336" y="86"/>
                      <a:pt x="342" y="80"/>
                      <a:pt x="342" y="74"/>
                    </a:cubicBezTo>
                    <a:cubicBezTo>
                      <a:pt x="342" y="67"/>
                      <a:pt x="336" y="61"/>
                      <a:pt x="330" y="61"/>
                    </a:cubicBezTo>
                    <a:close/>
                    <a:moveTo>
                      <a:pt x="82" y="246"/>
                    </a:moveTo>
                    <a:cubicBezTo>
                      <a:pt x="76" y="246"/>
                      <a:pt x="70" y="251"/>
                      <a:pt x="70" y="258"/>
                    </a:cubicBezTo>
                    <a:cubicBezTo>
                      <a:pt x="70" y="265"/>
                      <a:pt x="76" y="270"/>
                      <a:pt x="82" y="270"/>
                    </a:cubicBezTo>
                    <a:cubicBezTo>
                      <a:pt x="89" y="270"/>
                      <a:pt x="94" y="265"/>
                      <a:pt x="94" y="258"/>
                    </a:cubicBezTo>
                    <a:cubicBezTo>
                      <a:pt x="94" y="251"/>
                      <a:pt x="89" y="246"/>
                      <a:pt x="82" y="246"/>
                    </a:cubicBezTo>
                    <a:close/>
                    <a:moveTo>
                      <a:pt x="82" y="277"/>
                    </a:moveTo>
                    <a:cubicBezTo>
                      <a:pt x="76" y="277"/>
                      <a:pt x="70" y="282"/>
                      <a:pt x="70" y="289"/>
                    </a:cubicBezTo>
                    <a:cubicBezTo>
                      <a:pt x="70" y="295"/>
                      <a:pt x="76" y="301"/>
                      <a:pt x="82" y="301"/>
                    </a:cubicBezTo>
                    <a:cubicBezTo>
                      <a:pt x="89" y="301"/>
                      <a:pt x="94" y="295"/>
                      <a:pt x="94" y="289"/>
                    </a:cubicBezTo>
                    <a:cubicBezTo>
                      <a:pt x="94" y="282"/>
                      <a:pt x="89" y="277"/>
                      <a:pt x="82" y="277"/>
                    </a:cubicBezTo>
                    <a:close/>
                    <a:moveTo>
                      <a:pt x="82" y="338"/>
                    </a:moveTo>
                    <a:cubicBezTo>
                      <a:pt x="76" y="338"/>
                      <a:pt x="70" y="343"/>
                      <a:pt x="70" y="350"/>
                    </a:cubicBezTo>
                    <a:cubicBezTo>
                      <a:pt x="70" y="357"/>
                      <a:pt x="76" y="362"/>
                      <a:pt x="82" y="362"/>
                    </a:cubicBezTo>
                    <a:cubicBezTo>
                      <a:pt x="89" y="362"/>
                      <a:pt x="94" y="357"/>
                      <a:pt x="94" y="350"/>
                    </a:cubicBezTo>
                    <a:cubicBezTo>
                      <a:pt x="94" y="343"/>
                      <a:pt x="89" y="338"/>
                      <a:pt x="82" y="338"/>
                    </a:cubicBezTo>
                    <a:close/>
                    <a:moveTo>
                      <a:pt x="82" y="307"/>
                    </a:moveTo>
                    <a:cubicBezTo>
                      <a:pt x="76" y="307"/>
                      <a:pt x="70" y="313"/>
                      <a:pt x="70" y="319"/>
                    </a:cubicBezTo>
                    <a:cubicBezTo>
                      <a:pt x="70" y="326"/>
                      <a:pt x="76" y="332"/>
                      <a:pt x="82" y="332"/>
                    </a:cubicBezTo>
                    <a:cubicBezTo>
                      <a:pt x="89" y="332"/>
                      <a:pt x="94" y="326"/>
                      <a:pt x="94" y="319"/>
                    </a:cubicBezTo>
                    <a:cubicBezTo>
                      <a:pt x="94" y="313"/>
                      <a:pt x="89" y="307"/>
                      <a:pt x="82" y="307"/>
                    </a:cubicBezTo>
                    <a:close/>
                    <a:moveTo>
                      <a:pt x="82" y="369"/>
                    </a:moveTo>
                    <a:cubicBezTo>
                      <a:pt x="76" y="369"/>
                      <a:pt x="70" y="374"/>
                      <a:pt x="70" y="381"/>
                    </a:cubicBezTo>
                    <a:cubicBezTo>
                      <a:pt x="70" y="388"/>
                      <a:pt x="76" y="393"/>
                      <a:pt x="82" y="393"/>
                    </a:cubicBezTo>
                    <a:cubicBezTo>
                      <a:pt x="89" y="393"/>
                      <a:pt x="94" y="388"/>
                      <a:pt x="94" y="381"/>
                    </a:cubicBezTo>
                    <a:cubicBezTo>
                      <a:pt x="94" y="374"/>
                      <a:pt x="89" y="369"/>
                      <a:pt x="82" y="369"/>
                    </a:cubicBezTo>
                    <a:close/>
                    <a:moveTo>
                      <a:pt x="82" y="154"/>
                    </a:moveTo>
                    <a:cubicBezTo>
                      <a:pt x="76" y="154"/>
                      <a:pt x="70" y="159"/>
                      <a:pt x="70" y="166"/>
                    </a:cubicBezTo>
                    <a:cubicBezTo>
                      <a:pt x="70" y="172"/>
                      <a:pt x="76" y="178"/>
                      <a:pt x="82" y="178"/>
                    </a:cubicBezTo>
                    <a:cubicBezTo>
                      <a:pt x="89" y="178"/>
                      <a:pt x="94" y="172"/>
                      <a:pt x="94" y="166"/>
                    </a:cubicBezTo>
                    <a:cubicBezTo>
                      <a:pt x="94" y="159"/>
                      <a:pt x="89" y="154"/>
                      <a:pt x="82" y="154"/>
                    </a:cubicBezTo>
                    <a:close/>
                    <a:moveTo>
                      <a:pt x="82" y="92"/>
                    </a:moveTo>
                    <a:cubicBezTo>
                      <a:pt x="76" y="92"/>
                      <a:pt x="70" y="98"/>
                      <a:pt x="70" y="104"/>
                    </a:cubicBezTo>
                    <a:cubicBezTo>
                      <a:pt x="70" y="111"/>
                      <a:pt x="76" y="116"/>
                      <a:pt x="82" y="116"/>
                    </a:cubicBezTo>
                    <a:cubicBezTo>
                      <a:pt x="89" y="116"/>
                      <a:pt x="94" y="111"/>
                      <a:pt x="94" y="104"/>
                    </a:cubicBezTo>
                    <a:cubicBezTo>
                      <a:pt x="94" y="98"/>
                      <a:pt x="89" y="92"/>
                      <a:pt x="82" y="92"/>
                    </a:cubicBezTo>
                    <a:close/>
                    <a:moveTo>
                      <a:pt x="82" y="123"/>
                    </a:moveTo>
                    <a:cubicBezTo>
                      <a:pt x="76" y="123"/>
                      <a:pt x="70" y="128"/>
                      <a:pt x="70" y="135"/>
                    </a:cubicBezTo>
                    <a:cubicBezTo>
                      <a:pt x="70" y="142"/>
                      <a:pt x="76" y="147"/>
                      <a:pt x="82" y="147"/>
                    </a:cubicBezTo>
                    <a:cubicBezTo>
                      <a:pt x="89" y="147"/>
                      <a:pt x="94" y="142"/>
                      <a:pt x="94" y="135"/>
                    </a:cubicBezTo>
                    <a:cubicBezTo>
                      <a:pt x="94" y="128"/>
                      <a:pt x="89" y="123"/>
                      <a:pt x="82" y="123"/>
                    </a:cubicBezTo>
                    <a:close/>
                    <a:moveTo>
                      <a:pt x="82" y="430"/>
                    </a:moveTo>
                    <a:cubicBezTo>
                      <a:pt x="76" y="430"/>
                      <a:pt x="70" y="436"/>
                      <a:pt x="70" y="442"/>
                    </a:cubicBezTo>
                    <a:cubicBezTo>
                      <a:pt x="70" y="449"/>
                      <a:pt x="76" y="455"/>
                      <a:pt x="82" y="455"/>
                    </a:cubicBezTo>
                    <a:cubicBezTo>
                      <a:pt x="89" y="455"/>
                      <a:pt x="94" y="449"/>
                      <a:pt x="94" y="442"/>
                    </a:cubicBezTo>
                    <a:cubicBezTo>
                      <a:pt x="94" y="436"/>
                      <a:pt x="89" y="430"/>
                      <a:pt x="82" y="430"/>
                    </a:cubicBezTo>
                    <a:close/>
                    <a:moveTo>
                      <a:pt x="82" y="400"/>
                    </a:moveTo>
                    <a:cubicBezTo>
                      <a:pt x="76" y="400"/>
                      <a:pt x="70" y="405"/>
                      <a:pt x="70" y="412"/>
                    </a:cubicBezTo>
                    <a:cubicBezTo>
                      <a:pt x="70" y="418"/>
                      <a:pt x="76" y="424"/>
                      <a:pt x="82" y="424"/>
                    </a:cubicBezTo>
                    <a:cubicBezTo>
                      <a:pt x="89" y="424"/>
                      <a:pt x="94" y="418"/>
                      <a:pt x="94" y="412"/>
                    </a:cubicBezTo>
                    <a:cubicBezTo>
                      <a:pt x="94" y="405"/>
                      <a:pt x="89" y="400"/>
                      <a:pt x="82" y="400"/>
                    </a:cubicBezTo>
                    <a:close/>
                    <a:moveTo>
                      <a:pt x="117" y="92"/>
                    </a:moveTo>
                    <a:cubicBezTo>
                      <a:pt x="111" y="92"/>
                      <a:pt x="105" y="98"/>
                      <a:pt x="105" y="104"/>
                    </a:cubicBezTo>
                    <a:cubicBezTo>
                      <a:pt x="105" y="111"/>
                      <a:pt x="111" y="116"/>
                      <a:pt x="117" y="116"/>
                    </a:cubicBezTo>
                    <a:cubicBezTo>
                      <a:pt x="124" y="116"/>
                      <a:pt x="129" y="111"/>
                      <a:pt x="129" y="104"/>
                    </a:cubicBezTo>
                    <a:cubicBezTo>
                      <a:pt x="129" y="98"/>
                      <a:pt x="124" y="92"/>
                      <a:pt x="117" y="92"/>
                    </a:cubicBezTo>
                    <a:close/>
                    <a:moveTo>
                      <a:pt x="117" y="154"/>
                    </a:moveTo>
                    <a:cubicBezTo>
                      <a:pt x="111" y="154"/>
                      <a:pt x="105" y="159"/>
                      <a:pt x="105" y="166"/>
                    </a:cubicBezTo>
                    <a:cubicBezTo>
                      <a:pt x="105" y="172"/>
                      <a:pt x="111" y="178"/>
                      <a:pt x="117" y="178"/>
                    </a:cubicBezTo>
                    <a:cubicBezTo>
                      <a:pt x="124" y="178"/>
                      <a:pt x="129" y="172"/>
                      <a:pt x="129" y="166"/>
                    </a:cubicBezTo>
                    <a:cubicBezTo>
                      <a:pt x="129" y="159"/>
                      <a:pt x="124" y="154"/>
                      <a:pt x="117" y="154"/>
                    </a:cubicBezTo>
                    <a:close/>
                    <a:moveTo>
                      <a:pt x="117" y="123"/>
                    </a:moveTo>
                    <a:cubicBezTo>
                      <a:pt x="111" y="123"/>
                      <a:pt x="105" y="128"/>
                      <a:pt x="105" y="135"/>
                    </a:cubicBezTo>
                    <a:cubicBezTo>
                      <a:pt x="105" y="142"/>
                      <a:pt x="111" y="147"/>
                      <a:pt x="117" y="147"/>
                    </a:cubicBezTo>
                    <a:cubicBezTo>
                      <a:pt x="124" y="147"/>
                      <a:pt x="129" y="142"/>
                      <a:pt x="129" y="135"/>
                    </a:cubicBezTo>
                    <a:cubicBezTo>
                      <a:pt x="129" y="128"/>
                      <a:pt x="124" y="123"/>
                      <a:pt x="117" y="123"/>
                    </a:cubicBezTo>
                    <a:close/>
                    <a:moveTo>
                      <a:pt x="117" y="246"/>
                    </a:moveTo>
                    <a:cubicBezTo>
                      <a:pt x="111" y="246"/>
                      <a:pt x="105" y="251"/>
                      <a:pt x="105" y="258"/>
                    </a:cubicBezTo>
                    <a:cubicBezTo>
                      <a:pt x="105" y="265"/>
                      <a:pt x="111" y="270"/>
                      <a:pt x="117" y="270"/>
                    </a:cubicBezTo>
                    <a:cubicBezTo>
                      <a:pt x="124" y="270"/>
                      <a:pt x="129" y="265"/>
                      <a:pt x="129" y="258"/>
                    </a:cubicBezTo>
                    <a:cubicBezTo>
                      <a:pt x="129" y="251"/>
                      <a:pt x="124" y="246"/>
                      <a:pt x="117" y="246"/>
                    </a:cubicBezTo>
                    <a:close/>
                    <a:moveTo>
                      <a:pt x="117" y="215"/>
                    </a:moveTo>
                    <a:cubicBezTo>
                      <a:pt x="111" y="215"/>
                      <a:pt x="105" y="221"/>
                      <a:pt x="105" y="227"/>
                    </a:cubicBezTo>
                    <a:cubicBezTo>
                      <a:pt x="105" y="234"/>
                      <a:pt x="111" y="239"/>
                      <a:pt x="117" y="239"/>
                    </a:cubicBezTo>
                    <a:cubicBezTo>
                      <a:pt x="124" y="239"/>
                      <a:pt x="129" y="234"/>
                      <a:pt x="129" y="227"/>
                    </a:cubicBezTo>
                    <a:cubicBezTo>
                      <a:pt x="129" y="221"/>
                      <a:pt x="124" y="215"/>
                      <a:pt x="117" y="215"/>
                    </a:cubicBezTo>
                    <a:close/>
                    <a:moveTo>
                      <a:pt x="117" y="277"/>
                    </a:moveTo>
                    <a:cubicBezTo>
                      <a:pt x="111" y="277"/>
                      <a:pt x="105" y="282"/>
                      <a:pt x="105" y="289"/>
                    </a:cubicBezTo>
                    <a:cubicBezTo>
                      <a:pt x="105" y="295"/>
                      <a:pt x="111" y="301"/>
                      <a:pt x="117" y="301"/>
                    </a:cubicBezTo>
                    <a:cubicBezTo>
                      <a:pt x="124" y="301"/>
                      <a:pt x="129" y="295"/>
                      <a:pt x="129" y="289"/>
                    </a:cubicBezTo>
                    <a:cubicBezTo>
                      <a:pt x="129" y="282"/>
                      <a:pt x="124" y="277"/>
                      <a:pt x="117" y="277"/>
                    </a:cubicBezTo>
                    <a:close/>
                    <a:moveTo>
                      <a:pt x="117" y="338"/>
                    </a:moveTo>
                    <a:cubicBezTo>
                      <a:pt x="111" y="338"/>
                      <a:pt x="105" y="343"/>
                      <a:pt x="105" y="350"/>
                    </a:cubicBezTo>
                    <a:cubicBezTo>
                      <a:pt x="105" y="357"/>
                      <a:pt x="111" y="362"/>
                      <a:pt x="117" y="362"/>
                    </a:cubicBezTo>
                    <a:cubicBezTo>
                      <a:pt x="124" y="362"/>
                      <a:pt x="129" y="357"/>
                      <a:pt x="129" y="350"/>
                    </a:cubicBezTo>
                    <a:cubicBezTo>
                      <a:pt x="129" y="343"/>
                      <a:pt x="124" y="338"/>
                      <a:pt x="117" y="338"/>
                    </a:cubicBezTo>
                    <a:close/>
                    <a:moveTo>
                      <a:pt x="117" y="307"/>
                    </a:moveTo>
                    <a:cubicBezTo>
                      <a:pt x="111" y="307"/>
                      <a:pt x="105" y="313"/>
                      <a:pt x="105" y="319"/>
                    </a:cubicBezTo>
                    <a:cubicBezTo>
                      <a:pt x="105" y="326"/>
                      <a:pt x="111" y="332"/>
                      <a:pt x="117" y="332"/>
                    </a:cubicBezTo>
                    <a:cubicBezTo>
                      <a:pt x="124" y="332"/>
                      <a:pt x="129" y="326"/>
                      <a:pt x="129" y="319"/>
                    </a:cubicBezTo>
                    <a:cubicBezTo>
                      <a:pt x="129" y="313"/>
                      <a:pt x="124" y="307"/>
                      <a:pt x="117" y="307"/>
                    </a:cubicBezTo>
                    <a:close/>
                    <a:moveTo>
                      <a:pt x="47" y="338"/>
                    </a:moveTo>
                    <a:cubicBezTo>
                      <a:pt x="41" y="338"/>
                      <a:pt x="35" y="343"/>
                      <a:pt x="35" y="350"/>
                    </a:cubicBezTo>
                    <a:cubicBezTo>
                      <a:pt x="35" y="357"/>
                      <a:pt x="41" y="362"/>
                      <a:pt x="47" y="362"/>
                    </a:cubicBezTo>
                    <a:cubicBezTo>
                      <a:pt x="54" y="362"/>
                      <a:pt x="59" y="357"/>
                      <a:pt x="59" y="350"/>
                    </a:cubicBezTo>
                    <a:cubicBezTo>
                      <a:pt x="59" y="343"/>
                      <a:pt x="54" y="338"/>
                      <a:pt x="47" y="338"/>
                    </a:cubicBezTo>
                    <a:close/>
                    <a:moveTo>
                      <a:pt x="117" y="400"/>
                    </a:moveTo>
                    <a:cubicBezTo>
                      <a:pt x="111" y="400"/>
                      <a:pt x="105" y="405"/>
                      <a:pt x="105" y="412"/>
                    </a:cubicBezTo>
                    <a:cubicBezTo>
                      <a:pt x="105" y="418"/>
                      <a:pt x="111" y="424"/>
                      <a:pt x="117" y="424"/>
                    </a:cubicBezTo>
                    <a:cubicBezTo>
                      <a:pt x="124" y="424"/>
                      <a:pt x="129" y="418"/>
                      <a:pt x="129" y="412"/>
                    </a:cubicBezTo>
                    <a:cubicBezTo>
                      <a:pt x="129" y="405"/>
                      <a:pt x="124" y="400"/>
                      <a:pt x="117" y="400"/>
                    </a:cubicBezTo>
                    <a:close/>
                    <a:moveTo>
                      <a:pt x="117" y="430"/>
                    </a:moveTo>
                    <a:cubicBezTo>
                      <a:pt x="111" y="430"/>
                      <a:pt x="105" y="436"/>
                      <a:pt x="105" y="442"/>
                    </a:cubicBezTo>
                    <a:cubicBezTo>
                      <a:pt x="105" y="449"/>
                      <a:pt x="111" y="455"/>
                      <a:pt x="117" y="455"/>
                    </a:cubicBezTo>
                    <a:cubicBezTo>
                      <a:pt x="124" y="455"/>
                      <a:pt x="129" y="449"/>
                      <a:pt x="129" y="442"/>
                    </a:cubicBezTo>
                    <a:cubicBezTo>
                      <a:pt x="129" y="436"/>
                      <a:pt x="124" y="430"/>
                      <a:pt x="117" y="430"/>
                    </a:cubicBezTo>
                    <a:close/>
                    <a:moveTo>
                      <a:pt x="117" y="369"/>
                    </a:moveTo>
                    <a:cubicBezTo>
                      <a:pt x="111" y="369"/>
                      <a:pt x="105" y="374"/>
                      <a:pt x="105" y="381"/>
                    </a:cubicBezTo>
                    <a:cubicBezTo>
                      <a:pt x="105" y="388"/>
                      <a:pt x="111" y="393"/>
                      <a:pt x="117" y="393"/>
                    </a:cubicBezTo>
                    <a:cubicBezTo>
                      <a:pt x="124" y="393"/>
                      <a:pt x="129" y="388"/>
                      <a:pt x="129" y="381"/>
                    </a:cubicBezTo>
                    <a:cubicBezTo>
                      <a:pt x="129" y="374"/>
                      <a:pt x="124" y="369"/>
                      <a:pt x="117" y="369"/>
                    </a:cubicBezTo>
                    <a:close/>
                    <a:moveTo>
                      <a:pt x="12" y="369"/>
                    </a:moveTo>
                    <a:cubicBezTo>
                      <a:pt x="5" y="369"/>
                      <a:pt x="0" y="374"/>
                      <a:pt x="0" y="381"/>
                    </a:cubicBezTo>
                    <a:cubicBezTo>
                      <a:pt x="0" y="388"/>
                      <a:pt x="5" y="393"/>
                      <a:pt x="12" y="393"/>
                    </a:cubicBezTo>
                    <a:cubicBezTo>
                      <a:pt x="19" y="393"/>
                      <a:pt x="24" y="388"/>
                      <a:pt x="24" y="381"/>
                    </a:cubicBezTo>
                    <a:cubicBezTo>
                      <a:pt x="24" y="374"/>
                      <a:pt x="19" y="369"/>
                      <a:pt x="12" y="369"/>
                    </a:cubicBezTo>
                    <a:close/>
                    <a:moveTo>
                      <a:pt x="47" y="430"/>
                    </a:moveTo>
                    <a:cubicBezTo>
                      <a:pt x="41" y="430"/>
                      <a:pt x="35" y="436"/>
                      <a:pt x="35" y="442"/>
                    </a:cubicBezTo>
                    <a:cubicBezTo>
                      <a:pt x="35" y="449"/>
                      <a:pt x="41" y="455"/>
                      <a:pt x="47" y="455"/>
                    </a:cubicBezTo>
                    <a:cubicBezTo>
                      <a:pt x="54" y="455"/>
                      <a:pt x="59" y="449"/>
                      <a:pt x="59" y="442"/>
                    </a:cubicBezTo>
                    <a:cubicBezTo>
                      <a:pt x="59" y="436"/>
                      <a:pt x="54" y="430"/>
                      <a:pt x="47" y="430"/>
                    </a:cubicBezTo>
                    <a:close/>
                    <a:moveTo>
                      <a:pt x="12" y="400"/>
                    </a:moveTo>
                    <a:cubicBezTo>
                      <a:pt x="5" y="400"/>
                      <a:pt x="0" y="405"/>
                      <a:pt x="0" y="412"/>
                    </a:cubicBezTo>
                    <a:cubicBezTo>
                      <a:pt x="0" y="418"/>
                      <a:pt x="5" y="424"/>
                      <a:pt x="12" y="424"/>
                    </a:cubicBezTo>
                    <a:cubicBezTo>
                      <a:pt x="19" y="424"/>
                      <a:pt x="24" y="418"/>
                      <a:pt x="24" y="412"/>
                    </a:cubicBezTo>
                    <a:cubicBezTo>
                      <a:pt x="24" y="405"/>
                      <a:pt x="19" y="400"/>
                      <a:pt x="12" y="400"/>
                    </a:cubicBezTo>
                    <a:close/>
                    <a:moveTo>
                      <a:pt x="47" y="400"/>
                    </a:moveTo>
                    <a:cubicBezTo>
                      <a:pt x="41" y="400"/>
                      <a:pt x="35" y="405"/>
                      <a:pt x="35" y="412"/>
                    </a:cubicBezTo>
                    <a:cubicBezTo>
                      <a:pt x="35" y="418"/>
                      <a:pt x="41" y="424"/>
                      <a:pt x="47" y="424"/>
                    </a:cubicBezTo>
                    <a:cubicBezTo>
                      <a:pt x="54" y="424"/>
                      <a:pt x="59" y="418"/>
                      <a:pt x="59" y="412"/>
                    </a:cubicBezTo>
                    <a:cubicBezTo>
                      <a:pt x="59" y="405"/>
                      <a:pt x="54" y="400"/>
                      <a:pt x="47" y="400"/>
                    </a:cubicBezTo>
                    <a:close/>
                    <a:moveTo>
                      <a:pt x="12" y="430"/>
                    </a:moveTo>
                    <a:cubicBezTo>
                      <a:pt x="5" y="430"/>
                      <a:pt x="0" y="436"/>
                      <a:pt x="0" y="442"/>
                    </a:cubicBezTo>
                    <a:cubicBezTo>
                      <a:pt x="0" y="449"/>
                      <a:pt x="5" y="455"/>
                      <a:pt x="12" y="455"/>
                    </a:cubicBezTo>
                    <a:cubicBezTo>
                      <a:pt x="19" y="455"/>
                      <a:pt x="24" y="449"/>
                      <a:pt x="24" y="442"/>
                    </a:cubicBezTo>
                    <a:cubicBezTo>
                      <a:pt x="24" y="436"/>
                      <a:pt x="19" y="430"/>
                      <a:pt x="12" y="430"/>
                    </a:cubicBezTo>
                    <a:close/>
                    <a:moveTo>
                      <a:pt x="47" y="369"/>
                    </a:moveTo>
                    <a:cubicBezTo>
                      <a:pt x="41" y="369"/>
                      <a:pt x="35" y="374"/>
                      <a:pt x="35" y="381"/>
                    </a:cubicBezTo>
                    <a:cubicBezTo>
                      <a:pt x="35" y="388"/>
                      <a:pt x="41" y="393"/>
                      <a:pt x="47" y="393"/>
                    </a:cubicBezTo>
                    <a:cubicBezTo>
                      <a:pt x="54" y="393"/>
                      <a:pt x="59" y="388"/>
                      <a:pt x="59" y="381"/>
                    </a:cubicBezTo>
                    <a:cubicBezTo>
                      <a:pt x="59" y="374"/>
                      <a:pt x="54" y="369"/>
                      <a:pt x="47" y="369"/>
                    </a:cubicBezTo>
                    <a:close/>
                    <a:moveTo>
                      <a:pt x="257" y="246"/>
                    </a:moveTo>
                    <a:cubicBezTo>
                      <a:pt x="251" y="246"/>
                      <a:pt x="245" y="251"/>
                      <a:pt x="245" y="258"/>
                    </a:cubicBezTo>
                    <a:cubicBezTo>
                      <a:pt x="245" y="265"/>
                      <a:pt x="251" y="270"/>
                      <a:pt x="257" y="270"/>
                    </a:cubicBezTo>
                    <a:cubicBezTo>
                      <a:pt x="264" y="270"/>
                      <a:pt x="270" y="265"/>
                      <a:pt x="270" y="258"/>
                    </a:cubicBezTo>
                    <a:cubicBezTo>
                      <a:pt x="270" y="251"/>
                      <a:pt x="264" y="246"/>
                      <a:pt x="257" y="246"/>
                    </a:cubicBezTo>
                    <a:close/>
                    <a:moveTo>
                      <a:pt x="433" y="400"/>
                    </a:moveTo>
                    <a:cubicBezTo>
                      <a:pt x="426" y="400"/>
                      <a:pt x="421" y="405"/>
                      <a:pt x="421" y="412"/>
                    </a:cubicBezTo>
                    <a:cubicBezTo>
                      <a:pt x="421" y="418"/>
                      <a:pt x="426" y="424"/>
                      <a:pt x="433" y="424"/>
                    </a:cubicBezTo>
                    <a:cubicBezTo>
                      <a:pt x="439" y="424"/>
                      <a:pt x="445" y="418"/>
                      <a:pt x="445" y="412"/>
                    </a:cubicBezTo>
                    <a:cubicBezTo>
                      <a:pt x="445" y="405"/>
                      <a:pt x="439" y="400"/>
                      <a:pt x="433" y="400"/>
                    </a:cubicBezTo>
                    <a:close/>
                    <a:moveTo>
                      <a:pt x="433" y="92"/>
                    </a:moveTo>
                    <a:cubicBezTo>
                      <a:pt x="426" y="92"/>
                      <a:pt x="421" y="98"/>
                      <a:pt x="421" y="104"/>
                    </a:cubicBezTo>
                    <a:cubicBezTo>
                      <a:pt x="421" y="111"/>
                      <a:pt x="426" y="116"/>
                      <a:pt x="433" y="116"/>
                    </a:cubicBezTo>
                    <a:cubicBezTo>
                      <a:pt x="439" y="116"/>
                      <a:pt x="445" y="111"/>
                      <a:pt x="445" y="104"/>
                    </a:cubicBezTo>
                    <a:cubicBezTo>
                      <a:pt x="445" y="98"/>
                      <a:pt x="439" y="92"/>
                      <a:pt x="433" y="92"/>
                    </a:cubicBezTo>
                    <a:close/>
                    <a:moveTo>
                      <a:pt x="433" y="123"/>
                    </a:moveTo>
                    <a:cubicBezTo>
                      <a:pt x="426" y="123"/>
                      <a:pt x="421" y="128"/>
                      <a:pt x="421" y="135"/>
                    </a:cubicBezTo>
                    <a:cubicBezTo>
                      <a:pt x="421" y="142"/>
                      <a:pt x="426" y="147"/>
                      <a:pt x="433" y="147"/>
                    </a:cubicBezTo>
                    <a:cubicBezTo>
                      <a:pt x="439" y="147"/>
                      <a:pt x="445" y="142"/>
                      <a:pt x="445" y="135"/>
                    </a:cubicBezTo>
                    <a:cubicBezTo>
                      <a:pt x="445" y="128"/>
                      <a:pt x="439" y="123"/>
                      <a:pt x="433" y="123"/>
                    </a:cubicBezTo>
                    <a:close/>
                    <a:moveTo>
                      <a:pt x="257" y="123"/>
                    </a:moveTo>
                    <a:cubicBezTo>
                      <a:pt x="251" y="123"/>
                      <a:pt x="245" y="128"/>
                      <a:pt x="245" y="135"/>
                    </a:cubicBezTo>
                    <a:cubicBezTo>
                      <a:pt x="245" y="142"/>
                      <a:pt x="251" y="147"/>
                      <a:pt x="257" y="147"/>
                    </a:cubicBezTo>
                    <a:cubicBezTo>
                      <a:pt x="264" y="147"/>
                      <a:pt x="270" y="142"/>
                      <a:pt x="270" y="135"/>
                    </a:cubicBezTo>
                    <a:cubicBezTo>
                      <a:pt x="270" y="128"/>
                      <a:pt x="264" y="123"/>
                      <a:pt x="257" y="123"/>
                    </a:cubicBezTo>
                    <a:close/>
                    <a:moveTo>
                      <a:pt x="293" y="123"/>
                    </a:moveTo>
                    <a:cubicBezTo>
                      <a:pt x="286" y="123"/>
                      <a:pt x="280" y="128"/>
                      <a:pt x="280" y="135"/>
                    </a:cubicBezTo>
                    <a:cubicBezTo>
                      <a:pt x="280" y="142"/>
                      <a:pt x="286" y="147"/>
                      <a:pt x="293" y="147"/>
                    </a:cubicBezTo>
                    <a:cubicBezTo>
                      <a:pt x="299" y="147"/>
                      <a:pt x="305" y="142"/>
                      <a:pt x="305" y="135"/>
                    </a:cubicBezTo>
                    <a:cubicBezTo>
                      <a:pt x="305" y="128"/>
                      <a:pt x="299" y="123"/>
                      <a:pt x="293" y="123"/>
                    </a:cubicBezTo>
                    <a:close/>
                    <a:moveTo>
                      <a:pt x="433" y="154"/>
                    </a:moveTo>
                    <a:cubicBezTo>
                      <a:pt x="426" y="154"/>
                      <a:pt x="421" y="159"/>
                      <a:pt x="421" y="166"/>
                    </a:cubicBezTo>
                    <a:cubicBezTo>
                      <a:pt x="421" y="172"/>
                      <a:pt x="426" y="178"/>
                      <a:pt x="433" y="178"/>
                    </a:cubicBezTo>
                    <a:cubicBezTo>
                      <a:pt x="439" y="178"/>
                      <a:pt x="445" y="172"/>
                      <a:pt x="445" y="166"/>
                    </a:cubicBezTo>
                    <a:cubicBezTo>
                      <a:pt x="445" y="159"/>
                      <a:pt x="439" y="154"/>
                      <a:pt x="433" y="154"/>
                    </a:cubicBezTo>
                    <a:close/>
                    <a:moveTo>
                      <a:pt x="433" y="338"/>
                    </a:moveTo>
                    <a:cubicBezTo>
                      <a:pt x="426" y="338"/>
                      <a:pt x="421" y="343"/>
                      <a:pt x="421" y="350"/>
                    </a:cubicBezTo>
                    <a:cubicBezTo>
                      <a:pt x="421" y="357"/>
                      <a:pt x="426" y="362"/>
                      <a:pt x="433" y="362"/>
                    </a:cubicBezTo>
                    <a:cubicBezTo>
                      <a:pt x="439" y="362"/>
                      <a:pt x="445" y="357"/>
                      <a:pt x="445" y="350"/>
                    </a:cubicBezTo>
                    <a:cubicBezTo>
                      <a:pt x="445" y="343"/>
                      <a:pt x="439" y="338"/>
                      <a:pt x="433" y="338"/>
                    </a:cubicBezTo>
                    <a:close/>
                    <a:moveTo>
                      <a:pt x="433" y="307"/>
                    </a:moveTo>
                    <a:cubicBezTo>
                      <a:pt x="426" y="307"/>
                      <a:pt x="421" y="313"/>
                      <a:pt x="421" y="319"/>
                    </a:cubicBezTo>
                    <a:cubicBezTo>
                      <a:pt x="421" y="326"/>
                      <a:pt x="426" y="332"/>
                      <a:pt x="433" y="332"/>
                    </a:cubicBezTo>
                    <a:cubicBezTo>
                      <a:pt x="439" y="332"/>
                      <a:pt x="445" y="326"/>
                      <a:pt x="445" y="319"/>
                    </a:cubicBezTo>
                    <a:cubicBezTo>
                      <a:pt x="445" y="313"/>
                      <a:pt x="439" y="307"/>
                      <a:pt x="433" y="307"/>
                    </a:cubicBezTo>
                    <a:close/>
                    <a:moveTo>
                      <a:pt x="433" y="369"/>
                    </a:moveTo>
                    <a:cubicBezTo>
                      <a:pt x="426" y="369"/>
                      <a:pt x="421" y="374"/>
                      <a:pt x="421" y="381"/>
                    </a:cubicBezTo>
                    <a:cubicBezTo>
                      <a:pt x="421" y="388"/>
                      <a:pt x="426" y="393"/>
                      <a:pt x="433" y="393"/>
                    </a:cubicBezTo>
                    <a:cubicBezTo>
                      <a:pt x="439" y="393"/>
                      <a:pt x="445" y="388"/>
                      <a:pt x="445" y="381"/>
                    </a:cubicBezTo>
                    <a:cubicBezTo>
                      <a:pt x="445" y="374"/>
                      <a:pt x="439" y="369"/>
                      <a:pt x="433" y="369"/>
                    </a:cubicBezTo>
                    <a:close/>
                    <a:moveTo>
                      <a:pt x="433" y="61"/>
                    </a:moveTo>
                    <a:cubicBezTo>
                      <a:pt x="426" y="61"/>
                      <a:pt x="421" y="67"/>
                      <a:pt x="421" y="74"/>
                    </a:cubicBezTo>
                    <a:cubicBezTo>
                      <a:pt x="421" y="80"/>
                      <a:pt x="426" y="86"/>
                      <a:pt x="433" y="86"/>
                    </a:cubicBezTo>
                    <a:cubicBezTo>
                      <a:pt x="439" y="86"/>
                      <a:pt x="445" y="80"/>
                      <a:pt x="445" y="74"/>
                    </a:cubicBezTo>
                    <a:cubicBezTo>
                      <a:pt x="445" y="67"/>
                      <a:pt x="439" y="61"/>
                      <a:pt x="433" y="61"/>
                    </a:cubicBezTo>
                    <a:close/>
                    <a:moveTo>
                      <a:pt x="398" y="307"/>
                    </a:moveTo>
                    <a:cubicBezTo>
                      <a:pt x="391" y="307"/>
                      <a:pt x="385" y="313"/>
                      <a:pt x="385" y="319"/>
                    </a:cubicBezTo>
                    <a:cubicBezTo>
                      <a:pt x="385" y="326"/>
                      <a:pt x="391" y="332"/>
                      <a:pt x="398" y="332"/>
                    </a:cubicBezTo>
                    <a:cubicBezTo>
                      <a:pt x="404" y="332"/>
                      <a:pt x="410" y="326"/>
                      <a:pt x="410" y="319"/>
                    </a:cubicBezTo>
                    <a:cubicBezTo>
                      <a:pt x="410" y="313"/>
                      <a:pt x="404" y="307"/>
                      <a:pt x="398" y="307"/>
                    </a:cubicBezTo>
                    <a:close/>
                    <a:moveTo>
                      <a:pt x="398" y="369"/>
                    </a:moveTo>
                    <a:cubicBezTo>
                      <a:pt x="391" y="369"/>
                      <a:pt x="385" y="374"/>
                      <a:pt x="385" y="381"/>
                    </a:cubicBezTo>
                    <a:cubicBezTo>
                      <a:pt x="385" y="388"/>
                      <a:pt x="391" y="393"/>
                      <a:pt x="398" y="393"/>
                    </a:cubicBezTo>
                    <a:cubicBezTo>
                      <a:pt x="404" y="393"/>
                      <a:pt x="410" y="388"/>
                      <a:pt x="410" y="381"/>
                    </a:cubicBezTo>
                    <a:cubicBezTo>
                      <a:pt x="410" y="374"/>
                      <a:pt x="404" y="369"/>
                      <a:pt x="398" y="369"/>
                    </a:cubicBezTo>
                    <a:close/>
                    <a:moveTo>
                      <a:pt x="398" y="338"/>
                    </a:moveTo>
                    <a:cubicBezTo>
                      <a:pt x="391" y="338"/>
                      <a:pt x="385" y="343"/>
                      <a:pt x="385" y="350"/>
                    </a:cubicBezTo>
                    <a:cubicBezTo>
                      <a:pt x="385" y="357"/>
                      <a:pt x="391" y="362"/>
                      <a:pt x="398" y="362"/>
                    </a:cubicBezTo>
                    <a:cubicBezTo>
                      <a:pt x="404" y="362"/>
                      <a:pt x="410" y="357"/>
                      <a:pt x="410" y="350"/>
                    </a:cubicBezTo>
                    <a:cubicBezTo>
                      <a:pt x="410" y="343"/>
                      <a:pt x="404" y="338"/>
                      <a:pt x="398" y="338"/>
                    </a:cubicBezTo>
                    <a:close/>
                    <a:moveTo>
                      <a:pt x="503" y="430"/>
                    </a:moveTo>
                    <a:cubicBezTo>
                      <a:pt x="496" y="430"/>
                      <a:pt x="491" y="436"/>
                      <a:pt x="491" y="442"/>
                    </a:cubicBezTo>
                    <a:cubicBezTo>
                      <a:pt x="491" y="449"/>
                      <a:pt x="496" y="455"/>
                      <a:pt x="503" y="455"/>
                    </a:cubicBezTo>
                    <a:cubicBezTo>
                      <a:pt x="509" y="455"/>
                      <a:pt x="515" y="449"/>
                      <a:pt x="515" y="442"/>
                    </a:cubicBezTo>
                    <a:cubicBezTo>
                      <a:pt x="515" y="436"/>
                      <a:pt x="509" y="430"/>
                      <a:pt x="503" y="430"/>
                    </a:cubicBezTo>
                    <a:close/>
                    <a:moveTo>
                      <a:pt x="503" y="400"/>
                    </a:moveTo>
                    <a:cubicBezTo>
                      <a:pt x="496" y="400"/>
                      <a:pt x="491" y="405"/>
                      <a:pt x="491" y="412"/>
                    </a:cubicBezTo>
                    <a:cubicBezTo>
                      <a:pt x="491" y="418"/>
                      <a:pt x="496" y="424"/>
                      <a:pt x="503" y="424"/>
                    </a:cubicBezTo>
                    <a:cubicBezTo>
                      <a:pt x="509" y="424"/>
                      <a:pt x="515" y="418"/>
                      <a:pt x="515" y="412"/>
                    </a:cubicBezTo>
                    <a:cubicBezTo>
                      <a:pt x="515" y="405"/>
                      <a:pt x="509" y="400"/>
                      <a:pt x="503" y="400"/>
                    </a:cubicBezTo>
                    <a:close/>
                    <a:moveTo>
                      <a:pt x="503" y="338"/>
                    </a:moveTo>
                    <a:cubicBezTo>
                      <a:pt x="496" y="338"/>
                      <a:pt x="491" y="343"/>
                      <a:pt x="491" y="350"/>
                    </a:cubicBezTo>
                    <a:cubicBezTo>
                      <a:pt x="491" y="357"/>
                      <a:pt x="496" y="362"/>
                      <a:pt x="503" y="362"/>
                    </a:cubicBezTo>
                    <a:cubicBezTo>
                      <a:pt x="509" y="362"/>
                      <a:pt x="515" y="357"/>
                      <a:pt x="515" y="350"/>
                    </a:cubicBezTo>
                    <a:cubicBezTo>
                      <a:pt x="515" y="343"/>
                      <a:pt x="509" y="338"/>
                      <a:pt x="503" y="338"/>
                    </a:cubicBezTo>
                    <a:close/>
                    <a:moveTo>
                      <a:pt x="503" y="307"/>
                    </a:moveTo>
                    <a:cubicBezTo>
                      <a:pt x="496" y="307"/>
                      <a:pt x="491" y="313"/>
                      <a:pt x="491" y="319"/>
                    </a:cubicBezTo>
                    <a:cubicBezTo>
                      <a:pt x="491" y="326"/>
                      <a:pt x="496" y="332"/>
                      <a:pt x="503" y="332"/>
                    </a:cubicBezTo>
                    <a:cubicBezTo>
                      <a:pt x="509" y="332"/>
                      <a:pt x="515" y="326"/>
                      <a:pt x="515" y="319"/>
                    </a:cubicBezTo>
                    <a:cubicBezTo>
                      <a:pt x="515" y="313"/>
                      <a:pt x="509" y="307"/>
                      <a:pt x="503" y="307"/>
                    </a:cubicBezTo>
                    <a:close/>
                    <a:moveTo>
                      <a:pt x="503" y="277"/>
                    </a:moveTo>
                    <a:cubicBezTo>
                      <a:pt x="496" y="277"/>
                      <a:pt x="491" y="282"/>
                      <a:pt x="491" y="289"/>
                    </a:cubicBezTo>
                    <a:cubicBezTo>
                      <a:pt x="491" y="295"/>
                      <a:pt x="496" y="301"/>
                      <a:pt x="503" y="301"/>
                    </a:cubicBezTo>
                    <a:cubicBezTo>
                      <a:pt x="509" y="301"/>
                      <a:pt x="515" y="295"/>
                      <a:pt x="515" y="289"/>
                    </a:cubicBezTo>
                    <a:cubicBezTo>
                      <a:pt x="515" y="282"/>
                      <a:pt x="509" y="277"/>
                      <a:pt x="503" y="277"/>
                    </a:cubicBezTo>
                    <a:close/>
                    <a:moveTo>
                      <a:pt x="503" y="369"/>
                    </a:moveTo>
                    <a:cubicBezTo>
                      <a:pt x="496" y="369"/>
                      <a:pt x="491" y="374"/>
                      <a:pt x="491" y="381"/>
                    </a:cubicBezTo>
                    <a:cubicBezTo>
                      <a:pt x="491" y="388"/>
                      <a:pt x="496" y="393"/>
                      <a:pt x="503" y="393"/>
                    </a:cubicBezTo>
                    <a:cubicBezTo>
                      <a:pt x="509" y="393"/>
                      <a:pt x="515" y="388"/>
                      <a:pt x="515" y="381"/>
                    </a:cubicBezTo>
                    <a:cubicBezTo>
                      <a:pt x="515" y="374"/>
                      <a:pt x="509" y="369"/>
                      <a:pt x="503" y="369"/>
                    </a:cubicBezTo>
                    <a:close/>
                    <a:moveTo>
                      <a:pt x="503" y="31"/>
                    </a:moveTo>
                    <a:cubicBezTo>
                      <a:pt x="496" y="31"/>
                      <a:pt x="491" y="36"/>
                      <a:pt x="491" y="43"/>
                    </a:cubicBezTo>
                    <a:cubicBezTo>
                      <a:pt x="491" y="49"/>
                      <a:pt x="496" y="55"/>
                      <a:pt x="503" y="55"/>
                    </a:cubicBezTo>
                    <a:cubicBezTo>
                      <a:pt x="509" y="55"/>
                      <a:pt x="515" y="49"/>
                      <a:pt x="515" y="43"/>
                    </a:cubicBezTo>
                    <a:cubicBezTo>
                      <a:pt x="515" y="36"/>
                      <a:pt x="509" y="31"/>
                      <a:pt x="503" y="31"/>
                    </a:cubicBezTo>
                    <a:close/>
                    <a:moveTo>
                      <a:pt x="468" y="400"/>
                    </a:moveTo>
                    <a:cubicBezTo>
                      <a:pt x="461" y="400"/>
                      <a:pt x="456" y="405"/>
                      <a:pt x="456" y="412"/>
                    </a:cubicBezTo>
                    <a:cubicBezTo>
                      <a:pt x="456" y="418"/>
                      <a:pt x="461" y="424"/>
                      <a:pt x="468" y="424"/>
                    </a:cubicBezTo>
                    <a:cubicBezTo>
                      <a:pt x="474" y="424"/>
                      <a:pt x="480" y="418"/>
                      <a:pt x="480" y="412"/>
                    </a:cubicBezTo>
                    <a:cubicBezTo>
                      <a:pt x="480" y="405"/>
                      <a:pt x="474" y="400"/>
                      <a:pt x="468" y="400"/>
                    </a:cubicBezTo>
                    <a:close/>
                    <a:moveTo>
                      <a:pt x="468" y="307"/>
                    </a:moveTo>
                    <a:cubicBezTo>
                      <a:pt x="461" y="307"/>
                      <a:pt x="456" y="313"/>
                      <a:pt x="456" y="319"/>
                    </a:cubicBezTo>
                    <a:cubicBezTo>
                      <a:pt x="456" y="326"/>
                      <a:pt x="461" y="332"/>
                      <a:pt x="468" y="332"/>
                    </a:cubicBezTo>
                    <a:cubicBezTo>
                      <a:pt x="474" y="332"/>
                      <a:pt x="480" y="326"/>
                      <a:pt x="480" y="319"/>
                    </a:cubicBezTo>
                    <a:cubicBezTo>
                      <a:pt x="480" y="313"/>
                      <a:pt x="474" y="307"/>
                      <a:pt x="468" y="307"/>
                    </a:cubicBezTo>
                    <a:close/>
                    <a:moveTo>
                      <a:pt x="468" y="277"/>
                    </a:moveTo>
                    <a:cubicBezTo>
                      <a:pt x="461" y="277"/>
                      <a:pt x="456" y="282"/>
                      <a:pt x="456" y="289"/>
                    </a:cubicBezTo>
                    <a:cubicBezTo>
                      <a:pt x="456" y="295"/>
                      <a:pt x="461" y="301"/>
                      <a:pt x="468" y="301"/>
                    </a:cubicBezTo>
                    <a:cubicBezTo>
                      <a:pt x="474" y="301"/>
                      <a:pt x="480" y="295"/>
                      <a:pt x="480" y="289"/>
                    </a:cubicBezTo>
                    <a:cubicBezTo>
                      <a:pt x="480" y="282"/>
                      <a:pt x="474" y="277"/>
                      <a:pt x="468" y="277"/>
                    </a:cubicBezTo>
                    <a:close/>
                    <a:moveTo>
                      <a:pt x="468" y="369"/>
                    </a:moveTo>
                    <a:cubicBezTo>
                      <a:pt x="461" y="369"/>
                      <a:pt x="456" y="374"/>
                      <a:pt x="456" y="381"/>
                    </a:cubicBezTo>
                    <a:cubicBezTo>
                      <a:pt x="456" y="388"/>
                      <a:pt x="461" y="393"/>
                      <a:pt x="468" y="393"/>
                    </a:cubicBezTo>
                    <a:cubicBezTo>
                      <a:pt x="474" y="393"/>
                      <a:pt x="480" y="388"/>
                      <a:pt x="480" y="381"/>
                    </a:cubicBezTo>
                    <a:cubicBezTo>
                      <a:pt x="480" y="374"/>
                      <a:pt x="474" y="369"/>
                      <a:pt x="468" y="369"/>
                    </a:cubicBezTo>
                    <a:close/>
                    <a:moveTo>
                      <a:pt x="468" y="123"/>
                    </a:moveTo>
                    <a:cubicBezTo>
                      <a:pt x="461" y="123"/>
                      <a:pt x="456" y="128"/>
                      <a:pt x="456" y="135"/>
                    </a:cubicBezTo>
                    <a:cubicBezTo>
                      <a:pt x="456" y="142"/>
                      <a:pt x="461" y="147"/>
                      <a:pt x="468" y="147"/>
                    </a:cubicBezTo>
                    <a:cubicBezTo>
                      <a:pt x="474" y="147"/>
                      <a:pt x="480" y="142"/>
                      <a:pt x="480" y="135"/>
                    </a:cubicBezTo>
                    <a:cubicBezTo>
                      <a:pt x="480" y="128"/>
                      <a:pt x="474" y="123"/>
                      <a:pt x="468" y="123"/>
                    </a:cubicBezTo>
                    <a:close/>
                    <a:moveTo>
                      <a:pt x="468" y="338"/>
                    </a:moveTo>
                    <a:cubicBezTo>
                      <a:pt x="461" y="338"/>
                      <a:pt x="456" y="343"/>
                      <a:pt x="456" y="350"/>
                    </a:cubicBezTo>
                    <a:cubicBezTo>
                      <a:pt x="456" y="357"/>
                      <a:pt x="461" y="362"/>
                      <a:pt x="468" y="362"/>
                    </a:cubicBezTo>
                    <a:cubicBezTo>
                      <a:pt x="474" y="362"/>
                      <a:pt x="480" y="357"/>
                      <a:pt x="480" y="350"/>
                    </a:cubicBezTo>
                    <a:cubicBezTo>
                      <a:pt x="480" y="343"/>
                      <a:pt x="474" y="338"/>
                      <a:pt x="468" y="338"/>
                    </a:cubicBezTo>
                    <a:close/>
                    <a:moveTo>
                      <a:pt x="468" y="31"/>
                    </a:moveTo>
                    <a:cubicBezTo>
                      <a:pt x="461" y="31"/>
                      <a:pt x="456" y="36"/>
                      <a:pt x="456" y="43"/>
                    </a:cubicBezTo>
                    <a:cubicBezTo>
                      <a:pt x="456" y="49"/>
                      <a:pt x="461" y="55"/>
                      <a:pt x="468" y="55"/>
                    </a:cubicBezTo>
                    <a:cubicBezTo>
                      <a:pt x="474" y="55"/>
                      <a:pt x="480" y="49"/>
                      <a:pt x="480" y="43"/>
                    </a:cubicBezTo>
                    <a:cubicBezTo>
                      <a:pt x="480" y="36"/>
                      <a:pt x="474" y="31"/>
                      <a:pt x="468" y="31"/>
                    </a:cubicBezTo>
                    <a:close/>
                    <a:moveTo>
                      <a:pt x="468" y="92"/>
                    </a:moveTo>
                    <a:cubicBezTo>
                      <a:pt x="461" y="92"/>
                      <a:pt x="456" y="98"/>
                      <a:pt x="456" y="104"/>
                    </a:cubicBezTo>
                    <a:cubicBezTo>
                      <a:pt x="456" y="111"/>
                      <a:pt x="461" y="116"/>
                      <a:pt x="468" y="116"/>
                    </a:cubicBezTo>
                    <a:cubicBezTo>
                      <a:pt x="474" y="116"/>
                      <a:pt x="480" y="111"/>
                      <a:pt x="480" y="104"/>
                    </a:cubicBezTo>
                    <a:cubicBezTo>
                      <a:pt x="480" y="98"/>
                      <a:pt x="474" y="92"/>
                      <a:pt x="468" y="92"/>
                    </a:cubicBezTo>
                    <a:close/>
                    <a:moveTo>
                      <a:pt x="468" y="61"/>
                    </a:moveTo>
                    <a:cubicBezTo>
                      <a:pt x="461" y="61"/>
                      <a:pt x="456" y="67"/>
                      <a:pt x="456" y="74"/>
                    </a:cubicBezTo>
                    <a:cubicBezTo>
                      <a:pt x="456" y="80"/>
                      <a:pt x="461" y="86"/>
                      <a:pt x="468" y="86"/>
                    </a:cubicBezTo>
                    <a:cubicBezTo>
                      <a:pt x="474" y="86"/>
                      <a:pt x="480" y="80"/>
                      <a:pt x="480" y="74"/>
                    </a:cubicBezTo>
                    <a:cubicBezTo>
                      <a:pt x="480" y="67"/>
                      <a:pt x="474" y="61"/>
                      <a:pt x="468" y="61"/>
                    </a:cubicBezTo>
                    <a:close/>
                    <a:moveTo>
                      <a:pt x="222" y="61"/>
                    </a:moveTo>
                    <a:cubicBezTo>
                      <a:pt x="216" y="61"/>
                      <a:pt x="210" y="67"/>
                      <a:pt x="210" y="74"/>
                    </a:cubicBezTo>
                    <a:cubicBezTo>
                      <a:pt x="210" y="80"/>
                      <a:pt x="216" y="86"/>
                      <a:pt x="222" y="86"/>
                    </a:cubicBezTo>
                    <a:cubicBezTo>
                      <a:pt x="229" y="86"/>
                      <a:pt x="235" y="80"/>
                      <a:pt x="235" y="74"/>
                    </a:cubicBezTo>
                    <a:cubicBezTo>
                      <a:pt x="235" y="67"/>
                      <a:pt x="229" y="61"/>
                      <a:pt x="222" y="61"/>
                    </a:cubicBezTo>
                    <a:close/>
                    <a:moveTo>
                      <a:pt x="222" y="184"/>
                    </a:moveTo>
                    <a:cubicBezTo>
                      <a:pt x="216" y="184"/>
                      <a:pt x="210" y="190"/>
                      <a:pt x="210" y="196"/>
                    </a:cubicBezTo>
                    <a:cubicBezTo>
                      <a:pt x="210" y="203"/>
                      <a:pt x="216" y="209"/>
                      <a:pt x="222" y="209"/>
                    </a:cubicBezTo>
                    <a:cubicBezTo>
                      <a:pt x="229" y="209"/>
                      <a:pt x="235" y="203"/>
                      <a:pt x="235" y="196"/>
                    </a:cubicBezTo>
                    <a:cubicBezTo>
                      <a:pt x="235" y="190"/>
                      <a:pt x="229" y="184"/>
                      <a:pt x="222" y="184"/>
                    </a:cubicBezTo>
                    <a:close/>
                    <a:moveTo>
                      <a:pt x="222" y="246"/>
                    </a:moveTo>
                    <a:cubicBezTo>
                      <a:pt x="216" y="246"/>
                      <a:pt x="210" y="251"/>
                      <a:pt x="210" y="258"/>
                    </a:cubicBezTo>
                    <a:cubicBezTo>
                      <a:pt x="210" y="265"/>
                      <a:pt x="216" y="270"/>
                      <a:pt x="222" y="270"/>
                    </a:cubicBezTo>
                    <a:cubicBezTo>
                      <a:pt x="229" y="270"/>
                      <a:pt x="235" y="265"/>
                      <a:pt x="235" y="258"/>
                    </a:cubicBezTo>
                    <a:cubicBezTo>
                      <a:pt x="235" y="251"/>
                      <a:pt x="229" y="246"/>
                      <a:pt x="222" y="246"/>
                    </a:cubicBezTo>
                    <a:close/>
                    <a:moveTo>
                      <a:pt x="222" y="31"/>
                    </a:moveTo>
                    <a:cubicBezTo>
                      <a:pt x="216" y="31"/>
                      <a:pt x="210" y="36"/>
                      <a:pt x="210" y="43"/>
                    </a:cubicBezTo>
                    <a:cubicBezTo>
                      <a:pt x="210" y="49"/>
                      <a:pt x="216" y="55"/>
                      <a:pt x="222" y="55"/>
                    </a:cubicBezTo>
                    <a:cubicBezTo>
                      <a:pt x="229" y="55"/>
                      <a:pt x="235" y="49"/>
                      <a:pt x="235" y="43"/>
                    </a:cubicBezTo>
                    <a:cubicBezTo>
                      <a:pt x="235" y="36"/>
                      <a:pt x="229" y="31"/>
                      <a:pt x="222" y="31"/>
                    </a:cubicBezTo>
                    <a:close/>
                    <a:moveTo>
                      <a:pt x="222" y="277"/>
                    </a:moveTo>
                    <a:cubicBezTo>
                      <a:pt x="216" y="277"/>
                      <a:pt x="210" y="282"/>
                      <a:pt x="210" y="289"/>
                    </a:cubicBezTo>
                    <a:cubicBezTo>
                      <a:pt x="210" y="295"/>
                      <a:pt x="216" y="301"/>
                      <a:pt x="222" y="301"/>
                    </a:cubicBezTo>
                    <a:cubicBezTo>
                      <a:pt x="229" y="301"/>
                      <a:pt x="235" y="295"/>
                      <a:pt x="235" y="289"/>
                    </a:cubicBezTo>
                    <a:cubicBezTo>
                      <a:pt x="235" y="282"/>
                      <a:pt x="229" y="277"/>
                      <a:pt x="222" y="277"/>
                    </a:cubicBezTo>
                    <a:close/>
                    <a:moveTo>
                      <a:pt x="222" y="215"/>
                    </a:moveTo>
                    <a:cubicBezTo>
                      <a:pt x="216" y="215"/>
                      <a:pt x="210" y="221"/>
                      <a:pt x="210" y="227"/>
                    </a:cubicBezTo>
                    <a:cubicBezTo>
                      <a:pt x="210" y="234"/>
                      <a:pt x="216" y="239"/>
                      <a:pt x="222" y="239"/>
                    </a:cubicBezTo>
                    <a:cubicBezTo>
                      <a:pt x="229" y="239"/>
                      <a:pt x="235" y="234"/>
                      <a:pt x="235" y="227"/>
                    </a:cubicBezTo>
                    <a:cubicBezTo>
                      <a:pt x="235" y="221"/>
                      <a:pt x="229" y="215"/>
                      <a:pt x="222" y="215"/>
                    </a:cubicBezTo>
                    <a:close/>
                    <a:moveTo>
                      <a:pt x="222" y="0"/>
                    </a:moveTo>
                    <a:cubicBezTo>
                      <a:pt x="216" y="0"/>
                      <a:pt x="210" y="5"/>
                      <a:pt x="210" y="12"/>
                    </a:cubicBezTo>
                    <a:cubicBezTo>
                      <a:pt x="210" y="19"/>
                      <a:pt x="216" y="24"/>
                      <a:pt x="222" y="24"/>
                    </a:cubicBezTo>
                    <a:cubicBezTo>
                      <a:pt x="229" y="24"/>
                      <a:pt x="235" y="19"/>
                      <a:pt x="235" y="12"/>
                    </a:cubicBezTo>
                    <a:cubicBezTo>
                      <a:pt x="235" y="5"/>
                      <a:pt x="229" y="0"/>
                      <a:pt x="222" y="0"/>
                    </a:cubicBezTo>
                    <a:close/>
                    <a:moveTo>
                      <a:pt x="222" y="307"/>
                    </a:moveTo>
                    <a:cubicBezTo>
                      <a:pt x="216" y="307"/>
                      <a:pt x="210" y="313"/>
                      <a:pt x="210" y="319"/>
                    </a:cubicBezTo>
                    <a:cubicBezTo>
                      <a:pt x="210" y="326"/>
                      <a:pt x="216" y="332"/>
                      <a:pt x="222" y="332"/>
                    </a:cubicBezTo>
                    <a:cubicBezTo>
                      <a:pt x="229" y="332"/>
                      <a:pt x="235" y="326"/>
                      <a:pt x="235" y="319"/>
                    </a:cubicBezTo>
                    <a:cubicBezTo>
                      <a:pt x="235" y="313"/>
                      <a:pt x="229" y="307"/>
                      <a:pt x="222" y="307"/>
                    </a:cubicBezTo>
                    <a:close/>
                    <a:moveTo>
                      <a:pt x="222" y="338"/>
                    </a:moveTo>
                    <a:cubicBezTo>
                      <a:pt x="216" y="338"/>
                      <a:pt x="210" y="343"/>
                      <a:pt x="210" y="350"/>
                    </a:cubicBezTo>
                    <a:cubicBezTo>
                      <a:pt x="210" y="357"/>
                      <a:pt x="216" y="362"/>
                      <a:pt x="222" y="362"/>
                    </a:cubicBezTo>
                    <a:cubicBezTo>
                      <a:pt x="229" y="362"/>
                      <a:pt x="235" y="357"/>
                      <a:pt x="235" y="350"/>
                    </a:cubicBezTo>
                    <a:cubicBezTo>
                      <a:pt x="235" y="343"/>
                      <a:pt x="229" y="338"/>
                      <a:pt x="222" y="338"/>
                    </a:cubicBezTo>
                    <a:close/>
                    <a:moveTo>
                      <a:pt x="257" y="55"/>
                    </a:moveTo>
                    <a:cubicBezTo>
                      <a:pt x="264" y="55"/>
                      <a:pt x="270" y="49"/>
                      <a:pt x="270" y="43"/>
                    </a:cubicBezTo>
                    <a:cubicBezTo>
                      <a:pt x="270" y="36"/>
                      <a:pt x="264" y="31"/>
                      <a:pt x="257" y="31"/>
                    </a:cubicBezTo>
                    <a:cubicBezTo>
                      <a:pt x="251" y="31"/>
                      <a:pt x="245" y="36"/>
                      <a:pt x="245" y="43"/>
                    </a:cubicBezTo>
                    <a:cubicBezTo>
                      <a:pt x="245" y="49"/>
                      <a:pt x="251" y="55"/>
                      <a:pt x="257" y="55"/>
                    </a:cubicBezTo>
                    <a:close/>
                    <a:moveTo>
                      <a:pt x="257" y="86"/>
                    </a:moveTo>
                    <a:cubicBezTo>
                      <a:pt x="264" y="86"/>
                      <a:pt x="270" y="80"/>
                      <a:pt x="270" y="74"/>
                    </a:cubicBezTo>
                    <a:cubicBezTo>
                      <a:pt x="270" y="67"/>
                      <a:pt x="264" y="61"/>
                      <a:pt x="257" y="61"/>
                    </a:cubicBezTo>
                    <a:cubicBezTo>
                      <a:pt x="251" y="61"/>
                      <a:pt x="245" y="67"/>
                      <a:pt x="245" y="74"/>
                    </a:cubicBezTo>
                    <a:cubicBezTo>
                      <a:pt x="245" y="80"/>
                      <a:pt x="251" y="86"/>
                      <a:pt x="257" y="86"/>
                    </a:cubicBezTo>
                    <a:close/>
                    <a:moveTo>
                      <a:pt x="257" y="184"/>
                    </a:moveTo>
                    <a:cubicBezTo>
                      <a:pt x="251" y="184"/>
                      <a:pt x="245" y="190"/>
                      <a:pt x="245" y="196"/>
                    </a:cubicBezTo>
                    <a:cubicBezTo>
                      <a:pt x="245" y="203"/>
                      <a:pt x="251" y="209"/>
                      <a:pt x="257" y="209"/>
                    </a:cubicBezTo>
                    <a:cubicBezTo>
                      <a:pt x="264" y="209"/>
                      <a:pt x="270" y="203"/>
                      <a:pt x="270" y="196"/>
                    </a:cubicBezTo>
                    <a:cubicBezTo>
                      <a:pt x="270" y="190"/>
                      <a:pt x="264" y="184"/>
                      <a:pt x="257" y="184"/>
                    </a:cubicBezTo>
                    <a:close/>
                    <a:moveTo>
                      <a:pt x="257" y="215"/>
                    </a:moveTo>
                    <a:cubicBezTo>
                      <a:pt x="251" y="215"/>
                      <a:pt x="245" y="221"/>
                      <a:pt x="245" y="227"/>
                    </a:cubicBezTo>
                    <a:cubicBezTo>
                      <a:pt x="245" y="234"/>
                      <a:pt x="251" y="239"/>
                      <a:pt x="257" y="239"/>
                    </a:cubicBezTo>
                    <a:cubicBezTo>
                      <a:pt x="264" y="239"/>
                      <a:pt x="270" y="234"/>
                      <a:pt x="270" y="227"/>
                    </a:cubicBezTo>
                    <a:cubicBezTo>
                      <a:pt x="270" y="221"/>
                      <a:pt x="264" y="215"/>
                      <a:pt x="257" y="215"/>
                    </a:cubicBezTo>
                    <a:close/>
                    <a:moveTo>
                      <a:pt x="257" y="307"/>
                    </a:moveTo>
                    <a:cubicBezTo>
                      <a:pt x="251" y="307"/>
                      <a:pt x="245" y="313"/>
                      <a:pt x="245" y="319"/>
                    </a:cubicBezTo>
                    <a:cubicBezTo>
                      <a:pt x="245" y="326"/>
                      <a:pt x="251" y="332"/>
                      <a:pt x="257" y="332"/>
                    </a:cubicBezTo>
                    <a:cubicBezTo>
                      <a:pt x="264" y="332"/>
                      <a:pt x="270" y="326"/>
                      <a:pt x="270" y="319"/>
                    </a:cubicBezTo>
                    <a:cubicBezTo>
                      <a:pt x="270" y="313"/>
                      <a:pt x="264" y="307"/>
                      <a:pt x="257" y="307"/>
                    </a:cubicBezTo>
                    <a:close/>
                    <a:moveTo>
                      <a:pt x="257" y="369"/>
                    </a:moveTo>
                    <a:cubicBezTo>
                      <a:pt x="251" y="369"/>
                      <a:pt x="245" y="374"/>
                      <a:pt x="245" y="381"/>
                    </a:cubicBezTo>
                    <a:cubicBezTo>
                      <a:pt x="245" y="388"/>
                      <a:pt x="251" y="393"/>
                      <a:pt x="257" y="393"/>
                    </a:cubicBezTo>
                    <a:cubicBezTo>
                      <a:pt x="264" y="393"/>
                      <a:pt x="270" y="388"/>
                      <a:pt x="270" y="381"/>
                    </a:cubicBezTo>
                    <a:cubicBezTo>
                      <a:pt x="270" y="374"/>
                      <a:pt x="264" y="369"/>
                      <a:pt x="257" y="369"/>
                    </a:cubicBezTo>
                    <a:close/>
                    <a:moveTo>
                      <a:pt x="257" y="277"/>
                    </a:moveTo>
                    <a:cubicBezTo>
                      <a:pt x="251" y="277"/>
                      <a:pt x="245" y="282"/>
                      <a:pt x="245" y="289"/>
                    </a:cubicBezTo>
                    <a:cubicBezTo>
                      <a:pt x="245" y="295"/>
                      <a:pt x="251" y="301"/>
                      <a:pt x="257" y="301"/>
                    </a:cubicBezTo>
                    <a:cubicBezTo>
                      <a:pt x="264" y="301"/>
                      <a:pt x="270" y="295"/>
                      <a:pt x="270" y="289"/>
                    </a:cubicBezTo>
                    <a:cubicBezTo>
                      <a:pt x="270" y="282"/>
                      <a:pt x="264" y="277"/>
                      <a:pt x="257" y="277"/>
                    </a:cubicBezTo>
                    <a:close/>
                    <a:moveTo>
                      <a:pt x="257" y="338"/>
                    </a:moveTo>
                    <a:cubicBezTo>
                      <a:pt x="251" y="338"/>
                      <a:pt x="245" y="343"/>
                      <a:pt x="245" y="350"/>
                    </a:cubicBezTo>
                    <a:cubicBezTo>
                      <a:pt x="245" y="357"/>
                      <a:pt x="251" y="362"/>
                      <a:pt x="257" y="362"/>
                    </a:cubicBezTo>
                    <a:cubicBezTo>
                      <a:pt x="264" y="362"/>
                      <a:pt x="270" y="357"/>
                      <a:pt x="270" y="350"/>
                    </a:cubicBezTo>
                    <a:cubicBezTo>
                      <a:pt x="270" y="343"/>
                      <a:pt x="264" y="338"/>
                      <a:pt x="257" y="338"/>
                    </a:cubicBezTo>
                    <a:close/>
                    <a:moveTo>
                      <a:pt x="152" y="31"/>
                    </a:moveTo>
                    <a:cubicBezTo>
                      <a:pt x="146" y="31"/>
                      <a:pt x="140" y="36"/>
                      <a:pt x="140" y="43"/>
                    </a:cubicBezTo>
                    <a:cubicBezTo>
                      <a:pt x="140" y="49"/>
                      <a:pt x="146" y="55"/>
                      <a:pt x="152" y="55"/>
                    </a:cubicBezTo>
                    <a:cubicBezTo>
                      <a:pt x="159" y="55"/>
                      <a:pt x="165" y="49"/>
                      <a:pt x="165" y="43"/>
                    </a:cubicBezTo>
                    <a:cubicBezTo>
                      <a:pt x="165" y="36"/>
                      <a:pt x="159" y="31"/>
                      <a:pt x="152" y="31"/>
                    </a:cubicBezTo>
                    <a:close/>
                    <a:moveTo>
                      <a:pt x="152" y="123"/>
                    </a:moveTo>
                    <a:cubicBezTo>
                      <a:pt x="146" y="123"/>
                      <a:pt x="140" y="128"/>
                      <a:pt x="140" y="135"/>
                    </a:cubicBezTo>
                    <a:cubicBezTo>
                      <a:pt x="140" y="142"/>
                      <a:pt x="146" y="147"/>
                      <a:pt x="152" y="147"/>
                    </a:cubicBezTo>
                    <a:cubicBezTo>
                      <a:pt x="159" y="147"/>
                      <a:pt x="165" y="142"/>
                      <a:pt x="165" y="135"/>
                    </a:cubicBezTo>
                    <a:cubicBezTo>
                      <a:pt x="165" y="128"/>
                      <a:pt x="159" y="123"/>
                      <a:pt x="152" y="123"/>
                    </a:cubicBezTo>
                    <a:close/>
                    <a:moveTo>
                      <a:pt x="152" y="215"/>
                    </a:moveTo>
                    <a:cubicBezTo>
                      <a:pt x="146" y="215"/>
                      <a:pt x="140" y="221"/>
                      <a:pt x="140" y="227"/>
                    </a:cubicBezTo>
                    <a:cubicBezTo>
                      <a:pt x="140" y="234"/>
                      <a:pt x="146" y="239"/>
                      <a:pt x="152" y="239"/>
                    </a:cubicBezTo>
                    <a:cubicBezTo>
                      <a:pt x="159" y="239"/>
                      <a:pt x="165" y="234"/>
                      <a:pt x="165" y="227"/>
                    </a:cubicBezTo>
                    <a:cubicBezTo>
                      <a:pt x="165" y="221"/>
                      <a:pt x="159" y="215"/>
                      <a:pt x="152" y="215"/>
                    </a:cubicBezTo>
                    <a:close/>
                    <a:moveTo>
                      <a:pt x="152" y="92"/>
                    </a:moveTo>
                    <a:cubicBezTo>
                      <a:pt x="146" y="92"/>
                      <a:pt x="140" y="98"/>
                      <a:pt x="140" y="104"/>
                    </a:cubicBezTo>
                    <a:cubicBezTo>
                      <a:pt x="140" y="111"/>
                      <a:pt x="146" y="116"/>
                      <a:pt x="152" y="116"/>
                    </a:cubicBezTo>
                    <a:cubicBezTo>
                      <a:pt x="159" y="116"/>
                      <a:pt x="165" y="111"/>
                      <a:pt x="165" y="104"/>
                    </a:cubicBezTo>
                    <a:cubicBezTo>
                      <a:pt x="165" y="98"/>
                      <a:pt x="159" y="92"/>
                      <a:pt x="152" y="92"/>
                    </a:cubicBezTo>
                    <a:close/>
                    <a:moveTo>
                      <a:pt x="152" y="246"/>
                    </a:moveTo>
                    <a:cubicBezTo>
                      <a:pt x="146" y="246"/>
                      <a:pt x="140" y="251"/>
                      <a:pt x="140" y="258"/>
                    </a:cubicBezTo>
                    <a:cubicBezTo>
                      <a:pt x="140" y="265"/>
                      <a:pt x="146" y="270"/>
                      <a:pt x="152" y="270"/>
                    </a:cubicBezTo>
                    <a:cubicBezTo>
                      <a:pt x="159" y="270"/>
                      <a:pt x="165" y="265"/>
                      <a:pt x="165" y="258"/>
                    </a:cubicBezTo>
                    <a:cubicBezTo>
                      <a:pt x="165" y="251"/>
                      <a:pt x="159" y="246"/>
                      <a:pt x="152" y="246"/>
                    </a:cubicBezTo>
                    <a:close/>
                    <a:moveTo>
                      <a:pt x="152" y="277"/>
                    </a:moveTo>
                    <a:cubicBezTo>
                      <a:pt x="146" y="277"/>
                      <a:pt x="140" y="282"/>
                      <a:pt x="140" y="289"/>
                    </a:cubicBezTo>
                    <a:cubicBezTo>
                      <a:pt x="140" y="295"/>
                      <a:pt x="146" y="301"/>
                      <a:pt x="152" y="301"/>
                    </a:cubicBezTo>
                    <a:cubicBezTo>
                      <a:pt x="159" y="301"/>
                      <a:pt x="165" y="295"/>
                      <a:pt x="165" y="289"/>
                    </a:cubicBezTo>
                    <a:cubicBezTo>
                      <a:pt x="165" y="282"/>
                      <a:pt x="159" y="277"/>
                      <a:pt x="152" y="277"/>
                    </a:cubicBezTo>
                    <a:close/>
                    <a:moveTo>
                      <a:pt x="152" y="307"/>
                    </a:moveTo>
                    <a:cubicBezTo>
                      <a:pt x="146" y="307"/>
                      <a:pt x="140" y="313"/>
                      <a:pt x="140" y="319"/>
                    </a:cubicBezTo>
                    <a:cubicBezTo>
                      <a:pt x="140" y="326"/>
                      <a:pt x="146" y="332"/>
                      <a:pt x="152" y="332"/>
                    </a:cubicBezTo>
                    <a:cubicBezTo>
                      <a:pt x="159" y="332"/>
                      <a:pt x="165" y="326"/>
                      <a:pt x="165" y="319"/>
                    </a:cubicBezTo>
                    <a:cubicBezTo>
                      <a:pt x="165" y="313"/>
                      <a:pt x="159" y="307"/>
                      <a:pt x="152" y="307"/>
                    </a:cubicBezTo>
                    <a:close/>
                    <a:moveTo>
                      <a:pt x="152" y="338"/>
                    </a:moveTo>
                    <a:cubicBezTo>
                      <a:pt x="146" y="338"/>
                      <a:pt x="140" y="343"/>
                      <a:pt x="140" y="350"/>
                    </a:cubicBezTo>
                    <a:cubicBezTo>
                      <a:pt x="140" y="357"/>
                      <a:pt x="146" y="362"/>
                      <a:pt x="152" y="362"/>
                    </a:cubicBezTo>
                    <a:cubicBezTo>
                      <a:pt x="159" y="362"/>
                      <a:pt x="165" y="357"/>
                      <a:pt x="165" y="350"/>
                    </a:cubicBezTo>
                    <a:cubicBezTo>
                      <a:pt x="165" y="343"/>
                      <a:pt x="159" y="338"/>
                      <a:pt x="152" y="338"/>
                    </a:cubicBezTo>
                    <a:close/>
                    <a:moveTo>
                      <a:pt x="152" y="61"/>
                    </a:moveTo>
                    <a:cubicBezTo>
                      <a:pt x="146" y="61"/>
                      <a:pt x="140" y="67"/>
                      <a:pt x="140" y="74"/>
                    </a:cubicBezTo>
                    <a:cubicBezTo>
                      <a:pt x="140" y="80"/>
                      <a:pt x="146" y="86"/>
                      <a:pt x="152" y="86"/>
                    </a:cubicBezTo>
                    <a:cubicBezTo>
                      <a:pt x="159" y="86"/>
                      <a:pt x="165" y="80"/>
                      <a:pt x="165" y="74"/>
                    </a:cubicBezTo>
                    <a:cubicBezTo>
                      <a:pt x="165" y="67"/>
                      <a:pt x="159" y="61"/>
                      <a:pt x="152" y="61"/>
                    </a:cubicBezTo>
                    <a:close/>
                    <a:moveTo>
                      <a:pt x="187" y="92"/>
                    </a:moveTo>
                    <a:cubicBezTo>
                      <a:pt x="181" y="92"/>
                      <a:pt x="175" y="98"/>
                      <a:pt x="175" y="104"/>
                    </a:cubicBezTo>
                    <a:cubicBezTo>
                      <a:pt x="175" y="111"/>
                      <a:pt x="181" y="116"/>
                      <a:pt x="187" y="116"/>
                    </a:cubicBezTo>
                    <a:cubicBezTo>
                      <a:pt x="194" y="116"/>
                      <a:pt x="200" y="111"/>
                      <a:pt x="200" y="104"/>
                    </a:cubicBezTo>
                    <a:cubicBezTo>
                      <a:pt x="200" y="98"/>
                      <a:pt x="194" y="92"/>
                      <a:pt x="187" y="92"/>
                    </a:cubicBezTo>
                    <a:close/>
                    <a:moveTo>
                      <a:pt x="187" y="123"/>
                    </a:moveTo>
                    <a:cubicBezTo>
                      <a:pt x="181" y="123"/>
                      <a:pt x="175" y="128"/>
                      <a:pt x="175" y="135"/>
                    </a:cubicBezTo>
                    <a:cubicBezTo>
                      <a:pt x="175" y="142"/>
                      <a:pt x="181" y="147"/>
                      <a:pt x="187" y="147"/>
                    </a:cubicBezTo>
                    <a:cubicBezTo>
                      <a:pt x="194" y="147"/>
                      <a:pt x="200" y="142"/>
                      <a:pt x="200" y="135"/>
                    </a:cubicBezTo>
                    <a:cubicBezTo>
                      <a:pt x="200" y="128"/>
                      <a:pt x="194" y="123"/>
                      <a:pt x="187" y="123"/>
                    </a:cubicBezTo>
                    <a:close/>
                    <a:moveTo>
                      <a:pt x="187" y="215"/>
                    </a:moveTo>
                    <a:cubicBezTo>
                      <a:pt x="181" y="215"/>
                      <a:pt x="175" y="221"/>
                      <a:pt x="175" y="227"/>
                    </a:cubicBezTo>
                    <a:cubicBezTo>
                      <a:pt x="175" y="234"/>
                      <a:pt x="181" y="239"/>
                      <a:pt x="187" y="239"/>
                    </a:cubicBezTo>
                    <a:cubicBezTo>
                      <a:pt x="194" y="239"/>
                      <a:pt x="200" y="234"/>
                      <a:pt x="200" y="227"/>
                    </a:cubicBezTo>
                    <a:cubicBezTo>
                      <a:pt x="200" y="221"/>
                      <a:pt x="194" y="215"/>
                      <a:pt x="187" y="215"/>
                    </a:cubicBezTo>
                    <a:close/>
                    <a:moveTo>
                      <a:pt x="187" y="61"/>
                    </a:moveTo>
                    <a:cubicBezTo>
                      <a:pt x="181" y="61"/>
                      <a:pt x="175" y="67"/>
                      <a:pt x="175" y="74"/>
                    </a:cubicBezTo>
                    <a:cubicBezTo>
                      <a:pt x="175" y="80"/>
                      <a:pt x="181" y="86"/>
                      <a:pt x="187" y="86"/>
                    </a:cubicBezTo>
                    <a:cubicBezTo>
                      <a:pt x="194" y="86"/>
                      <a:pt x="200" y="80"/>
                      <a:pt x="200" y="74"/>
                    </a:cubicBezTo>
                    <a:cubicBezTo>
                      <a:pt x="200" y="67"/>
                      <a:pt x="194" y="61"/>
                      <a:pt x="187" y="61"/>
                    </a:cubicBezTo>
                    <a:close/>
                    <a:moveTo>
                      <a:pt x="187" y="277"/>
                    </a:moveTo>
                    <a:cubicBezTo>
                      <a:pt x="181" y="277"/>
                      <a:pt x="175" y="282"/>
                      <a:pt x="175" y="289"/>
                    </a:cubicBezTo>
                    <a:cubicBezTo>
                      <a:pt x="175" y="295"/>
                      <a:pt x="181" y="301"/>
                      <a:pt x="187" y="301"/>
                    </a:cubicBezTo>
                    <a:cubicBezTo>
                      <a:pt x="194" y="301"/>
                      <a:pt x="200" y="295"/>
                      <a:pt x="200" y="289"/>
                    </a:cubicBezTo>
                    <a:cubicBezTo>
                      <a:pt x="200" y="282"/>
                      <a:pt x="194" y="277"/>
                      <a:pt x="187" y="277"/>
                    </a:cubicBezTo>
                    <a:close/>
                    <a:moveTo>
                      <a:pt x="187" y="246"/>
                    </a:moveTo>
                    <a:cubicBezTo>
                      <a:pt x="181" y="246"/>
                      <a:pt x="175" y="251"/>
                      <a:pt x="175" y="258"/>
                    </a:cubicBezTo>
                    <a:cubicBezTo>
                      <a:pt x="175" y="265"/>
                      <a:pt x="181" y="270"/>
                      <a:pt x="187" y="270"/>
                    </a:cubicBezTo>
                    <a:cubicBezTo>
                      <a:pt x="194" y="270"/>
                      <a:pt x="200" y="265"/>
                      <a:pt x="200" y="258"/>
                    </a:cubicBezTo>
                    <a:cubicBezTo>
                      <a:pt x="200" y="251"/>
                      <a:pt x="194" y="246"/>
                      <a:pt x="187" y="246"/>
                    </a:cubicBezTo>
                    <a:close/>
                    <a:moveTo>
                      <a:pt x="187" y="31"/>
                    </a:moveTo>
                    <a:cubicBezTo>
                      <a:pt x="181" y="31"/>
                      <a:pt x="175" y="36"/>
                      <a:pt x="175" y="43"/>
                    </a:cubicBezTo>
                    <a:cubicBezTo>
                      <a:pt x="175" y="49"/>
                      <a:pt x="181" y="55"/>
                      <a:pt x="187" y="55"/>
                    </a:cubicBezTo>
                    <a:cubicBezTo>
                      <a:pt x="194" y="55"/>
                      <a:pt x="200" y="49"/>
                      <a:pt x="200" y="43"/>
                    </a:cubicBezTo>
                    <a:cubicBezTo>
                      <a:pt x="200" y="36"/>
                      <a:pt x="194" y="31"/>
                      <a:pt x="187" y="31"/>
                    </a:cubicBezTo>
                    <a:close/>
                    <a:moveTo>
                      <a:pt x="187" y="0"/>
                    </a:moveTo>
                    <a:cubicBezTo>
                      <a:pt x="181" y="0"/>
                      <a:pt x="175" y="5"/>
                      <a:pt x="175" y="12"/>
                    </a:cubicBezTo>
                    <a:cubicBezTo>
                      <a:pt x="175" y="19"/>
                      <a:pt x="181" y="24"/>
                      <a:pt x="187" y="24"/>
                    </a:cubicBezTo>
                    <a:cubicBezTo>
                      <a:pt x="194" y="24"/>
                      <a:pt x="200" y="19"/>
                      <a:pt x="200" y="12"/>
                    </a:cubicBezTo>
                    <a:cubicBezTo>
                      <a:pt x="200" y="5"/>
                      <a:pt x="194" y="0"/>
                      <a:pt x="187" y="0"/>
                    </a:cubicBezTo>
                    <a:close/>
                    <a:moveTo>
                      <a:pt x="187" y="307"/>
                    </a:moveTo>
                    <a:cubicBezTo>
                      <a:pt x="181" y="307"/>
                      <a:pt x="175" y="313"/>
                      <a:pt x="175" y="319"/>
                    </a:cubicBezTo>
                    <a:cubicBezTo>
                      <a:pt x="175" y="326"/>
                      <a:pt x="181" y="332"/>
                      <a:pt x="187" y="332"/>
                    </a:cubicBezTo>
                    <a:cubicBezTo>
                      <a:pt x="194" y="332"/>
                      <a:pt x="200" y="326"/>
                      <a:pt x="200" y="319"/>
                    </a:cubicBezTo>
                    <a:cubicBezTo>
                      <a:pt x="200" y="313"/>
                      <a:pt x="194" y="307"/>
                      <a:pt x="187" y="307"/>
                    </a:cubicBezTo>
                    <a:close/>
                    <a:moveTo>
                      <a:pt x="187" y="369"/>
                    </a:moveTo>
                    <a:cubicBezTo>
                      <a:pt x="181" y="369"/>
                      <a:pt x="175" y="374"/>
                      <a:pt x="175" y="381"/>
                    </a:cubicBezTo>
                    <a:cubicBezTo>
                      <a:pt x="175" y="388"/>
                      <a:pt x="181" y="393"/>
                      <a:pt x="187" y="393"/>
                    </a:cubicBezTo>
                    <a:cubicBezTo>
                      <a:pt x="194" y="393"/>
                      <a:pt x="200" y="388"/>
                      <a:pt x="200" y="381"/>
                    </a:cubicBezTo>
                    <a:cubicBezTo>
                      <a:pt x="200" y="374"/>
                      <a:pt x="194" y="369"/>
                      <a:pt x="187" y="369"/>
                    </a:cubicBezTo>
                    <a:close/>
                    <a:moveTo>
                      <a:pt x="187" y="338"/>
                    </a:moveTo>
                    <a:cubicBezTo>
                      <a:pt x="181" y="338"/>
                      <a:pt x="175" y="343"/>
                      <a:pt x="175" y="350"/>
                    </a:cubicBezTo>
                    <a:cubicBezTo>
                      <a:pt x="175" y="357"/>
                      <a:pt x="181" y="362"/>
                      <a:pt x="187" y="362"/>
                    </a:cubicBezTo>
                    <a:cubicBezTo>
                      <a:pt x="194" y="362"/>
                      <a:pt x="200" y="357"/>
                      <a:pt x="200" y="350"/>
                    </a:cubicBezTo>
                    <a:cubicBezTo>
                      <a:pt x="200" y="343"/>
                      <a:pt x="194" y="338"/>
                      <a:pt x="187" y="338"/>
                    </a:cubicBezTo>
                    <a:close/>
                    <a:moveTo>
                      <a:pt x="152" y="369"/>
                    </a:moveTo>
                    <a:cubicBezTo>
                      <a:pt x="146" y="369"/>
                      <a:pt x="140" y="374"/>
                      <a:pt x="140" y="381"/>
                    </a:cubicBezTo>
                    <a:cubicBezTo>
                      <a:pt x="140" y="388"/>
                      <a:pt x="146" y="393"/>
                      <a:pt x="152" y="393"/>
                    </a:cubicBezTo>
                    <a:cubicBezTo>
                      <a:pt x="159" y="393"/>
                      <a:pt x="165" y="388"/>
                      <a:pt x="165" y="381"/>
                    </a:cubicBezTo>
                    <a:cubicBezTo>
                      <a:pt x="165" y="374"/>
                      <a:pt x="159" y="369"/>
                      <a:pt x="152" y="369"/>
                    </a:cubicBezTo>
                    <a:close/>
                    <a:moveTo>
                      <a:pt x="363" y="400"/>
                    </a:moveTo>
                    <a:cubicBezTo>
                      <a:pt x="356" y="400"/>
                      <a:pt x="350" y="405"/>
                      <a:pt x="350" y="412"/>
                    </a:cubicBezTo>
                    <a:cubicBezTo>
                      <a:pt x="350" y="418"/>
                      <a:pt x="356" y="424"/>
                      <a:pt x="363" y="424"/>
                    </a:cubicBezTo>
                    <a:cubicBezTo>
                      <a:pt x="369" y="424"/>
                      <a:pt x="375" y="418"/>
                      <a:pt x="375" y="412"/>
                    </a:cubicBezTo>
                    <a:cubicBezTo>
                      <a:pt x="375" y="405"/>
                      <a:pt x="369" y="400"/>
                      <a:pt x="363" y="400"/>
                    </a:cubicBezTo>
                    <a:close/>
                    <a:moveTo>
                      <a:pt x="363" y="338"/>
                    </a:moveTo>
                    <a:cubicBezTo>
                      <a:pt x="356" y="338"/>
                      <a:pt x="350" y="343"/>
                      <a:pt x="350" y="350"/>
                    </a:cubicBezTo>
                    <a:cubicBezTo>
                      <a:pt x="350" y="357"/>
                      <a:pt x="356" y="362"/>
                      <a:pt x="363" y="362"/>
                    </a:cubicBezTo>
                    <a:cubicBezTo>
                      <a:pt x="369" y="362"/>
                      <a:pt x="375" y="357"/>
                      <a:pt x="375" y="350"/>
                    </a:cubicBezTo>
                    <a:cubicBezTo>
                      <a:pt x="375" y="343"/>
                      <a:pt x="369" y="338"/>
                      <a:pt x="363" y="338"/>
                    </a:cubicBezTo>
                    <a:close/>
                    <a:moveTo>
                      <a:pt x="363" y="369"/>
                    </a:moveTo>
                    <a:cubicBezTo>
                      <a:pt x="356" y="369"/>
                      <a:pt x="350" y="374"/>
                      <a:pt x="350" y="381"/>
                    </a:cubicBezTo>
                    <a:cubicBezTo>
                      <a:pt x="350" y="388"/>
                      <a:pt x="356" y="393"/>
                      <a:pt x="363" y="393"/>
                    </a:cubicBezTo>
                    <a:cubicBezTo>
                      <a:pt x="369" y="393"/>
                      <a:pt x="375" y="388"/>
                      <a:pt x="375" y="381"/>
                    </a:cubicBezTo>
                    <a:cubicBezTo>
                      <a:pt x="375" y="374"/>
                      <a:pt x="369" y="369"/>
                      <a:pt x="363" y="369"/>
                    </a:cubicBezTo>
                    <a:close/>
                    <a:moveTo>
                      <a:pt x="363" y="277"/>
                    </a:moveTo>
                    <a:cubicBezTo>
                      <a:pt x="356" y="277"/>
                      <a:pt x="350" y="282"/>
                      <a:pt x="350" y="289"/>
                    </a:cubicBezTo>
                    <a:cubicBezTo>
                      <a:pt x="350" y="295"/>
                      <a:pt x="356" y="301"/>
                      <a:pt x="363" y="301"/>
                    </a:cubicBezTo>
                    <a:cubicBezTo>
                      <a:pt x="369" y="301"/>
                      <a:pt x="375" y="295"/>
                      <a:pt x="375" y="289"/>
                    </a:cubicBezTo>
                    <a:cubicBezTo>
                      <a:pt x="375" y="282"/>
                      <a:pt x="369" y="277"/>
                      <a:pt x="363" y="277"/>
                    </a:cubicBezTo>
                    <a:close/>
                    <a:moveTo>
                      <a:pt x="363" y="307"/>
                    </a:moveTo>
                    <a:cubicBezTo>
                      <a:pt x="356" y="307"/>
                      <a:pt x="350" y="313"/>
                      <a:pt x="350" y="319"/>
                    </a:cubicBezTo>
                    <a:cubicBezTo>
                      <a:pt x="350" y="326"/>
                      <a:pt x="356" y="332"/>
                      <a:pt x="363" y="332"/>
                    </a:cubicBezTo>
                    <a:cubicBezTo>
                      <a:pt x="369" y="332"/>
                      <a:pt x="375" y="326"/>
                      <a:pt x="375" y="319"/>
                    </a:cubicBezTo>
                    <a:cubicBezTo>
                      <a:pt x="375" y="313"/>
                      <a:pt x="369" y="307"/>
                      <a:pt x="363" y="307"/>
                    </a:cubicBezTo>
                    <a:close/>
                    <a:moveTo>
                      <a:pt x="293" y="86"/>
                    </a:moveTo>
                    <a:cubicBezTo>
                      <a:pt x="299" y="86"/>
                      <a:pt x="305" y="80"/>
                      <a:pt x="305" y="74"/>
                    </a:cubicBezTo>
                    <a:cubicBezTo>
                      <a:pt x="305" y="67"/>
                      <a:pt x="299" y="61"/>
                      <a:pt x="293" y="61"/>
                    </a:cubicBezTo>
                    <a:cubicBezTo>
                      <a:pt x="286" y="61"/>
                      <a:pt x="280" y="67"/>
                      <a:pt x="280" y="74"/>
                    </a:cubicBezTo>
                    <a:cubicBezTo>
                      <a:pt x="280" y="80"/>
                      <a:pt x="286" y="86"/>
                      <a:pt x="293" y="86"/>
                    </a:cubicBezTo>
                    <a:close/>
                    <a:moveTo>
                      <a:pt x="293" y="116"/>
                    </a:moveTo>
                    <a:cubicBezTo>
                      <a:pt x="299" y="116"/>
                      <a:pt x="305" y="111"/>
                      <a:pt x="305" y="104"/>
                    </a:cubicBezTo>
                    <a:cubicBezTo>
                      <a:pt x="305" y="98"/>
                      <a:pt x="299" y="92"/>
                      <a:pt x="293" y="92"/>
                    </a:cubicBezTo>
                    <a:cubicBezTo>
                      <a:pt x="286" y="92"/>
                      <a:pt x="280" y="98"/>
                      <a:pt x="280" y="104"/>
                    </a:cubicBezTo>
                    <a:cubicBezTo>
                      <a:pt x="280" y="111"/>
                      <a:pt x="286" y="116"/>
                      <a:pt x="293" y="116"/>
                    </a:cubicBezTo>
                    <a:close/>
                    <a:moveTo>
                      <a:pt x="293" y="184"/>
                    </a:moveTo>
                    <a:cubicBezTo>
                      <a:pt x="286" y="184"/>
                      <a:pt x="280" y="190"/>
                      <a:pt x="280" y="196"/>
                    </a:cubicBezTo>
                    <a:cubicBezTo>
                      <a:pt x="280" y="203"/>
                      <a:pt x="286" y="209"/>
                      <a:pt x="293" y="209"/>
                    </a:cubicBezTo>
                    <a:cubicBezTo>
                      <a:pt x="299" y="209"/>
                      <a:pt x="305" y="203"/>
                      <a:pt x="305" y="196"/>
                    </a:cubicBezTo>
                    <a:cubicBezTo>
                      <a:pt x="305" y="190"/>
                      <a:pt x="299" y="184"/>
                      <a:pt x="293" y="184"/>
                    </a:cubicBezTo>
                    <a:close/>
                    <a:moveTo>
                      <a:pt x="293" y="246"/>
                    </a:moveTo>
                    <a:cubicBezTo>
                      <a:pt x="286" y="246"/>
                      <a:pt x="280" y="251"/>
                      <a:pt x="280" y="258"/>
                    </a:cubicBezTo>
                    <a:cubicBezTo>
                      <a:pt x="280" y="265"/>
                      <a:pt x="286" y="270"/>
                      <a:pt x="293" y="270"/>
                    </a:cubicBezTo>
                    <a:cubicBezTo>
                      <a:pt x="299" y="270"/>
                      <a:pt x="305" y="265"/>
                      <a:pt x="305" y="258"/>
                    </a:cubicBezTo>
                    <a:cubicBezTo>
                      <a:pt x="305" y="251"/>
                      <a:pt x="299" y="246"/>
                      <a:pt x="293" y="246"/>
                    </a:cubicBezTo>
                    <a:close/>
                    <a:moveTo>
                      <a:pt x="293" y="277"/>
                    </a:moveTo>
                    <a:cubicBezTo>
                      <a:pt x="286" y="277"/>
                      <a:pt x="280" y="282"/>
                      <a:pt x="280" y="289"/>
                    </a:cubicBezTo>
                    <a:cubicBezTo>
                      <a:pt x="280" y="295"/>
                      <a:pt x="286" y="301"/>
                      <a:pt x="293" y="301"/>
                    </a:cubicBezTo>
                    <a:cubicBezTo>
                      <a:pt x="299" y="301"/>
                      <a:pt x="305" y="295"/>
                      <a:pt x="305" y="289"/>
                    </a:cubicBezTo>
                    <a:cubicBezTo>
                      <a:pt x="305" y="282"/>
                      <a:pt x="299" y="277"/>
                      <a:pt x="293" y="277"/>
                    </a:cubicBezTo>
                    <a:close/>
                    <a:moveTo>
                      <a:pt x="293" y="400"/>
                    </a:moveTo>
                    <a:cubicBezTo>
                      <a:pt x="286" y="400"/>
                      <a:pt x="280" y="405"/>
                      <a:pt x="280" y="412"/>
                    </a:cubicBezTo>
                    <a:cubicBezTo>
                      <a:pt x="280" y="418"/>
                      <a:pt x="286" y="424"/>
                      <a:pt x="293" y="424"/>
                    </a:cubicBezTo>
                    <a:cubicBezTo>
                      <a:pt x="299" y="424"/>
                      <a:pt x="305" y="418"/>
                      <a:pt x="305" y="412"/>
                    </a:cubicBezTo>
                    <a:cubicBezTo>
                      <a:pt x="305" y="405"/>
                      <a:pt x="299" y="400"/>
                      <a:pt x="293" y="400"/>
                    </a:cubicBezTo>
                    <a:close/>
                    <a:moveTo>
                      <a:pt x="293" y="307"/>
                    </a:moveTo>
                    <a:cubicBezTo>
                      <a:pt x="286" y="307"/>
                      <a:pt x="280" y="313"/>
                      <a:pt x="280" y="319"/>
                    </a:cubicBezTo>
                    <a:cubicBezTo>
                      <a:pt x="280" y="326"/>
                      <a:pt x="286" y="332"/>
                      <a:pt x="293" y="332"/>
                    </a:cubicBezTo>
                    <a:cubicBezTo>
                      <a:pt x="299" y="332"/>
                      <a:pt x="305" y="326"/>
                      <a:pt x="305" y="319"/>
                    </a:cubicBezTo>
                    <a:cubicBezTo>
                      <a:pt x="305" y="313"/>
                      <a:pt x="299" y="307"/>
                      <a:pt x="293" y="307"/>
                    </a:cubicBezTo>
                    <a:close/>
                    <a:moveTo>
                      <a:pt x="293" y="338"/>
                    </a:moveTo>
                    <a:cubicBezTo>
                      <a:pt x="286" y="338"/>
                      <a:pt x="280" y="343"/>
                      <a:pt x="280" y="350"/>
                    </a:cubicBezTo>
                    <a:cubicBezTo>
                      <a:pt x="280" y="357"/>
                      <a:pt x="286" y="362"/>
                      <a:pt x="293" y="362"/>
                    </a:cubicBezTo>
                    <a:cubicBezTo>
                      <a:pt x="299" y="362"/>
                      <a:pt x="305" y="357"/>
                      <a:pt x="305" y="350"/>
                    </a:cubicBezTo>
                    <a:cubicBezTo>
                      <a:pt x="305" y="343"/>
                      <a:pt x="299" y="338"/>
                      <a:pt x="293" y="338"/>
                    </a:cubicBezTo>
                    <a:close/>
                    <a:moveTo>
                      <a:pt x="293" y="369"/>
                    </a:moveTo>
                    <a:cubicBezTo>
                      <a:pt x="286" y="369"/>
                      <a:pt x="280" y="374"/>
                      <a:pt x="280" y="381"/>
                    </a:cubicBezTo>
                    <a:cubicBezTo>
                      <a:pt x="280" y="388"/>
                      <a:pt x="286" y="393"/>
                      <a:pt x="293" y="393"/>
                    </a:cubicBezTo>
                    <a:cubicBezTo>
                      <a:pt x="299" y="393"/>
                      <a:pt x="305" y="388"/>
                      <a:pt x="305" y="381"/>
                    </a:cubicBezTo>
                    <a:cubicBezTo>
                      <a:pt x="305" y="374"/>
                      <a:pt x="299" y="369"/>
                      <a:pt x="293" y="369"/>
                    </a:cubicBezTo>
                    <a:close/>
                    <a:moveTo>
                      <a:pt x="328" y="307"/>
                    </a:moveTo>
                    <a:cubicBezTo>
                      <a:pt x="321" y="307"/>
                      <a:pt x="315" y="313"/>
                      <a:pt x="315" y="319"/>
                    </a:cubicBezTo>
                    <a:cubicBezTo>
                      <a:pt x="315" y="326"/>
                      <a:pt x="321" y="332"/>
                      <a:pt x="328" y="332"/>
                    </a:cubicBezTo>
                    <a:cubicBezTo>
                      <a:pt x="334" y="332"/>
                      <a:pt x="340" y="326"/>
                      <a:pt x="340" y="319"/>
                    </a:cubicBezTo>
                    <a:cubicBezTo>
                      <a:pt x="340" y="313"/>
                      <a:pt x="334" y="307"/>
                      <a:pt x="328" y="307"/>
                    </a:cubicBezTo>
                    <a:close/>
                    <a:moveTo>
                      <a:pt x="328" y="338"/>
                    </a:moveTo>
                    <a:cubicBezTo>
                      <a:pt x="321" y="338"/>
                      <a:pt x="315" y="343"/>
                      <a:pt x="315" y="350"/>
                    </a:cubicBezTo>
                    <a:cubicBezTo>
                      <a:pt x="315" y="357"/>
                      <a:pt x="321" y="362"/>
                      <a:pt x="328" y="362"/>
                    </a:cubicBezTo>
                    <a:cubicBezTo>
                      <a:pt x="334" y="362"/>
                      <a:pt x="340" y="357"/>
                      <a:pt x="340" y="350"/>
                    </a:cubicBezTo>
                    <a:cubicBezTo>
                      <a:pt x="340" y="343"/>
                      <a:pt x="334" y="338"/>
                      <a:pt x="328" y="338"/>
                    </a:cubicBezTo>
                    <a:close/>
                    <a:moveTo>
                      <a:pt x="328" y="430"/>
                    </a:moveTo>
                    <a:cubicBezTo>
                      <a:pt x="321" y="430"/>
                      <a:pt x="315" y="436"/>
                      <a:pt x="315" y="442"/>
                    </a:cubicBezTo>
                    <a:cubicBezTo>
                      <a:pt x="315" y="449"/>
                      <a:pt x="321" y="455"/>
                      <a:pt x="328" y="455"/>
                    </a:cubicBezTo>
                    <a:cubicBezTo>
                      <a:pt x="334" y="455"/>
                      <a:pt x="340" y="449"/>
                      <a:pt x="340" y="442"/>
                    </a:cubicBezTo>
                    <a:cubicBezTo>
                      <a:pt x="340" y="436"/>
                      <a:pt x="334" y="430"/>
                      <a:pt x="328" y="430"/>
                    </a:cubicBezTo>
                    <a:close/>
                    <a:moveTo>
                      <a:pt x="328" y="277"/>
                    </a:moveTo>
                    <a:cubicBezTo>
                      <a:pt x="321" y="277"/>
                      <a:pt x="315" y="282"/>
                      <a:pt x="315" y="289"/>
                    </a:cubicBezTo>
                    <a:cubicBezTo>
                      <a:pt x="315" y="295"/>
                      <a:pt x="321" y="301"/>
                      <a:pt x="328" y="301"/>
                    </a:cubicBezTo>
                    <a:cubicBezTo>
                      <a:pt x="334" y="301"/>
                      <a:pt x="340" y="295"/>
                      <a:pt x="340" y="289"/>
                    </a:cubicBezTo>
                    <a:cubicBezTo>
                      <a:pt x="340" y="282"/>
                      <a:pt x="334" y="277"/>
                      <a:pt x="328" y="277"/>
                    </a:cubicBezTo>
                    <a:close/>
                    <a:moveTo>
                      <a:pt x="328" y="369"/>
                    </a:moveTo>
                    <a:cubicBezTo>
                      <a:pt x="321" y="369"/>
                      <a:pt x="315" y="374"/>
                      <a:pt x="315" y="381"/>
                    </a:cubicBezTo>
                    <a:cubicBezTo>
                      <a:pt x="315" y="388"/>
                      <a:pt x="321" y="393"/>
                      <a:pt x="328" y="393"/>
                    </a:cubicBezTo>
                    <a:cubicBezTo>
                      <a:pt x="334" y="393"/>
                      <a:pt x="340" y="388"/>
                      <a:pt x="340" y="381"/>
                    </a:cubicBezTo>
                    <a:cubicBezTo>
                      <a:pt x="340" y="374"/>
                      <a:pt x="334" y="369"/>
                      <a:pt x="328" y="369"/>
                    </a:cubicBezTo>
                    <a:close/>
                    <a:moveTo>
                      <a:pt x="328" y="246"/>
                    </a:moveTo>
                    <a:cubicBezTo>
                      <a:pt x="321" y="246"/>
                      <a:pt x="315" y="251"/>
                      <a:pt x="315" y="258"/>
                    </a:cubicBezTo>
                    <a:cubicBezTo>
                      <a:pt x="315" y="265"/>
                      <a:pt x="321" y="270"/>
                      <a:pt x="328" y="270"/>
                    </a:cubicBezTo>
                    <a:cubicBezTo>
                      <a:pt x="334" y="270"/>
                      <a:pt x="340" y="265"/>
                      <a:pt x="340" y="258"/>
                    </a:cubicBezTo>
                    <a:cubicBezTo>
                      <a:pt x="340" y="251"/>
                      <a:pt x="334" y="246"/>
                      <a:pt x="328" y="246"/>
                    </a:cubicBezTo>
                    <a:close/>
                    <a:moveTo>
                      <a:pt x="328" y="400"/>
                    </a:moveTo>
                    <a:cubicBezTo>
                      <a:pt x="321" y="400"/>
                      <a:pt x="315" y="405"/>
                      <a:pt x="315" y="412"/>
                    </a:cubicBezTo>
                    <a:cubicBezTo>
                      <a:pt x="315" y="418"/>
                      <a:pt x="321" y="424"/>
                      <a:pt x="328" y="424"/>
                    </a:cubicBezTo>
                    <a:cubicBezTo>
                      <a:pt x="334" y="424"/>
                      <a:pt x="340" y="418"/>
                      <a:pt x="340" y="412"/>
                    </a:cubicBezTo>
                    <a:cubicBezTo>
                      <a:pt x="340" y="405"/>
                      <a:pt x="334" y="400"/>
                      <a:pt x="328" y="400"/>
                    </a:cubicBezTo>
                    <a:close/>
                    <a:moveTo>
                      <a:pt x="538" y="0"/>
                    </a:moveTo>
                    <a:cubicBezTo>
                      <a:pt x="531" y="0"/>
                      <a:pt x="526" y="5"/>
                      <a:pt x="526" y="12"/>
                    </a:cubicBezTo>
                    <a:cubicBezTo>
                      <a:pt x="526" y="19"/>
                      <a:pt x="531" y="24"/>
                      <a:pt x="538" y="24"/>
                    </a:cubicBezTo>
                    <a:cubicBezTo>
                      <a:pt x="545" y="24"/>
                      <a:pt x="550" y="19"/>
                      <a:pt x="550" y="12"/>
                    </a:cubicBezTo>
                    <a:cubicBezTo>
                      <a:pt x="550" y="5"/>
                      <a:pt x="545" y="0"/>
                      <a:pt x="538" y="0"/>
                    </a:cubicBezTo>
                    <a:close/>
                    <a:moveTo>
                      <a:pt x="643" y="246"/>
                    </a:moveTo>
                    <a:cubicBezTo>
                      <a:pt x="636" y="246"/>
                      <a:pt x="631" y="251"/>
                      <a:pt x="631" y="258"/>
                    </a:cubicBezTo>
                    <a:cubicBezTo>
                      <a:pt x="631" y="265"/>
                      <a:pt x="636" y="270"/>
                      <a:pt x="643" y="270"/>
                    </a:cubicBezTo>
                    <a:cubicBezTo>
                      <a:pt x="650" y="270"/>
                      <a:pt x="655" y="265"/>
                      <a:pt x="655" y="258"/>
                    </a:cubicBezTo>
                    <a:cubicBezTo>
                      <a:pt x="655" y="251"/>
                      <a:pt x="650" y="246"/>
                      <a:pt x="643" y="246"/>
                    </a:cubicBezTo>
                    <a:close/>
                    <a:moveTo>
                      <a:pt x="643" y="239"/>
                    </a:moveTo>
                    <a:cubicBezTo>
                      <a:pt x="650" y="239"/>
                      <a:pt x="655" y="234"/>
                      <a:pt x="655" y="227"/>
                    </a:cubicBezTo>
                    <a:cubicBezTo>
                      <a:pt x="655" y="221"/>
                      <a:pt x="650" y="215"/>
                      <a:pt x="643" y="215"/>
                    </a:cubicBezTo>
                    <a:cubicBezTo>
                      <a:pt x="636" y="215"/>
                      <a:pt x="631" y="221"/>
                      <a:pt x="631" y="227"/>
                    </a:cubicBezTo>
                    <a:cubicBezTo>
                      <a:pt x="631" y="234"/>
                      <a:pt x="636" y="239"/>
                      <a:pt x="643" y="239"/>
                    </a:cubicBezTo>
                    <a:close/>
                  </a:path>
                </a:pathLst>
              </a:custGeom>
              <a:solidFill>
                <a:srgbClr val="FFFFFF"/>
              </a:solidFill>
              <a:ln>
                <a:noFill/>
              </a:ln>
              <a:extLst/>
            </p:spPr>
            <p:txBody>
              <a:bodyPr/>
              <a:lstStyle/>
              <a:p>
                <a:pPr>
                  <a:spcBef>
                    <a:spcPct val="50000"/>
                  </a:spcBef>
                  <a:defRPr/>
                </a:pPr>
                <a:endParaRPr lang="en-US">
                  <a:solidFill>
                    <a:srgbClr val="00A9D4"/>
                  </a:solidFill>
                  <a:latin typeface="Arial" charset="0"/>
                  <a:cs typeface="Arial" pitchFamily="34" charset="0"/>
                </a:endParaRPr>
              </a:p>
            </p:txBody>
          </p:sp>
          <p:sp>
            <p:nvSpPr>
              <p:cNvPr id="47" name="Freeform 10"/>
              <p:cNvSpPr>
                <a:spLocks noChangeAspect="1" noEditPoints="1"/>
              </p:cNvSpPr>
              <p:nvPr/>
            </p:nvSpPr>
            <p:spPr bwMode="auto">
              <a:xfrm>
                <a:off x="1595438" y="3205163"/>
                <a:ext cx="1941512" cy="2420937"/>
              </a:xfrm>
              <a:custGeom>
                <a:avLst/>
                <a:gdLst>
                  <a:gd name="T0" fmla="*/ 2147483647 w 1005"/>
                  <a:gd name="T1" fmla="*/ 2147483647 h 1254"/>
                  <a:gd name="T2" fmla="*/ 2147483647 w 1005"/>
                  <a:gd name="T3" fmla="*/ 2147483647 h 1254"/>
                  <a:gd name="T4" fmla="*/ 2147483647 w 1005"/>
                  <a:gd name="T5" fmla="*/ 2147483647 h 1254"/>
                  <a:gd name="T6" fmla="*/ 2147483647 w 1005"/>
                  <a:gd name="T7" fmla="*/ 2147483647 h 1254"/>
                  <a:gd name="T8" fmla="*/ 2147483647 w 1005"/>
                  <a:gd name="T9" fmla="*/ 2147483647 h 1254"/>
                  <a:gd name="T10" fmla="*/ 2147483647 w 1005"/>
                  <a:gd name="T11" fmla="*/ 2147483647 h 1254"/>
                  <a:gd name="T12" fmla="*/ 2147483647 w 1005"/>
                  <a:gd name="T13" fmla="*/ 2147483647 h 1254"/>
                  <a:gd name="T14" fmla="*/ 2147483647 w 1005"/>
                  <a:gd name="T15" fmla="*/ 2147483647 h 1254"/>
                  <a:gd name="T16" fmla="*/ 2147483647 w 1005"/>
                  <a:gd name="T17" fmla="*/ 2147483647 h 1254"/>
                  <a:gd name="T18" fmla="*/ 2147483647 w 1005"/>
                  <a:gd name="T19" fmla="*/ 2147483647 h 1254"/>
                  <a:gd name="T20" fmla="*/ 2147483647 w 1005"/>
                  <a:gd name="T21" fmla="*/ 2147483647 h 1254"/>
                  <a:gd name="T22" fmla="*/ 2147483647 w 1005"/>
                  <a:gd name="T23" fmla="*/ 2147483647 h 1254"/>
                  <a:gd name="T24" fmla="*/ 2147483647 w 1005"/>
                  <a:gd name="T25" fmla="*/ 2147483647 h 1254"/>
                  <a:gd name="T26" fmla="*/ 2147483647 w 1005"/>
                  <a:gd name="T27" fmla="*/ 2147483647 h 1254"/>
                  <a:gd name="T28" fmla="*/ 2147483647 w 1005"/>
                  <a:gd name="T29" fmla="*/ 2147483647 h 1254"/>
                  <a:gd name="T30" fmla="*/ 2147483647 w 1005"/>
                  <a:gd name="T31" fmla="*/ 2147483647 h 1254"/>
                  <a:gd name="T32" fmla="*/ 2147483647 w 1005"/>
                  <a:gd name="T33" fmla="*/ 2147483647 h 1254"/>
                  <a:gd name="T34" fmla="*/ 2147483647 w 1005"/>
                  <a:gd name="T35" fmla="*/ 2147483647 h 1254"/>
                  <a:gd name="T36" fmla="*/ 2147483647 w 1005"/>
                  <a:gd name="T37" fmla="*/ 2147483647 h 1254"/>
                  <a:gd name="T38" fmla="*/ 2147483647 w 1005"/>
                  <a:gd name="T39" fmla="*/ 0 h 1254"/>
                  <a:gd name="T40" fmla="*/ 2147483647 w 1005"/>
                  <a:gd name="T41" fmla="*/ 2147483647 h 1254"/>
                  <a:gd name="T42" fmla="*/ 2147483647 w 1005"/>
                  <a:gd name="T43" fmla="*/ 2147483647 h 1254"/>
                  <a:gd name="T44" fmla="*/ 2147483647 w 1005"/>
                  <a:gd name="T45" fmla="*/ 2147483647 h 1254"/>
                  <a:gd name="T46" fmla="*/ 2147483647 w 1005"/>
                  <a:gd name="T47" fmla="*/ 2147483647 h 1254"/>
                  <a:gd name="T48" fmla="*/ 2147483647 w 1005"/>
                  <a:gd name="T49" fmla="*/ 2147483647 h 1254"/>
                  <a:gd name="T50" fmla="*/ 2147483647 w 1005"/>
                  <a:gd name="T51" fmla="*/ 2147483647 h 1254"/>
                  <a:gd name="T52" fmla="*/ 2147483647 w 1005"/>
                  <a:gd name="T53" fmla="*/ 2147483647 h 1254"/>
                  <a:gd name="T54" fmla="*/ 2147483647 w 1005"/>
                  <a:gd name="T55" fmla="*/ 2147483647 h 1254"/>
                  <a:gd name="T56" fmla="*/ 2147483647 w 1005"/>
                  <a:gd name="T57" fmla="*/ 2147483647 h 1254"/>
                  <a:gd name="T58" fmla="*/ 2147483647 w 1005"/>
                  <a:gd name="T59" fmla="*/ 2147483647 h 1254"/>
                  <a:gd name="T60" fmla="*/ 2147483647 w 1005"/>
                  <a:gd name="T61" fmla="*/ 2147483647 h 1254"/>
                  <a:gd name="T62" fmla="*/ 2147483647 w 1005"/>
                  <a:gd name="T63" fmla="*/ 2147483647 h 1254"/>
                  <a:gd name="T64" fmla="*/ 2147483647 w 1005"/>
                  <a:gd name="T65" fmla="*/ 2147483647 h 1254"/>
                  <a:gd name="T66" fmla="*/ 2147483647 w 1005"/>
                  <a:gd name="T67" fmla="*/ 2147483647 h 1254"/>
                  <a:gd name="T68" fmla="*/ 2147483647 w 1005"/>
                  <a:gd name="T69" fmla="*/ 2147483647 h 1254"/>
                  <a:gd name="T70" fmla="*/ 2147483647 w 1005"/>
                  <a:gd name="T71" fmla="*/ 2147483647 h 1254"/>
                  <a:gd name="T72" fmla="*/ 2147483647 w 1005"/>
                  <a:gd name="T73" fmla="*/ 2147483647 h 1254"/>
                  <a:gd name="T74" fmla="*/ 2147483647 w 1005"/>
                  <a:gd name="T75" fmla="*/ 2147483647 h 1254"/>
                  <a:gd name="T76" fmla="*/ 2147483647 w 1005"/>
                  <a:gd name="T77" fmla="*/ 2147483647 h 1254"/>
                  <a:gd name="T78" fmla="*/ 2147483647 w 1005"/>
                  <a:gd name="T79" fmla="*/ 2147483647 h 1254"/>
                  <a:gd name="T80" fmla="*/ 2147483647 w 1005"/>
                  <a:gd name="T81" fmla="*/ 2147483647 h 1254"/>
                  <a:gd name="T82" fmla="*/ 2147483647 w 1005"/>
                  <a:gd name="T83" fmla="*/ 2147483647 h 1254"/>
                  <a:gd name="T84" fmla="*/ 2147483647 w 1005"/>
                  <a:gd name="T85" fmla="*/ 2147483647 h 1254"/>
                  <a:gd name="T86" fmla="*/ 2147483647 w 1005"/>
                  <a:gd name="T87" fmla="*/ 2147483647 h 1254"/>
                  <a:gd name="T88" fmla="*/ 2147483647 w 1005"/>
                  <a:gd name="T89" fmla="*/ 2147483647 h 1254"/>
                  <a:gd name="T90" fmla="*/ 2147483647 w 1005"/>
                  <a:gd name="T91" fmla="*/ 2147483647 h 1254"/>
                  <a:gd name="T92" fmla="*/ 2147483647 w 1005"/>
                  <a:gd name="T93" fmla="*/ 2147483647 h 1254"/>
                  <a:gd name="T94" fmla="*/ 2147483647 w 1005"/>
                  <a:gd name="T95" fmla="*/ 2147483647 h 1254"/>
                  <a:gd name="T96" fmla="*/ 2147483647 w 1005"/>
                  <a:gd name="T97" fmla="*/ 2147483647 h 1254"/>
                  <a:gd name="T98" fmla="*/ 2147483647 w 1005"/>
                  <a:gd name="T99" fmla="*/ 2147483647 h 1254"/>
                  <a:gd name="T100" fmla="*/ 2147483647 w 1005"/>
                  <a:gd name="T101" fmla="*/ 2147483647 h 1254"/>
                  <a:gd name="T102" fmla="*/ 2147483647 w 1005"/>
                  <a:gd name="T103" fmla="*/ 2147483647 h 1254"/>
                  <a:gd name="T104" fmla="*/ 2147483647 w 1005"/>
                  <a:gd name="T105" fmla="*/ 2147483647 h 1254"/>
                  <a:gd name="T106" fmla="*/ 2147483647 w 1005"/>
                  <a:gd name="T107" fmla="*/ 2147483647 h 1254"/>
                  <a:gd name="T108" fmla="*/ 2147483647 w 1005"/>
                  <a:gd name="T109" fmla="*/ 2147483647 h 1254"/>
                  <a:gd name="T110" fmla="*/ 2147483647 w 1005"/>
                  <a:gd name="T111" fmla="*/ 2147483647 h 1254"/>
                  <a:gd name="T112" fmla="*/ 2147483647 w 1005"/>
                  <a:gd name="T113" fmla="*/ 2147483647 h 1254"/>
                  <a:gd name="T114" fmla="*/ 2147483647 w 1005"/>
                  <a:gd name="T115" fmla="*/ 2147483647 h 1254"/>
                  <a:gd name="T116" fmla="*/ 2147483647 w 1005"/>
                  <a:gd name="T117" fmla="*/ 2147483647 h 1254"/>
                  <a:gd name="T118" fmla="*/ 2147483647 w 1005"/>
                  <a:gd name="T119" fmla="*/ 2147483647 h 1254"/>
                  <a:gd name="T120" fmla="*/ 2147483647 w 1005"/>
                  <a:gd name="T121" fmla="*/ 2147483647 h 1254"/>
                  <a:gd name="T122" fmla="*/ 2147483647 w 1005"/>
                  <a:gd name="T123" fmla="*/ 2147483647 h 1254"/>
                  <a:gd name="T124" fmla="*/ 2147483647 w 1005"/>
                  <a:gd name="T125" fmla="*/ 2147483647 h 125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05" h="1254">
                    <a:moveTo>
                      <a:pt x="572" y="861"/>
                    </a:moveTo>
                    <a:cubicBezTo>
                      <a:pt x="566" y="861"/>
                      <a:pt x="560" y="866"/>
                      <a:pt x="560" y="873"/>
                    </a:cubicBezTo>
                    <a:cubicBezTo>
                      <a:pt x="560" y="880"/>
                      <a:pt x="566" y="885"/>
                      <a:pt x="572" y="885"/>
                    </a:cubicBezTo>
                    <a:cubicBezTo>
                      <a:pt x="579" y="885"/>
                      <a:pt x="585" y="880"/>
                      <a:pt x="585" y="873"/>
                    </a:cubicBezTo>
                    <a:cubicBezTo>
                      <a:pt x="585" y="866"/>
                      <a:pt x="579" y="861"/>
                      <a:pt x="572" y="861"/>
                    </a:cubicBezTo>
                    <a:close/>
                    <a:moveTo>
                      <a:pt x="572" y="922"/>
                    </a:moveTo>
                    <a:cubicBezTo>
                      <a:pt x="566" y="922"/>
                      <a:pt x="560" y="928"/>
                      <a:pt x="560" y="934"/>
                    </a:cubicBezTo>
                    <a:cubicBezTo>
                      <a:pt x="560" y="941"/>
                      <a:pt x="566" y="947"/>
                      <a:pt x="572" y="947"/>
                    </a:cubicBezTo>
                    <a:cubicBezTo>
                      <a:pt x="579" y="947"/>
                      <a:pt x="585" y="941"/>
                      <a:pt x="585" y="934"/>
                    </a:cubicBezTo>
                    <a:cubicBezTo>
                      <a:pt x="585" y="928"/>
                      <a:pt x="579" y="922"/>
                      <a:pt x="572" y="922"/>
                    </a:cubicBezTo>
                    <a:close/>
                    <a:moveTo>
                      <a:pt x="572" y="892"/>
                    </a:moveTo>
                    <a:cubicBezTo>
                      <a:pt x="566" y="892"/>
                      <a:pt x="560" y="897"/>
                      <a:pt x="560" y="904"/>
                    </a:cubicBezTo>
                    <a:cubicBezTo>
                      <a:pt x="560" y="910"/>
                      <a:pt x="566" y="916"/>
                      <a:pt x="572" y="916"/>
                    </a:cubicBezTo>
                    <a:cubicBezTo>
                      <a:pt x="579" y="916"/>
                      <a:pt x="585" y="910"/>
                      <a:pt x="585" y="904"/>
                    </a:cubicBezTo>
                    <a:cubicBezTo>
                      <a:pt x="585" y="897"/>
                      <a:pt x="579" y="892"/>
                      <a:pt x="572" y="892"/>
                    </a:cubicBezTo>
                    <a:close/>
                    <a:moveTo>
                      <a:pt x="572" y="830"/>
                    </a:moveTo>
                    <a:cubicBezTo>
                      <a:pt x="566" y="830"/>
                      <a:pt x="560" y="836"/>
                      <a:pt x="560" y="842"/>
                    </a:cubicBezTo>
                    <a:cubicBezTo>
                      <a:pt x="560" y="849"/>
                      <a:pt x="566" y="854"/>
                      <a:pt x="572" y="854"/>
                    </a:cubicBezTo>
                    <a:cubicBezTo>
                      <a:pt x="579" y="854"/>
                      <a:pt x="585" y="849"/>
                      <a:pt x="585" y="842"/>
                    </a:cubicBezTo>
                    <a:cubicBezTo>
                      <a:pt x="585" y="836"/>
                      <a:pt x="579" y="830"/>
                      <a:pt x="572" y="830"/>
                    </a:cubicBezTo>
                    <a:close/>
                    <a:moveTo>
                      <a:pt x="572" y="1045"/>
                    </a:moveTo>
                    <a:cubicBezTo>
                      <a:pt x="566" y="1045"/>
                      <a:pt x="560" y="1051"/>
                      <a:pt x="560" y="1057"/>
                    </a:cubicBezTo>
                    <a:cubicBezTo>
                      <a:pt x="560" y="1064"/>
                      <a:pt x="566" y="1070"/>
                      <a:pt x="572" y="1070"/>
                    </a:cubicBezTo>
                    <a:cubicBezTo>
                      <a:pt x="579" y="1070"/>
                      <a:pt x="585" y="1064"/>
                      <a:pt x="585" y="1057"/>
                    </a:cubicBezTo>
                    <a:cubicBezTo>
                      <a:pt x="585" y="1051"/>
                      <a:pt x="579" y="1045"/>
                      <a:pt x="572" y="1045"/>
                    </a:cubicBezTo>
                    <a:close/>
                    <a:moveTo>
                      <a:pt x="572" y="953"/>
                    </a:moveTo>
                    <a:cubicBezTo>
                      <a:pt x="566" y="953"/>
                      <a:pt x="560" y="959"/>
                      <a:pt x="560" y="965"/>
                    </a:cubicBezTo>
                    <a:cubicBezTo>
                      <a:pt x="560" y="972"/>
                      <a:pt x="566" y="977"/>
                      <a:pt x="572" y="977"/>
                    </a:cubicBezTo>
                    <a:cubicBezTo>
                      <a:pt x="579" y="977"/>
                      <a:pt x="585" y="972"/>
                      <a:pt x="585" y="965"/>
                    </a:cubicBezTo>
                    <a:cubicBezTo>
                      <a:pt x="585" y="959"/>
                      <a:pt x="579" y="953"/>
                      <a:pt x="572" y="953"/>
                    </a:cubicBezTo>
                    <a:close/>
                    <a:moveTo>
                      <a:pt x="572" y="1076"/>
                    </a:moveTo>
                    <a:cubicBezTo>
                      <a:pt x="566" y="1076"/>
                      <a:pt x="560" y="1081"/>
                      <a:pt x="560" y="1088"/>
                    </a:cubicBezTo>
                    <a:cubicBezTo>
                      <a:pt x="560" y="1095"/>
                      <a:pt x="566" y="1100"/>
                      <a:pt x="572" y="1100"/>
                    </a:cubicBezTo>
                    <a:cubicBezTo>
                      <a:pt x="579" y="1100"/>
                      <a:pt x="585" y="1095"/>
                      <a:pt x="585" y="1088"/>
                    </a:cubicBezTo>
                    <a:cubicBezTo>
                      <a:pt x="585" y="1081"/>
                      <a:pt x="579" y="1076"/>
                      <a:pt x="572" y="1076"/>
                    </a:cubicBezTo>
                    <a:close/>
                    <a:moveTo>
                      <a:pt x="572" y="1015"/>
                    </a:moveTo>
                    <a:cubicBezTo>
                      <a:pt x="566" y="1015"/>
                      <a:pt x="560" y="1020"/>
                      <a:pt x="560" y="1027"/>
                    </a:cubicBezTo>
                    <a:cubicBezTo>
                      <a:pt x="560" y="1033"/>
                      <a:pt x="566" y="1039"/>
                      <a:pt x="572" y="1039"/>
                    </a:cubicBezTo>
                    <a:cubicBezTo>
                      <a:pt x="579" y="1039"/>
                      <a:pt x="585" y="1033"/>
                      <a:pt x="585" y="1027"/>
                    </a:cubicBezTo>
                    <a:cubicBezTo>
                      <a:pt x="585" y="1020"/>
                      <a:pt x="579" y="1015"/>
                      <a:pt x="572" y="1015"/>
                    </a:cubicBezTo>
                    <a:close/>
                    <a:moveTo>
                      <a:pt x="572" y="984"/>
                    </a:moveTo>
                    <a:cubicBezTo>
                      <a:pt x="566" y="984"/>
                      <a:pt x="560" y="989"/>
                      <a:pt x="560" y="996"/>
                    </a:cubicBezTo>
                    <a:cubicBezTo>
                      <a:pt x="560" y="1003"/>
                      <a:pt x="566" y="1008"/>
                      <a:pt x="572" y="1008"/>
                    </a:cubicBezTo>
                    <a:cubicBezTo>
                      <a:pt x="579" y="1008"/>
                      <a:pt x="585" y="1003"/>
                      <a:pt x="585" y="996"/>
                    </a:cubicBezTo>
                    <a:cubicBezTo>
                      <a:pt x="585" y="989"/>
                      <a:pt x="579" y="984"/>
                      <a:pt x="572" y="984"/>
                    </a:cubicBezTo>
                    <a:close/>
                    <a:moveTo>
                      <a:pt x="572" y="799"/>
                    </a:moveTo>
                    <a:cubicBezTo>
                      <a:pt x="566" y="799"/>
                      <a:pt x="560" y="805"/>
                      <a:pt x="560" y="812"/>
                    </a:cubicBezTo>
                    <a:cubicBezTo>
                      <a:pt x="560" y="818"/>
                      <a:pt x="566" y="824"/>
                      <a:pt x="572" y="824"/>
                    </a:cubicBezTo>
                    <a:cubicBezTo>
                      <a:pt x="579" y="824"/>
                      <a:pt x="585" y="818"/>
                      <a:pt x="585" y="812"/>
                    </a:cubicBezTo>
                    <a:cubicBezTo>
                      <a:pt x="585" y="805"/>
                      <a:pt x="579" y="799"/>
                      <a:pt x="572" y="799"/>
                    </a:cubicBezTo>
                    <a:close/>
                    <a:moveTo>
                      <a:pt x="572" y="523"/>
                    </a:moveTo>
                    <a:cubicBezTo>
                      <a:pt x="566" y="523"/>
                      <a:pt x="560" y="528"/>
                      <a:pt x="560" y="535"/>
                    </a:cubicBezTo>
                    <a:cubicBezTo>
                      <a:pt x="560" y="542"/>
                      <a:pt x="566" y="547"/>
                      <a:pt x="572" y="547"/>
                    </a:cubicBezTo>
                    <a:cubicBezTo>
                      <a:pt x="579" y="547"/>
                      <a:pt x="585" y="542"/>
                      <a:pt x="585" y="535"/>
                    </a:cubicBezTo>
                    <a:cubicBezTo>
                      <a:pt x="585" y="528"/>
                      <a:pt x="579" y="523"/>
                      <a:pt x="572" y="523"/>
                    </a:cubicBezTo>
                    <a:close/>
                    <a:moveTo>
                      <a:pt x="572" y="584"/>
                    </a:moveTo>
                    <a:cubicBezTo>
                      <a:pt x="566" y="584"/>
                      <a:pt x="560" y="590"/>
                      <a:pt x="560" y="596"/>
                    </a:cubicBezTo>
                    <a:cubicBezTo>
                      <a:pt x="560" y="603"/>
                      <a:pt x="566" y="608"/>
                      <a:pt x="572" y="608"/>
                    </a:cubicBezTo>
                    <a:cubicBezTo>
                      <a:pt x="579" y="608"/>
                      <a:pt x="585" y="603"/>
                      <a:pt x="585" y="596"/>
                    </a:cubicBezTo>
                    <a:cubicBezTo>
                      <a:pt x="585" y="590"/>
                      <a:pt x="579" y="584"/>
                      <a:pt x="572" y="584"/>
                    </a:cubicBezTo>
                    <a:close/>
                    <a:moveTo>
                      <a:pt x="572" y="615"/>
                    </a:moveTo>
                    <a:cubicBezTo>
                      <a:pt x="566" y="615"/>
                      <a:pt x="560" y="620"/>
                      <a:pt x="560" y="627"/>
                    </a:cubicBezTo>
                    <a:cubicBezTo>
                      <a:pt x="560" y="634"/>
                      <a:pt x="566" y="639"/>
                      <a:pt x="572" y="639"/>
                    </a:cubicBezTo>
                    <a:cubicBezTo>
                      <a:pt x="579" y="639"/>
                      <a:pt x="585" y="634"/>
                      <a:pt x="585" y="627"/>
                    </a:cubicBezTo>
                    <a:cubicBezTo>
                      <a:pt x="585" y="620"/>
                      <a:pt x="579" y="615"/>
                      <a:pt x="572" y="615"/>
                    </a:cubicBezTo>
                    <a:close/>
                    <a:moveTo>
                      <a:pt x="572" y="553"/>
                    </a:moveTo>
                    <a:cubicBezTo>
                      <a:pt x="566" y="553"/>
                      <a:pt x="560" y="559"/>
                      <a:pt x="560" y="566"/>
                    </a:cubicBezTo>
                    <a:cubicBezTo>
                      <a:pt x="560" y="572"/>
                      <a:pt x="566" y="578"/>
                      <a:pt x="572" y="578"/>
                    </a:cubicBezTo>
                    <a:cubicBezTo>
                      <a:pt x="579" y="578"/>
                      <a:pt x="585" y="572"/>
                      <a:pt x="585" y="566"/>
                    </a:cubicBezTo>
                    <a:cubicBezTo>
                      <a:pt x="585" y="559"/>
                      <a:pt x="579" y="553"/>
                      <a:pt x="572" y="553"/>
                    </a:cubicBezTo>
                    <a:close/>
                    <a:moveTo>
                      <a:pt x="572" y="738"/>
                    </a:moveTo>
                    <a:cubicBezTo>
                      <a:pt x="566" y="738"/>
                      <a:pt x="560" y="743"/>
                      <a:pt x="560" y="750"/>
                    </a:cubicBezTo>
                    <a:cubicBezTo>
                      <a:pt x="560" y="757"/>
                      <a:pt x="566" y="762"/>
                      <a:pt x="572" y="762"/>
                    </a:cubicBezTo>
                    <a:cubicBezTo>
                      <a:pt x="579" y="762"/>
                      <a:pt x="585" y="757"/>
                      <a:pt x="585" y="750"/>
                    </a:cubicBezTo>
                    <a:cubicBezTo>
                      <a:pt x="585" y="743"/>
                      <a:pt x="579" y="738"/>
                      <a:pt x="572" y="738"/>
                    </a:cubicBezTo>
                    <a:close/>
                    <a:moveTo>
                      <a:pt x="572" y="676"/>
                    </a:moveTo>
                    <a:cubicBezTo>
                      <a:pt x="566" y="676"/>
                      <a:pt x="560" y="682"/>
                      <a:pt x="560" y="689"/>
                    </a:cubicBezTo>
                    <a:cubicBezTo>
                      <a:pt x="560" y="695"/>
                      <a:pt x="566" y="701"/>
                      <a:pt x="572" y="701"/>
                    </a:cubicBezTo>
                    <a:cubicBezTo>
                      <a:pt x="579" y="701"/>
                      <a:pt x="585" y="695"/>
                      <a:pt x="585" y="689"/>
                    </a:cubicBezTo>
                    <a:cubicBezTo>
                      <a:pt x="585" y="682"/>
                      <a:pt x="579" y="676"/>
                      <a:pt x="572" y="676"/>
                    </a:cubicBezTo>
                    <a:close/>
                    <a:moveTo>
                      <a:pt x="572" y="769"/>
                    </a:moveTo>
                    <a:cubicBezTo>
                      <a:pt x="566" y="769"/>
                      <a:pt x="560" y="774"/>
                      <a:pt x="560" y="781"/>
                    </a:cubicBezTo>
                    <a:cubicBezTo>
                      <a:pt x="560" y="787"/>
                      <a:pt x="566" y="793"/>
                      <a:pt x="572" y="793"/>
                    </a:cubicBezTo>
                    <a:cubicBezTo>
                      <a:pt x="579" y="793"/>
                      <a:pt x="585" y="787"/>
                      <a:pt x="585" y="781"/>
                    </a:cubicBezTo>
                    <a:cubicBezTo>
                      <a:pt x="585" y="774"/>
                      <a:pt x="579" y="769"/>
                      <a:pt x="572" y="769"/>
                    </a:cubicBezTo>
                    <a:close/>
                    <a:moveTo>
                      <a:pt x="572" y="707"/>
                    </a:moveTo>
                    <a:cubicBezTo>
                      <a:pt x="566" y="707"/>
                      <a:pt x="560" y="713"/>
                      <a:pt x="560" y="719"/>
                    </a:cubicBezTo>
                    <a:cubicBezTo>
                      <a:pt x="560" y="726"/>
                      <a:pt x="566" y="731"/>
                      <a:pt x="572" y="731"/>
                    </a:cubicBezTo>
                    <a:cubicBezTo>
                      <a:pt x="579" y="731"/>
                      <a:pt x="585" y="726"/>
                      <a:pt x="585" y="719"/>
                    </a:cubicBezTo>
                    <a:cubicBezTo>
                      <a:pt x="585" y="713"/>
                      <a:pt x="579" y="707"/>
                      <a:pt x="572" y="707"/>
                    </a:cubicBezTo>
                    <a:close/>
                    <a:moveTo>
                      <a:pt x="572" y="646"/>
                    </a:moveTo>
                    <a:cubicBezTo>
                      <a:pt x="566" y="646"/>
                      <a:pt x="560" y="651"/>
                      <a:pt x="560" y="658"/>
                    </a:cubicBezTo>
                    <a:cubicBezTo>
                      <a:pt x="560" y="665"/>
                      <a:pt x="566" y="670"/>
                      <a:pt x="572" y="670"/>
                    </a:cubicBezTo>
                    <a:cubicBezTo>
                      <a:pt x="579" y="670"/>
                      <a:pt x="585" y="665"/>
                      <a:pt x="585" y="658"/>
                    </a:cubicBezTo>
                    <a:cubicBezTo>
                      <a:pt x="585" y="651"/>
                      <a:pt x="579" y="646"/>
                      <a:pt x="572" y="646"/>
                    </a:cubicBezTo>
                    <a:close/>
                    <a:moveTo>
                      <a:pt x="537" y="492"/>
                    </a:moveTo>
                    <a:cubicBezTo>
                      <a:pt x="531" y="492"/>
                      <a:pt x="525" y="497"/>
                      <a:pt x="525" y="504"/>
                    </a:cubicBezTo>
                    <a:cubicBezTo>
                      <a:pt x="525" y="511"/>
                      <a:pt x="531" y="516"/>
                      <a:pt x="537" y="516"/>
                    </a:cubicBezTo>
                    <a:cubicBezTo>
                      <a:pt x="544" y="516"/>
                      <a:pt x="550" y="511"/>
                      <a:pt x="550" y="504"/>
                    </a:cubicBezTo>
                    <a:cubicBezTo>
                      <a:pt x="550" y="497"/>
                      <a:pt x="544" y="492"/>
                      <a:pt x="537" y="492"/>
                    </a:cubicBezTo>
                    <a:close/>
                    <a:moveTo>
                      <a:pt x="537" y="461"/>
                    </a:moveTo>
                    <a:cubicBezTo>
                      <a:pt x="531" y="461"/>
                      <a:pt x="525" y="467"/>
                      <a:pt x="525" y="473"/>
                    </a:cubicBezTo>
                    <a:cubicBezTo>
                      <a:pt x="525" y="480"/>
                      <a:pt x="531" y="486"/>
                      <a:pt x="537" y="486"/>
                    </a:cubicBezTo>
                    <a:cubicBezTo>
                      <a:pt x="544" y="486"/>
                      <a:pt x="550" y="480"/>
                      <a:pt x="550" y="473"/>
                    </a:cubicBezTo>
                    <a:cubicBezTo>
                      <a:pt x="550" y="467"/>
                      <a:pt x="544" y="461"/>
                      <a:pt x="537" y="461"/>
                    </a:cubicBezTo>
                    <a:close/>
                    <a:moveTo>
                      <a:pt x="537" y="523"/>
                    </a:moveTo>
                    <a:cubicBezTo>
                      <a:pt x="531" y="523"/>
                      <a:pt x="525" y="528"/>
                      <a:pt x="525" y="535"/>
                    </a:cubicBezTo>
                    <a:cubicBezTo>
                      <a:pt x="525" y="542"/>
                      <a:pt x="531" y="547"/>
                      <a:pt x="537" y="547"/>
                    </a:cubicBezTo>
                    <a:cubicBezTo>
                      <a:pt x="544" y="547"/>
                      <a:pt x="550" y="542"/>
                      <a:pt x="550" y="535"/>
                    </a:cubicBezTo>
                    <a:cubicBezTo>
                      <a:pt x="550" y="528"/>
                      <a:pt x="544" y="523"/>
                      <a:pt x="537" y="523"/>
                    </a:cubicBezTo>
                    <a:close/>
                    <a:moveTo>
                      <a:pt x="537" y="430"/>
                    </a:moveTo>
                    <a:cubicBezTo>
                      <a:pt x="531" y="430"/>
                      <a:pt x="525" y="436"/>
                      <a:pt x="525" y="443"/>
                    </a:cubicBezTo>
                    <a:cubicBezTo>
                      <a:pt x="525" y="449"/>
                      <a:pt x="531" y="455"/>
                      <a:pt x="537" y="455"/>
                    </a:cubicBezTo>
                    <a:cubicBezTo>
                      <a:pt x="544" y="455"/>
                      <a:pt x="550" y="449"/>
                      <a:pt x="550" y="443"/>
                    </a:cubicBezTo>
                    <a:cubicBezTo>
                      <a:pt x="550" y="436"/>
                      <a:pt x="544" y="430"/>
                      <a:pt x="537" y="430"/>
                    </a:cubicBezTo>
                    <a:close/>
                    <a:moveTo>
                      <a:pt x="537" y="553"/>
                    </a:moveTo>
                    <a:cubicBezTo>
                      <a:pt x="531" y="553"/>
                      <a:pt x="525" y="559"/>
                      <a:pt x="525" y="566"/>
                    </a:cubicBezTo>
                    <a:cubicBezTo>
                      <a:pt x="525" y="572"/>
                      <a:pt x="531" y="578"/>
                      <a:pt x="537" y="578"/>
                    </a:cubicBezTo>
                    <a:cubicBezTo>
                      <a:pt x="544" y="578"/>
                      <a:pt x="550" y="572"/>
                      <a:pt x="550" y="566"/>
                    </a:cubicBezTo>
                    <a:cubicBezTo>
                      <a:pt x="550" y="559"/>
                      <a:pt x="544" y="553"/>
                      <a:pt x="537" y="553"/>
                    </a:cubicBezTo>
                    <a:close/>
                    <a:moveTo>
                      <a:pt x="537" y="400"/>
                    </a:moveTo>
                    <a:cubicBezTo>
                      <a:pt x="531" y="400"/>
                      <a:pt x="525" y="405"/>
                      <a:pt x="525" y="412"/>
                    </a:cubicBezTo>
                    <a:cubicBezTo>
                      <a:pt x="525" y="419"/>
                      <a:pt x="531" y="424"/>
                      <a:pt x="537" y="424"/>
                    </a:cubicBezTo>
                    <a:cubicBezTo>
                      <a:pt x="544" y="424"/>
                      <a:pt x="550" y="419"/>
                      <a:pt x="550" y="412"/>
                    </a:cubicBezTo>
                    <a:cubicBezTo>
                      <a:pt x="550" y="405"/>
                      <a:pt x="544" y="400"/>
                      <a:pt x="537" y="400"/>
                    </a:cubicBezTo>
                    <a:close/>
                    <a:moveTo>
                      <a:pt x="537" y="646"/>
                    </a:moveTo>
                    <a:cubicBezTo>
                      <a:pt x="531" y="646"/>
                      <a:pt x="525" y="651"/>
                      <a:pt x="525" y="658"/>
                    </a:cubicBezTo>
                    <a:cubicBezTo>
                      <a:pt x="525" y="665"/>
                      <a:pt x="531" y="670"/>
                      <a:pt x="537" y="670"/>
                    </a:cubicBezTo>
                    <a:cubicBezTo>
                      <a:pt x="544" y="670"/>
                      <a:pt x="550" y="665"/>
                      <a:pt x="550" y="658"/>
                    </a:cubicBezTo>
                    <a:cubicBezTo>
                      <a:pt x="550" y="651"/>
                      <a:pt x="544" y="646"/>
                      <a:pt x="537" y="646"/>
                    </a:cubicBezTo>
                    <a:close/>
                    <a:moveTo>
                      <a:pt x="537" y="615"/>
                    </a:moveTo>
                    <a:cubicBezTo>
                      <a:pt x="531" y="615"/>
                      <a:pt x="525" y="620"/>
                      <a:pt x="525" y="627"/>
                    </a:cubicBezTo>
                    <a:cubicBezTo>
                      <a:pt x="525" y="634"/>
                      <a:pt x="531" y="639"/>
                      <a:pt x="537" y="639"/>
                    </a:cubicBezTo>
                    <a:cubicBezTo>
                      <a:pt x="544" y="639"/>
                      <a:pt x="550" y="634"/>
                      <a:pt x="550" y="627"/>
                    </a:cubicBezTo>
                    <a:cubicBezTo>
                      <a:pt x="550" y="620"/>
                      <a:pt x="544" y="615"/>
                      <a:pt x="537" y="615"/>
                    </a:cubicBezTo>
                    <a:close/>
                    <a:moveTo>
                      <a:pt x="537" y="584"/>
                    </a:moveTo>
                    <a:cubicBezTo>
                      <a:pt x="531" y="584"/>
                      <a:pt x="525" y="590"/>
                      <a:pt x="525" y="596"/>
                    </a:cubicBezTo>
                    <a:cubicBezTo>
                      <a:pt x="525" y="603"/>
                      <a:pt x="531" y="608"/>
                      <a:pt x="537" y="608"/>
                    </a:cubicBezTo>
                    <a:cubicBezTo>
                      <a:pt x="544" y="608"/>
                      <a:pt x="550" y="603"/>
                      <a:pt x="550" y="596"/>
                    </a:cubicBezTo>
                    <a:cubicBezTo>
                      <a:pt x="550" y="590"/>
                      <a:pt x="544" y="584"/>
                      <a:pt x="537" y="584"/>
                    </a:cubicBezTo>
                    <a:close/>
                    <a:moveTo>
                      <a:pt x="537" y="277"/>
                    </a:moveTo>
                    <a:cubicBezTo>
                      <a:pt x="531" y="277"/>
                      <a:pt x="525" y="282"/>
                      <a:pt x="525" y="289"/>
                    </a:cubicBezTo>
                    <a:cubicBezTo>
                      <a:pt x="525" y="296"/>
                      <a:pt x="531" y="301"/>
                      <a:pt x="537" y="301"/>
                    </a:cubicBezTo>
                    <a:cubicBezTo>
                      <a:pt x="544" y="301"/>
                      <a:pt x="550" y="296"/>
                      <a:pt x="550" y="289"/>
                    </a:cubicBezTo>
                    <a:cubicBezTo>
                      <a:pt x="550" y="282"/>
                      <a:pt x="544" y="277"/>
                      <a:pt x="537" y="277"/>
                    </a:cubicBezTo>
                    <a:close/>
                    <a:moveTo>
                      <a:pt x="572" y="1230"/>
                    </a:moveTo>
                    <a:cubicBezTo>
                      <a:pt x="566" y="1230"/>
                      <a:pt x="560" y="1235"/>
                      <a:pt x="560" y="1242"/>
                    </a:cubicBezTo>
                    <a:cubicBezTo>
                      <a:pt x="560" y="1249"/>
                      <a:pt x="566" y="1254"/>
                      <a:pt x="572" y="1254"/>
                    </a:cubicBezTo>
                    <a:cubicBezTo>
                      <a:pt x="579" y="1254"/>
                      <a:pt x="585" y="1249"/>
                      <a:pt x="585" y="1242"/>
                    </a:cubicBezTo>
                    <a:cubicBezTo>
                      <a:pt x="585" y="1235"/>
                      <a:pt x="579" y="1230"/>
                      <a:pt x="572" y="1230"/>
                    </a:cubicBezTo>
                    <a:close/>
                    <a:moveTo>
                      <a:pt x="572" y="1199"/>
                    </a:moveTo>
                    <a:cubicBezTo>
                      <a:pt x="566" y="1199"/>
                      <a:pt x="560" y="1204"/>
                      <a:pt x="560" y="1211"/>
                    </a:cubicBezTo>
                    <a:cubicBezTo>
                      <a:pt x="560" y="1218"/>
                      <a:pt x="566" y="1223"/>
                      <a:pt x="572" y="1223"/>
                    </a:cubicBezTo>
                    <a:cubicBezTo>
                      <a:pt x="579" y="1223"/>
                      <a:pt x="585" y="1218"/>
                      <a:pt x="585" y="1211"/>
                    </a:cubicBezTo>
                    <a:cubicBezTo>
                      <a:pt x="585" y="1204"/>
                      <a:pt x="579" y="1199"/>
                      <a:pt x="572" y="1199"/>
                    </a:cubicBezTo>
                    <a:close/>
                    <a:moveTo>
                      <a:pt x="537" y="215"/>
                    </a:moveTo>
                    <a:cubicBezTo>
                      <a:pt x="531" y="215"/>
                      <a:pt x="525" y="221"/>
                      <a:pt x="525" y="227"/>
                    </a:cubicBezTo>
                    <a:cubicBezTo>
                      <a:pt x="525" y="234"/>
                      <a:pt x="531" y="240"/>
                      <a:pt x="537" y="240"/>
                    </a:cubicBezTo>
                    <a:cubicBezTo>
                      <a:pt x="544" y="240"/>
                      <a:pt x="550" y="234"/>
                      <a:pt x="550" y="227"/>
                    </a:cubicBezTo>
                    <a:cubicBezTo>
                      <a:pt x="550" y="221"/>
                      <a:pt x="544" y="215"/>
                      <a:pt x="537" y="215"/>
                    </a:cubicBezTo>
                    <a:close/>
                    <a:moveTo>
                      <a:pt x="572" y="1138"/>
                    </a:moveTo>
                    <a:cubicBezTo>
                      <a:pt x="566" y="1138"/>
                      <a:pt x="560" y="1143"/>
                      <a:pt x="560" y="1150"/>
                    </a:cubicBezTo>
                    <a:cubicBezTo>
                      <a:pt x="560" y="1156"/>
                      <a:pt x="566" y="1162"/>
                      <a:pt x="572" y="1162"/>
                    </a:cubicBezTo>
                    <a:cubicBezTo>
                      <a:pt x="579" y="1162"/>
                      <a:pt x="585" y="1156"/>
                      <a:pt x="585" y="1150"/>
                    </a:cubicBezTo>
                    <a:cubicBezTo>
                      <a:pt x="585" y="1143"/>
                      <a:pt x="579" y="1138"/>
                      <a:pt x="572" y="1138"/>
                    </a:cubicBezTo>
                    <a:close/>
                    <a:moveTo>
                      <a:pt x="537" y="246"/>
                    </a:moveTo>
                    <a:cubicBezTo>
                      <a:pt x="531" y="246"/>
                      <a:pt x="525" y="251"/>
                      <a:pt x="525" y="258"/>
                    </a:cubicBezTo>
                    <a:cubicBezTo>
                      <a:pt x="525" y="265"/>
                      <a:pt x="531" y="270"/>
                      <a:pt x="537" y="270"/>
                    </a:cubicBezTo>
                    <a:cubicBezTo>
                      <a:pt x="544" y="270"/>
                      <a:pt x="550" y="265"/>
                      <a:pt x="550" y="258"/>
                    </a:cubicBezTo>
                    <a:cubicBezTo>
                      <a:pt x="550" y="251"/>
                      <a:pt x="544" y="246"/>
                      <a:pt x="537" y="246"/>
                    </a:cubicBezTo>
                    <a:close/>
                    <a:moveTo>
                      <a:pt x="537" y="307"/>
                    </a:moveTo>
                    <a:cubicBezTo>
                      <a:pt x="531" y="307"/>
                      <a:pt x="525" y="313"/>
                      <a:pt x="525" y="320"/>
                    </a:cubicBezTo>
                    <a:cubicBezTo>
                      <a:pt x="525" y="326"/>
                      <a:pt x="531" y="332"/>
                      <a:pt x="537" y="332"/>
                    </a:cubicBezTo>
                    <a:cubicBezTo>
                      <a:pt x="544" y="332"/>
                      <a:pt x="550" y="326"/>
                      <a:pt x="550" y="320"/>
                    </a:cubicBezTo>
                    <a:cubicBezTo>
                      <a:pt x="550" y="313"/>
                      <a:pt x="544" y="307"/>
                      <a:pt x="537" y="307"/>
                    </a:cubicBezTo>
                    <a:close/>
                    <a:moveTo>
                      <a:pt x="537" y="338"/>
                    </a:moveTo>
                    <a:cubicBezTo>
                      <a:pt x="531" y="338"/>
                      <a:pt x="525" y="344"/>
                      <a:pt x="525" y="350"/>
                    </a:cubicBezTo>
                    <a:cubicBezTo>
                      <a:pt x="525" y="357"/>
                      <a:pt x="531" y="363"/>
                      <a:pt x="537" y="363"/>
                    </a:cubicBezTo>
                    <a:cubicBezTo>
                      <a:pt x="544" y="363"/>
                      <a:pt x="550" y="357"/>
                      <a:pt x="550" y="350"/>
                    </a:cubicBezTo>
                    <a:cubicBezTo>
                      <a:pt x="550" y="344"/>
                      <a:pt x="544" y="338"/>
                      <a:pt x="537" y="338"/>
                    </a:cubicBezTo>
                    <a:close/>
                    <a:moveTo>
                      <a:pt x="572" y="1107"/>
                    </a:moveTo>
                    <a:cubicBezTo>
                      <a:pt x="566" y="1107"/>
                      <a:pt x="560" y="1112"/>
                      <a:pt x="560" y="1119"/>
                    </a:cubicBezTo>
                    <a:cubicBezTo>
                      <a:pt x="560" y="1126"/>
                      <a:pt x="566" y="1131"/>
                      <a:pt x="572" y="1131"/>
                    </a:cubicBezTo>
                    <a:cubicBezTo>
                      <a:pt x="579" y="1131"/>
                      <a:pt x="585" y="1126"/>
                      <a:pt x="585" y="1119"/>
                    </a:cubicBezTo>
                    <a:cubicBezTo>
                      <a:pt x="585" y="1112"/>
                      <a:pt x="579" y="1107"/>
                      <a:pt x="572" y="1107"/>
                    </a:cubicBezTo>
                    <a:close/>
                    <a:moveTo>
                      <a:pt x="537" y="369"/>
                    </a:moveTo>
                    <a:cubicBezTo>
                      <a:pt x="531" y="369"/>
                      <a:pt x="525" y="374"/>
                      <a:pt x="525" y="381"/>
                    </a:cubicBezTo>
                    <a:cubicBezTo>
                      <a:pt x="525" y="388"/>
                      <a:pt x="531" y="393"/>
                      <a:pt x="537" y="393"/>
                    </a:cubicBezTo>
                    <a:cubicBezTo>
                      <a:pt x="544" y="393"/>
                      <a:pt x="550" y="388"/>
                      <a:pt x="550" y="381"/>
                    </a:cubicBezTo>
                    <a:cubicBezTo>
                      <a:pt x="550" y="374"/>
                      <a:pt x="544" y="369"/>
                      <a:pt x="537" y="369"/>
                    </a:cubicBezTo>
                    <a:close/>
                    <a:moveTo>
                      <a:pt x="607" y="369"/>
                    </a:moveTo>
                    <a:cubicBezTo>
                      <a:pt x="601" y="369"/>
                      <a:pt x="595" y="374"/>
                      <a:pt x="595" y="381"/>
                    </a:cubicBezTo>
                    <a:cubicBezTo>
                      <a:pt x="595" y="388"/>
                      <a:pt x="601" y="393"/>
                      <a:pt x="607" y="393"/>
                    </a:cubicBezTo>
                    <a:cubicBezTo>
                      <a:pt x="614" y="393"/>
                      <a:pt x="620" y="388"/>
                      <a:pt x="620" y="381"/>
                    </a:cubicBezTo>
                    <a:cubicBezTo>
                      <a:pt x="620" y="374"/>
                      <a:pt x="614" y="369"/>
                      <a:pt x="607" y="369"/>
                    </a:cubicBezTo>
                    <a:close/>
                    <a:moveTo>
                      <a:pt x="607" y="615"/>
                    </a:moveTo>
                    <a:cubicBezTo>
                      <a:pt x="601" y="615"/>
                      <a:pt x="595" y="620"/>
                      <a:pt x="595" y="627"/>
                    </a:cubicBezTo>
                    <a:cubicBezTo>
                      <a:pt x="595" y="634"/>
                      <a:pt x="601" y="639"/>
                      <a:pt x="607" y="639"/>
                    </a:cubicBezTo>
                    <a:cubicBezTo>
                      <a:pt x="614" y="639"/>
                      <a:pt x="620" y="634"/>
                      <a:pt x="620" y="627"/>
                    </a:cubicBezTo>
                    <a:cubicBezTo>
                      <a:pt x="620" y="620"/>
                      <a:pt x="614" y="615"/>
                      <a:pt x="607" y="615"/>
                    </a:cubicBezTo>
                    <a:close/>
                    <a:moveTo>
                      <a:pt x="607" y="553"/>
                    </a:moveTo>
                    <a:cubicBezTo>
                      <a:pt x="601" y="553"/>
                      <a:pt x="595" y="559"/>
                      <a:pt x="595" y="566"/>
                    </a:cubicBezTo>
                    <a:cubicBezTo>
                      <a:pt x="595" y="572"/>
                      <a:pt x="601" y="578"/>
                      <a:pt x="607" y="578"/>
                    </a:cubicBezTo>
                    <a:cubicBezTo>
                      <a:pt x="614" y="578"/>
                      <a:pt x="620" y="572"/>
                      <a:pt x="620" y="566"/>
                    </a:cubicBezTo>
                    <a:cubicBezTo>
                      <a:pt x="620" y="559"/>
                      <a:pt x="614" y="553"/>
                      <a:pt x="607" y="553"/>
                    </a:cubicBezTo>
                    <a:close/>
                    <a:moveTo>
                      <a:pt x="607" y="584"/>
                    </a:moveTo>
                    <a:cubicBezTo>
                      <a:pt x="601" y="584"/>
                      <a:pt x="595" y="590"/>
                      <a:pt x="595" y="596"/>
                    </a:cubicBezTo>
                    <a:cubicBezTo>
                      <a:pt x="595" y="603"/>
                      <a:pt x="601" y="608"/>
                      <a:pt x="607" y="608"/>
                    </a:cubicBezTo>
                    <a:cubicBezTo>
                      <a:pt x="614" y="608"/>
                      <a:pt x="620" y="603"/>
                      <a:pt x="620" y="596"/>
                    </a:cubicBezTo>
                    <a:cubicBezTo>
                      <a:pt x="620" y="590"/>
                      <a:pt x="614" y="584"/>
                      <a:pt x="607" y="584"/>
                    </a:cubicBezTo>
                    <a:close/>
                    <a:moveTo>
                      <a:pt x="607" y="523"/>
                    </a:moveTo>
                    <a:cubicBezTo>
                      <a:pt x="601" y="523"/>
                      <a:pt x="595" y="528"/>
                      <a:pt x="595" y="535"/>
                    </a:cubicBezTo>
                    <a:cubicBezTo>
                      <a:pt x="595" y="542"/>
                      <a:pt x="601" y="547"/>
                      <a:pt x="607" y="547"/>
                    </a:cubicBezTo>
                    <a:cubicBezTo>
                      <a:pt x="614" y="547"/>
                      <a:pt x="620" y="542"/>
                      <a:pt x="620" y="535"/>
                    </a:cubicBezTo>
                    <a:cubicBezTo>
                      <a:pt x="620" y="528"/>
                      <a:pt x="614" y="523"/>
                      <a:pt x="607" y="523"/>
                    </a:cubicBezTo>
                    <a:close/>
                    <a:moveTo>
                      <a:pt x="607" y="492"/>
                    </a:moveTo>
                    <a:cubicBezTo>
                      <a:pt x="601" y="492"/>
                      <a:pt x="595" y="497"/>
                      <a:pt x="595" y="504"/>
                    </a:cubicBezTo>
                    <a:cubicBezTo>
                      <a:pt x="595" y="511"/>
                      <a:pt x="601" y="516"/>
                      <a:pt x="607" y="516"/>
                    </a:cubicBezTo>
                    <a:cubicBezTo>
                      <a:pt x="614" y="516"/>
                      <a:pt x="620" y="511"/>
                      <a:pt x="620" y="504"/>
                    </a:cubicBezTo>
                    <a:cubicBezTo>
                      <a:pt x="620" y="497"/>
                      <a:pt x="614" y="492"/>
                      <a:pt x="607" y="492"/>
                    </a:cubicBezTo>
                    <a:close/>
                    <a:moveTo>
                      <a:pt x="607" y="646"/>
                    </a:moveTo>
                    <a:cubicBezTo>
                      <a:pt x="601" y="646"/>
                      <a:pt x="595" y="651"/>
                      <a:pt x="595" y="658"/>
                    </a:cubicBezTo>
                    <a:cubicBezTo>
                      <a:pt x="595" y="665"/>
                      <a:pt x="601" y="670"/>
                      <a:pt x="607" y="670"/>
                    </a:cubicBezTo>
                    <a:cubicBezTo>
                      <a:pt x="614" y="670"/>
                      <a:pt x="620" y="665"/>
                      <a:pt x="620" y="658"/>
                    </a:cubicBezTo>
                    <a:cubicBezTo>
                      <a:pt x="620" y="651"/>
                      <a:pt x="614" y="646"/>
                      <a:pt x="607" y="646"/>
                    </a:cubicBezTo>
                    <a:close/>
                    <a:moveTo>
                      <a:pt x="607" y="707"/>
                    </a:moveTo>
                    <a:cubicBezTo>
                      <a:pt x="601" y="707"/>
                      <a:pt x="595" y="713"/>
                      <a:pt x="595" y="719"/>
                    </a:cubicBezTo>
                    <a:cubicBezTo>
                      <a:pt x="595" y="726"/>
                      <a:pt x="601" y="731"/>
                      <a:pt x="607" y="731"/>
                    </a:cubicBezTo>
                    <a:cubicBezTo>
                      <a:pt x="614" y="731"/>
                      <a:pt x="620" y="726"/>
                      <a:pt x="620" y="719"/>
                    </a:cubicBezTo>
                    <a:cubicBezTo>
                      <a:pt x="620" y="713"/>
                      <a:pt x="614" y="707"/>
                      <a:pt x="607" y="707"/>
                    </a:cubicBezTo>
                    <a:close/>
                    <a:moveTo>
                      <a:pt x="607" y="738"/>
                    </a:moveTo>
                    <a:cubicBezTo>
                      <a:pt x="601" y="738"/>
                      <a:pt x="595" y="743"/>
                      <a:pt x="595" y="750"/>
                    </a:cubicBezTo>
                    <a:cubicBezTo>
                      <a:pt x="595" y="757"/>
                      <a:pt x="601" y="762"/>
                      <a:pt x="607" y="762"/>
                    </a:cubicBezTo>
                    <a:cubicBezTo>
                      <a:pt x="614" y="762"/>
                      <a:pt x="620" y="757"/>
                      <a:pt x="620" y="750"/>
                    </a:cubicBezTo>
                    <a:cubicBezTo>
                      <a:pt x="620" y="743"/>
                      <a:pt x="614" y="738"/>
                      <a:pt x="607" y="738"/>
                    </a:cubicBezTo>
                    <a:close/>
                    <a:moveTo>
                      <a:pt x="607" y="676"/>
                    </a:moveTo>
                    <a:cubicBezTo>
                      <a:pt x="601" y="676"/>
                      <a:pt x="595" y="682"/>
                      <a:pt x="595" y="689"/>
                    </a:cubicBezTo>
                    <a:cubicBezTo>
                      <a:pt x="595" y="695"/>
                      <a:pt x="601" y="701"/>
                      <a:pt x="607" y="701"/>
                    </a:cubicBezTo>
                    <a:cubicBezTo>
                      <a:pt x="614" y="701"/>
                      <a:pt x="620" y="695"/>
                      <a:pt x="620" y="689"/>
                    </a:cubicBezTo>
                    <a:cubicBezTo>
                      <a:pt x="620" y="682"/>
                      <a:pt x="614" y="676"/>
                      <a:pt x="607" y="676"/>
                    </a:cubicBezTo>
                    <a:close/>
                    <a:moveTo>
                      <a:pt x="607" y="307"/>
                    </a:moveTo>
                    <a:cubicBezTo>
                      <a:pt x="601" y="307"/>
                      <a:pt x="595" y="313"/>
                      <a:pt x="595" y="320"/>
                    </a:cubicBezTo>
                    <a:cubicBezTo>
                      <a:pt x="595" y="326"/>
                      <a:pt x="601" y="332"/>
                      <a:pt x="607" y="332"/>
                    </a:cubicBezTo>
                    <a:cubicBezTo>
                      <a:pt x="614" y="332"/>
                      <a:pt x="620" y="326"/>
                      <a:pt x="620" y="320"/>
                    </a:cubicBezTo>
                    <a:cubicBezTo>
                      <a:pt x="620" y="313"/>
                      <a:pt x="614" y="307"/>
                      <a:pt x="607" y="307"/>
                    </a:cubicBezTo>
                    <a:close/>
                    <a:moveTo>
                      <a:pt x="642" y="984"/>
                    </a:moveTo>
                    <a:cubicBezTo>
                      <a:pt x="636" y="984"/>
                      <a:pt x="630" y="989"/>
                      <a:pt x="630" y="996"/>
                    </a:cubicBezTo>
                    <a:cubicBezTo>
                      <a:pt x="630" y="1003"/>
                      <a:pt x="636" y="1008"/>
                      <a:pt x="642" y="1008"/>
                    </a:cubicBezTo>
                    <a:cubicBezTo>
                      <a:pt x="649" y="1008"/>
                      <a:pt x="655" y="1003"/>
                      <a:pt x="655" y="996"/>
                    </a:cubicBezTo>
                    <a:cubicBezTo>
                      <a:pt x="655" y="989"/>
                      <a:pt x="649" y="984"/>
                      <a:pt x="642" y="984"/>
                    </a:cubicBezTo>
                    <a:close/>
                    <a:moveTo>
                      <a:pt x="607" y="277"/>
                    </a:moveTo>
                    <a:cubicBezTo>
                      <a:pt x="601" y="277"/>
                      <a:pt x="595" y="282"/>
                      <a:pt x="595" y="289"/>
                    </a:cubicBezTo>
                    <a:cubicBezTo>
                      <a:pt x="595" y="296"/>
                      <a:pt x="601" y="301"/>
                      <a:pt x="607" y="301"/>
                    </a:cubicBezTo>
                    <a:cubicBezTo>
                      <a:pt x="614" y="301"/>
                      <a:pt x="620" y="296"/>
                      <a:pt x="620" y="289"/>
                    </a:cubicBezTo>
                    <a:cubicBezTo>
                      <a:pt x="620" y="282"/>
                      <a:pt x="614" y="277"/>
                      <a:pt x="607" y="277"/>
                    </a:cubicBezTo>
                    <a:close/>
                    <a:moveTo>
                      <a:pt x="607" y="246"/>
                    </a:moveTo>
                    <a:cubicBezTo>
                      <a:pt x="601" y="246"/>
                      <a:pt x="595" y="251"/>
                      <a:pt x="595" y="258"/>
                    </a:cubicBezTo>
                    <a:cubicBezTo>
                      <a:pt x="595" y="265"/>
                      <a:pt x="601" y="270"/>
                      <a:pt x="607" y="270"/>
                    </a:cubicBezTo>
                    <a:cubicBezTo>
                      <a:pt x="614" y="270"/>
                      <a:pt x="620" y="265"/>
                      <a:pt x="620" y="258"/>
                    </a:cubicBezTo>
                    <a:cubicBezTo>
                      <a:pt x="620" y="251"/>
                      <a:pt x="614" y="246"/>
                      <a:pt x="607" y="246"/>
                    </a:cubicBezTo>
                    <a:close/>
                    <a:moveTo>
                      <a:pt x="572" y="492"/>
                    </a:moveTo>
                    <a:cubicBezTo>
                      <a:pt x="566" y="492"/>
                      <a:pt x="560" y="497"/>
                      <a:pt x="560" y="504"/>
                    </a:cubicBezTo>
                    <a:cubicBezTo>
                      <a:pt x="560" y="511"/>
                      <a:pt x="566" y="516"/>
                      <a:pt x="572" y="516"/>
                    </a:cubicBezTo>
                    <a:cubicBezTo>
                      <a:pt x="579" y="516"/>
                      <a:pt x="585" y="511"/>
                      <a:pt x="585" y="504"/>
                    </a:cubicBezTo>
                    <a:cubicBezTo>
                      <a:pt x="585" y="497"/>
                      <a:pt x="579" y="492"/>
                      <a:pt x="572" y="492"/>
                    </a:cubicBezTo>
                    <a:close/>
                    <a:moveTo>
                      <a:pt x="537" y="861"/>
                    </a:moveTo>
                    <a:cubicBezTo>
                      <a:pt x="531" y="861"/>
                      <a:pt x="525" y="866"/>
                      <a:pt x="525" y="873"/>
                    </a:cubicBezTo>
                    <a:cubicBezTo>
                      <a:pt x="525" y="880"/>
                      <a:pt x="531" y="885"/>
                      <a:pt x="537" y="885"/>
                    </a:cubicBezTo>
                    <a:cubicBezTo>
                      <a:pt x="544" y="885"/>
                      <a:pt x="550" y="880"/>
                      <a:pt x="550" y="873"/>
                    </a:cubicBezTo>
                    <a:cubicBezTo>
                      <a:pt x="550" y="866"/>
                      <a:pt x="544" y="861"/>
                      <a:pt x="537" y="861"/>
                    </a:cubicBezTo>
                    <a:close/>
                    <a:moveTo>
                      <a:pt x="607" y="430"/>
                    </a:moveTo>
                    <a:cubicBezTo>
                      <a:pt x="601" y="430"/>
                      <a:pt x="595" y="436"/>
                      <a:pt x="595" y="443"/>
                    </a:cubicBezTo>
                    <a:cubicBezTo>
                      <a:pt x="595" y="449"/>
                      <a:pt x="601" y="455"/>
                      <a:pt x="607" y="455"/>
                    </a:cubicBezTo>
                    <a:cubicBezTo>
                      <a:pt x="614" y="455"/>
                      <a:pt x="620" y="449"/>
                      <a:pt x="620" y="443"/>
                    </a:cubicBezTo>
                    <a:cubicBezTo>
                      <a:pt x="620" y="436"/>
                      <a:pt x="614" y="430"/>
                      <a:pt x="607" y="430"/>
                    </a:cubicBezTo>
                    <a:close/>
                    <a:moveTo>
                      <a:pt x="607" y="400"/>
                    </a:moveTo>
                    <a:cubicBezTo>
                      <a:pt x="601" y="400"/>
                      <a:pt x="595" y="405"/>
                      <a:pt x="595" y="412"/>
                    </a:cubicBezTo>
                    <a:cubicBezTo>
                      <a:pt x="595" y="419"/>
                      <a:pt x="601" y="424"/>
                      <a:pt x="607" y="424"/>
                    </a:cubicBezTo>
                    <a:cubicBezTo>
                      <a:pt x="614" y="424"/>
                      <a:pt x="620" y="419"/>
                      <a:pt x="620" y="412"/>
                    </a:cubicBezTo>
                    <a:cubicBezTo>
                      <a:pt x="620" y="405"/>
                      <a:pt x="614" y="400"/>
                      <a:pt x="607" y="400"/>
                    </a:cubicBezTo>
                    <a:close/>
                    <a:moveTo>
                      <a:pt x="607" y="461"/>
                    </a:moveTo>
                    <a:cubicBezTo>
                      <a:pt x="601" y="461"/>
                      <a:pt x="595" y="467"/>
                      <a:pt x="595" y="473"/>
                    </a:cubicBezTo>
                    <a:cubicBezTo>
                      <a:pt x="595" y="480"/>
                      <a:pt x="601" y="486"/>
                      <a:pt x="607" y="486"/>
                    </a:cubicBezTo>
                    <a:cubicBezTo>
                      <a:pt x="614" y="486"/>
                      <a:pt x="620" y="480"/>
                      <a:pt x="620" y="473"/>
                    </a:cubicBezTo>
                    <a:cubicBezTo>
                      <a:pt x="620" y="467"/>
                      <a:pt x="614" y="461"/>
                      <a:pt x="607" y="461"/>
                    </a:cubicBezTo>
                    <a:close/>
                    <a:moveTo>
                      <a:pt x="607" y="338"/>
                    </a:moveTo>
                    <a:cubicBezTo>
                      <a:pt x="601" y="338"/>
                      <a:pt x="595" y="344"/>
                      <a:pt x="595" y="350"/>
                    </a:cubicBezTo>
                    <a:cubicBezTo>
                      <a:pt x="595" y="357"/>
                      <a:pt x="601" y="363"/>
                      <a:pt x="607" y="363"/>
                    </a:cubicBezTo>
                    <a:cubicBezTo>
                      <a:pt x="614" y="363"/>
                      <a:pt x="620" y="357"/>
                      <a:pt x="620" y="350"/>
                    </a:cubicBezTo>
                    <a:cubicBezTo>
                      <a:pt x="620" y="344"/>
                      <a:pt x="614" y="338"/>
                      <a:pt x="607" y="338"/>
                    </a:cubicBezTo>
                    <a:close/>
                    <a:moveTo>
                      <a:pt x="642" y="1015"/>
                    </a:moveTo>
                    <a:cubicBezTo>
                      <a:pt x="636" y="1015"/>
                      <a:pt x="630" y="1020"/>
                      <a:pt x="630" y="1027"/>
                    </a:cubicBezTo>
                    <a:cubicBezTo>
                      <a:pt x="630" y="1033"/>
                      <a:pt x="636" y="1039"/>
                      <a:pt x="642" y="1039"/>
                    </a:cubicBezTo>
                    <a:cubicBezTo>
                      <a:pt x="649" y="1039"/>
                      <a:pt x="655" y="1033"/>
                      <a:pt x="655" y="1027"/>
                    </a:cubicBezTo>
                    <a:cubicBezTo>
                      <a:pt x="655" y="1020"/>
                      <a:pt x="649" y="1015"/>
                      <a:pt x="642" y="1015"/>
                    </a:cubicBezTo>
                    <a:close/>
                    <a:moveTo>
                      <a:pt x="572" y="277"/>
                    </a:moveTo>
                    <a:cubicBezTo>
                      <a:pt x="566" y="277"/>
                      <a:pt x="560" y="282"/>
                      <a:pt x="560" y="289"/>
                    </a:cubicBezTo>
                    <a:cubicBezTo>
                      <a:pt x="560" y="296"/>
                      <a:pt x="566" y="301"/>
                      <a:pt x="572" y="301"/>
                    </a:cubicBezTo>
                    <a:cubicBezTo>
                      <a:pt x="579" y="301"/>
                      <a:pt x="585" y="296"/>
                      <a:pt x="585" y="289"/>
                    </a:cubicBezTo>
                    <a:cubicBezTo>
                      <a:pt x="585" y="282"/>
                      <a:pt x="579" y="277"/>
                      <a:pt x="572" y="277"/>
                    </a:cubicBezTo>
                    <a:close/>
                    <a:moveTo>
                      <a:pt x="572" y="246"/>
                    </a:moveTo>
                    <a:cubicBezTo>
                      <a:pt x="566" y="246"/>
                      <a:pt x="560" y="251"/>
                      <a:pt x="560" y="258"/>
                    </a:cubicBezTo>
                    <a:cubicBezTo>
                      <a:pt x="560" y="265"/>
                      <a:pt x="566" y="270"/>
                      <a:pt x="572" y="270"/>
                    </a:cubicBezTo>
                    <a:cubicBezTo>
                      <a:pt x="579" y="270"/>
                      <a:pt x="585" y="265"/>
                      <a:pt x="585" y="258"/>
                    </a:cubicBezTo>
                    <a:cubicBezTo>
                      <a:pt x="585" y="251"/>
                      <a:pt x="579" y="246"/>
                      <a:pt x="572" y="246"/>
                    </a:cubicBezTo>
                    <a:close/>
                    <a:moveTo>
                      <a:pt x="607" y="1230"/>
                    </a:moveTo>
                    <a:cubicBezTo>
                      <a:pt x="601" y="1230"/>
                      <a:pt x="595" y="1235"/>
                      <a:pt x="595" y="1242"/>
                    </a:cubicBezTo>
                    <a:cubicBezTo>
                      <a:pt x="595" y="1249"/>
                      <a:pt x="601" y="1254"/>
                      <a:pt x="607" y="1254"/>
                    </a:cubicBezTo>
                    <a:cubicBezTo>
                      <a:pt x="614" y="1254"/>
                      <a:pt x="620" y="1249"/>
                      <a:pt x="620" y="1242"/>
                    </a:cubicBezTo>
                    <a:cubicBezTo>
                      <a:pt x="620" y="1235"/>
                      <a:pt x="614" y="1230"/>
                      <a:pt x="607" y="1230"/>
                    </a:cubicBezTo>
                    <a:close/>
                    <a:moveTo>
                      <a:pt x="607" y="1076"/>
                    </a:moveTo>
                    <a:cubicBezTo>
                      <a:pt x="601" y="1076"/>
                      <a:pt x="595" y="1081"/>
                      <a:pt x="595" y="1088"/>
                    </a:cubicBezTo>
                    <a:cubicBezTo>
                      <a:pt x="595" y="1095"/>
                      <a:pt x="601" y="1100"/>
                      <a:pt x="607" y="1100"/>
                    </a:cubicBezTo>
                    <a:cubicBezTo>
                      <a:pt x="614" y="1100"/>
                      <a:pt x="620" y="1095"/>
                      <a:pt x="620" y="1088"/>
                    </a:cubicBezTo>
                    <a:cubicBezTo>
                      <a:pt x="620" y="1081"/>
                      <a:pt x="614" y="1076"/>
                      <a:pt x="607" y="1076"/>
                    </a:cubicBezTo>
                    <a:close/>
                    <a:moveTo>
                      <a:pt x="572" y="307"/>
                    </a:moveTo>
                    <a:cubicBezTo>
                      <a:pt x="566" y="307"/>
                      <a:pt x="560" y="313"/>
                      <a:pt x="560" y="320"/>
                    </a:cubicBezTo>
                    <a:cubicBezTo>
                      <a:pt x="560" y="326"/>
                      <a:pt x="566" y="332"/>
                      <a:pt x="572" y="332"/>
                    </a:cubicBezTo>
                    <a:cubicBezTo>
                      <a:pt x="579" y="332"/>
                      <a:pt x="585" y="326"/>
                      <a:pt x="585" y="320"/>
                    </a:cubicBezTo>
                    <a:cubicBezTo>
                      <a:pt x="585" y="313"/>
                      <a:pt x="579" y="307"/>
                      <a:pt x="572" y="307"/>
                    </a:cubicBezTo>
                    <a:close/>
                    <a:moveTo>
                      <a:pt x="572" y="338"/>
                    </a:moveTo>
                    <a:cubicBezTo>
                      <a:pt x="566" y="338"/>
                      <a:pt x="560" y="344"/>
                      <a:pt x="560" y="350"/>
                    </a:cubicBezTo>
                    <a:cubicBezTo>
                      <a:pt x="560" y="357"/>
                      <a:pt x="566" y="363"/>
                      <a:pt x="572" y="363"/>
                    </a:cubicBezTo>
                    <a:cubicBezTo>
                      <a:pt x="579" y="363"/>
                      <a:pt x="585" y="357"/>
                      <a:pt x="585" y="350"/>
                    </a:cubicBezTo>
                    <a:cubicBezTo>
                      <a:pt x="585" y="344"/>
                      <a:pt x="579" y="338"/>
                      <a:pt x="572" y="338"/>
                    </a:cubicBezTo>
                    <a:close/>
                    <a:moveTo>
                      <a:pt x="572" y="400"/>
                    </a:moveTo>
                    <a:cubicBezTo>
                      <a:pt x="566" y="400"/>
                      <a:pt x="560" y="405"/>
                      <a:pt x="560" y="412"/>
                    </a:cubicBezTo>
                    <a:cubicBezTo>
                      <a:pt x="560" y="419"/>
                      <a:pt x="566" y="424"/>
                      <a:pt x="572" y="424"/>
                    </a:cubicBezTo>
                    <a:cubicBezTo>
                      <a:pt x="579" y="424"/>
                      <a:pt x="585" y="419"/>
                      <a:pt x="585" y="412"/>
                    </a:cubicBezTo>
                    <a:cubicBezTo>
                      <a:pt x="585" y="405"/>
                      <a:pt x="579" y="400"/>
                      <a:pt x="572" y="400"/>
                    </a:cubicBezTo>
                    <a:close/>
                    <a:moveTo>
                      <a:pt x="572" y="461"/>
                    </a:moveTo>
                    <a:cubicBezTo>
                      <a:pt x="566" y="461"/>
                      <a:pt x="560" y="467"/>
                      <a:pt x="560" y="473"/>
                    </a:cubicBezTo>
                    <a:cubicBezTo>
                      <a:pt x="560" y="480"/>
                      <a:pt x="566" y="486"/>
                      <a:pt x="572" y="486"/>
                    </a:cubicBezTo>
                    <a:cubicBezTo>
                      <a:pt x="579" y="486"/>
                      <a:pt x="585" y="480"/>
                      <a:pt x="585" y="473"/>
                    </a:cubicBezTo>
                    <a:cubicBezTo>
                      <a:pt x="585" y="467"/>
                      <a:pt x="579" y="461"/>
                      <a:pt x="572" y="461"/>
                    </a:cubicBezTo>
                    <a:close/>
                    <a:moveTo>
                      <a:pt x="572" y="369"/>
                    </a:moveTo>
                    <a:cubicBezTo>
                      <a:pt x="566" y="369"/>
                      <a:pt x="560" y="374"/>
                      <a:pt x="560" y="381"/>
                    </a:cubicBezTo>
                    <a:cubicBezTo>
                      <a:pt x="560" y="388"/>
                      <a:pt x="566" y="393"/>
                      <a:pt x="572" y="393"/>
                    </a:cubicBezTo>
                    <a:cubicBezTo>
                      <a:pt x="579" y="393"/>
                      <a:pt x="585" y="388"/>
                      <a:pt x="585" y="381"/>
                    </a:cubicBezTo>
                    <a:cubicBezTo>
                      <a:pt x="585" y="374"/>
                      <a:pt x="579" y="369"/>
                      <a:pt x="572" y="369"/>
                    </a:cubicBezTo>
                    <a:close/>
                    <a:moveTo>
                      <a:pt x="607" y="953"/>
                    </a:moveTo>
                    <a:cubicBezTo>
                      <a:pt x="601" y="953"/>
                      <a:pt x="595" y="959"/>
                      <a:pt x="595" y="965"/>
                    </a:cubicBezTo>
                    <a:cubicBezTo>
                      <a:pt x="595" y="972"/>
                      <a:pt x="601" y="977"/>
                      <a:pt x="607" y="977"/>
                    </a:cubicBezTo>
                    <a:cubicBezTo>
                      <a:pt x="614" y="977"/>
                      <a:pt x="620" y="972"/>
                      <a:pt x="620" y="965"/>
                    </a:cubicBezTo>
                    <a:cubicBezTo>
                      <a:pt x="620" y="959"/>
                      <a:pt x="614" y="953"/>
                      <a:pt x="607" y="953"/>
                    </a:cubicBezTo>
                    <a:close/>
                    <a:moveTo>
                      <a:pt x="607" y="892"/>
                    </a:moveTo>
                    <a:cubicBezTo>
                      <a:pt x="601" y="892"/>
                      <a:pt x="595" y="897"/>
                      <a:pt x="595" y="904"/>
                    </a:cubicBezTo>
                    <a:cubicBezTo>
                      <a:pt x="595" y="910"/>
                      <a:pt x="601" y="916"/>
                      <a:pt x="607" y="916"/>
                    </a:cubicBezTo>
                    <a:cubicBezTo>
                      <a:pt x="614" y="916"/>
                      <a:pt x="620" y="910"/>
                      <a:pt x="620" y="904"/>
                    </a:cubicBezTo>
                    <a:cubicBezTo>
                      <a:pt x="620" y="897"/>
                      <a:pt x="614" y="892"/>
                      <a:pt x="607" y="892"/>
                    </a:cubicBezTo>
                    <a:close/>
                    <a:moveTo>
                      <a:pt x="607" y="861"/>
                    </a:moveTo>
                    <a:cubicBezTo>
                      <a:pt x="601" y="861"/>
                      <a:pt x="595" y="866"/>
                      <a:pt x="595" y="873"/>
                    </a:cubicBezTo>
                    <a:cubicBezTo>
                      <a:pt x="595" y="880"/>
                      <a:pt x="601" y="885"/>
                      <a:pt x="607" y="885"/>
                    </a:cubicBezTo>
                    <a:cubicBezTo>
                      <a:pt x="614" y="885"/>
                      <a:pt x="620" y="880"/>
                      <a:pt x="620" y="873"/>
                    </a:cubicBezTo>
                    <a:cubicBezTo>
                      <a:pt x="620" y="866"/>
                      <a:pt x="614" y="861"/>
                      <a:pt x="607" y="861"/>
                    </a:cubicBezTo>
                    <a:close/>
                    <a:moveTo>
                      <a:pt x="607" y="1045"/>
                    </a:moveTo>
                    <a:cubicBezTo>
                      <a:pt x="601" y="1045"/>
                      <a:pt x="595" y="1051"/>
                      <a:pt x="595" y="1057"/>
                    </a:cubicBezTo>
                    <a:cubicBezTo>
                      <a:pt x="595" y="1064"/>
                      <a:pt x="601" y="1070"/>
                      <a:pt x="607" y="1070"/>
                    </a:cubicBezTo>
                    <a:cubicBezTo>
                      <a:pt x="614" y="1070"/>
                      <a:pt x="620" y="1064"/>
                      <a:pt x="620" y="1057"/>
                    </a:cubicBezTo>
                    <a:cubicBezTo>
                      <a:pt x="620" y="1051"/>
                      <a:pt x="614" y="1045"/>
                      <a:pt x="607" y="1045"/>
                    </a:cubicBezTo>
                    <a:close/>
                    <a:moveTo>
                      <a:pt x="607" y="922"/>
                    </a:moveTo>
                    <a:cubicBezTo>
                      <a:pt x="601" y="922"/>
                      <a:pt x="595" y="928"/>
                      <a:pt x="595" y="934"/>
                    </a:cubicBezTo>
                    <a:cubicBezTo>
                      <a:pt x="595" y="941"/>
                      <a:pt x="601" y="947"/>
                      <a:pt x="607" y="947"/>
                    </a:cubicBezTo>
                    <a:cubicBezTo>
                      <a:pt x="614" y="947"/>
                      <a:pt x="620" y="941"/>
                      <a:pt x="620" y="934"/>
                    </a:cubicBezTo>
                    <a:cubicBezTo>
                      <a:pt x="620" y="928"/>
                      <a:pt x="614" y="922"/>
                      <a:pt x="607" y="922"/>
                    </a:cubicBezTo>
                    <a:close/>
                    <a:moveTo>
                      <a:pt x="607" y="830"/>
                    </a:moveTo>
                    <a:cubicBezTo>
                      <a:pt x="601" y="830"/>
                      <a:pt x="595" y="836"/>
                      <a:pt x="595" y="842"/>
                    </a:cubicBezTo>
                    <a:cubicBezTo>
                      <a:pt x="595" y="849"/>
                      <a:pt x="601" y="854"/>
                      <a:pt x="607" y="854"/>
                    </a:cubicBezTo>
                    <a:cubicBezTo>
                      <a:pt x="614" y="854"/>
                      <a:pt x="620" y="849"/>
                      <a:pt x="620" y="842"/>
                    </a:cubicBezTo>
                    <a:cubicBezTo>
                      <a:pt x="620" y="836"/>
                      <a:pt x="614" y="830"/>
                      <a:pt x="607" y="830"/>
                    </a:cubicBezTo>
                    <a:close/>
                    <a:moveTo>
                      <a:pt x="607" y="1015"/>
                    </a:moveTo>
                    <a:cubicBezTo>
                      <a:pt x="601" y="1015"/>
                      <a:pt x="595" y="1020"/>
                      <a:pt x="595" y="1027"/>
                    </a:cubicBezTo>
                    <a:cubicBezTo>
                      <a:pt x="595" y="1033"/>
                      <a:pt x="601" y="1039"/>
                      <a:pt x="607" y="1039"/>
                    </a:cubicBezTo>
                    <a:cubicBezTo>
                      <a:pt x="614" y="1039"/>
                      <a:pt x="620" y="1033"/>
                      <a:pt x="620" y="1027"/>
                    </a:cubicBezTo>
                    <a:cubicBezTo>
                      <a:pt x="620" y="1020"/>
                      <a:pt x="614" y="1015"/>
                      <a:pt x="607" y="1015"/>
                    </a:cubicBezTo>
                    <a:close/>
                    <a:moveTo>
                      <a:pt x="607" y="984"/>
                    </a:moveTo>
                    <a:cubicBezTo>
                      <a:pt x="601" y="984"/>
                      <a:pt x="595" y="989"/>
                      <a:pt x="595" y="996"/>
                    </a:cubicBezTo>
                    <a:cubicBezTo>
                      <a:pt x="595" y="1003"/>
                      <a:pt x="601" y="1008"/>
                      <a:pt x="607" y="1008"/>
                    </a:cubicBezTo>
                    <a:cubicBezTo>
                      <a:pt x="614" y="1008"/>
                      <a:pt x="620" y="1003"/>
                      <a:pt x="620" y="996"/>
                    </a:cubicBezTo>
                    <a:cubicBezTo>
                      <a:pt x="620" y="989"/>
                      <a:pt x="614" y="984"/>
                      <a:pt x="607" y="984"/>
                    </a:cubicBezTo>
                    <a:close/>
                    <a:moveTo>
                      <a:pt x="607" y="799"/>
                    </a:moveTo>
                    <a:cubicBezTo>
                      <a:pt x="601" y="799"/>
                      <a:pt x="595" y="805"/>
                      <a:pt x="595" y="812"/>
                    </a:cubicBezTo>
                    <a:cubicBezTo>
                      <a:pt x="595" y="818"/>
                      <a:pt x="601" y="824"/>
                      <a:pt x="607" y="824"/>
                    </a:cubicBezTo>
                    <a:cubicBezTo>
                      <a:pt x="614" y="824"/>
                      <a:pt x="620" y="818"/>
                      <a:pt x="620" y="812"/>
                    </a:cubicBezTo>
                    <a:cubicBezTo>
                      <a:pt x="620" y="805"/>
                      <a:pt x="614" y="799"/>
                      <a:pt x="607" y="799"/>
                    </a:cubicBezTo>
                    <a:close/>
                    <a:moveTo>
                      <a:pt x="607" y="769"/>
                    </a:moveTo>
                    <a:cubicBezTo>
                      <a:pt x="601" y="769"/>
                      <a:pt x="595" y="774"/>
                      <a:pt x="595" y="781"/>
                    </a:cubicBezTo>
                    <a:cubicBezTo>
                      <a:pt x="595" y="787"/>
                      <a:pt x="601" y="793"/>
                      <a:pt x="607" y="793"/>
                    </a:cubicBezTo>
                    <a:cubicBezTo>
                      <a:pt x="614" y="793"/>
                      <a:pt x="620" y="787"/>
                      <a:pt x="620" y="781"/>
                    </a:cubicBezTo>
                    <a:cubicBezTo>
                      <a:pt x="620" y="774"/>
                      <a:pt x="614" y="769"/>
                      <a:pt x="607" y="769"/>
                    </a:cubicBezTo>
                    <a:close/>
                    <a:moveTo>
                      <a:pt x="292" y="123"/>
                    </a:moveTo>
                    <a:cubicBezTo>
                      <a:pt x="285" y="123"/>
                      <a:pt x="280" y="128"/>
                      <a:pt x="280" y="135"/>
                    </a:cubicBezTo>
                    <a:cubicBezTo>
                      <a:pt x="280" y="142"/>
                      <a:pt x="285" y="147"/>
                      <a:pt x="292" y="147"/>
                    </a:cubicBezTo>
                    <a:cubicBezTo>
                      <a:pt x="299" y="147"/>
                      <a:pt x="304" y="142"/>
                      <a:pt x="304" y="135"/>
                    </a:cubicBezTo>
                    <a:cubicBezTo>
                      <a:pt x="304" y="128"/>
                      <a:pt x="299" y="123"/>
                      <a:pt x="292" y="123"/>
                    </a:cubicBezTo>
                    <a:close/>
                    <a:moveTo>
                      <a:pt x="327" y="184"/>
                    </a:moveTo>
                    <a:cubicBezTo>
                      <a:pt x="320" y="184"/>
                      <a:pt x="315" y="190"/>
                      <a:pt x="315" y="197"/>
                    </a:cubicBezTo>
                    <a:cubicBezTo>
                      <a:pt x="315" y="203"/>
                      <a:pt x="320" y="209"/>
                      <a:pt x="327" y="209"/>
                    </a:cubicBezTo>
                    <a:cubicBezTo>
                      <a:pt x="334" y="209"/>
                      <a:pt x="339" y="203"/>
                      <a:pt x="339" y="197"/>
                    </a:cubicBezTo>
                    <a:cubicBezTo>
                      <a:pt x="339" y="190"/>
                      <a:pt x="334" y="184"/>
                      <a:pt x="327" y="184"/>
                    </a:cubicBezTo>
                    <a:close/>
                    <a:moveTo>
                      <a:pt x="327" y="92"/>
                    </a:moveTo>
                    <a:cubicBezTo>
                      <a:pt x="320" y="92"/>
                      <a:pt x="315" y="98"/>
                      <a:pt x="315" y="104"/>
                    </a:cubicBezTo>
                    <a:cubicBezTo>
                      <a:pt x="315" y="111"/>
                      <a:pt x="320" y="117"/>
                      <a:pt x="327" y="117"/>
                    </a:cubicBezTo>
                    <a:cubicBezTo>
                      <a:pt x="334" y="117"/>
                      <a:pt x="339" y="111"/>
                      <a:pt x="339" y="104"/>
                    </a:cubicBezTo>
                    <a:cubicBezTo>
                      <a:pt x="339" y="98"/>
                      <a:pt x="334" y="92"/>
                      <a:pt x="327" y="92"/>
                    </a:cubicBezTo>
                    <a:close/>
                    <a:moveTo>
                      <a:pt x="362" y="246"/>
                    </a:moveTo>
                    <a:cubicBezTo>
                      <a:pt x="355" y="246"/>
                      <a:pt x="350" y="251"/>
                      <a:pt x="350" y="258"/>
                    </a:cubicBezTo>
                    <a:cubicBezTo>
                      <a:pt x="350" y="265"/>
                      <a:pt x="355" y="270"/>
                      <a:pt x="362" y="270"/>
                    </a:cubicBezTo>
                    <a:cubicBezTo>
                      <a:pt x="369" y="270"/>
                      <a:pt x="374" y="265"/>
                      <a:pt x="374" y="258"/>
                    </a:cubicBezTo>
                    <a:cubicBezTo>
                      <a:pt x="374" y="251"/>
                      <a:pt x="369" y="246"/>
                      <a:pt x="362" y="246"/>
                    </a:cubicBezTo>
                    <a:close/>
                    <a:moveTo>
                      <a:pt x="222" y="92"/>
                    </a:moveTo>
                    <a:cubicBezTo>
                      <a:pt x="215" y="92"/>
                      <a:pt x="210" y="98"/>
                      <a:pt x="210" y="104"/>
                    </a:cubicBezTo>
                    <a:cubicBezTo>
                      <a:pt x="210" y="111"/>
                      <a:pt x="215" y="117"/>
                      <a:pt x="222" y="117"/>
                    </a:cubicBezTo>
                    <a:cubicBezTo>
                      <a:pt x="229" y="117"/>
                      <a:pt x="234" y="111"/>
                      <a:pt x="234" y="104"/>
                    </a:cubicBezTo>
                    <a:cubicBezTo>
                      <a:pt x="234" y="98"/>
                      <a:pt x="229" y="92"/>
                      <a:pt x="222" y="92"/>
                    </a:cubicBezTo>
                    <a:close/>
                    <a:moveTo>
                      <a:pt x="362" y="215"/>
                    </a:moveTo>
                    <a:cubicBezTo>
                      <a:pt x="355" y="215"/>
                      <a:pt x="350" y="221"/>
                      <a:pt x="350" y="227"/>
                    </a:cubicBezTo>
                    <a:cubicBezTo>
                      <a:pt x="350" y="234"/>
                      <a:pt x="355" y="240"/>
                      <a:pt x="362" y="240"/>
                    </a:cubicBezTo>
                    <a:cubicBezTo>
                      <a:pt x="369" y="240"/>
                      <a:pt x="374" y="234"/>
                      <a:pt x="374" y="227"/>
                    </a:cubicBezTo>
                    <a:cubicBezTo>
                      <a:pt x="374" y="221"/>
                      <a:pt x="369" y="215"/>
                      <a:pt x="362" y="215"/>
                    </a:cubicBezTo>
                    <a:close/>
                    <a:moveTo>
                      <a:pt x="292" y="154"/>
                    </a:moveTo>
                    <a:cubicBezTo>
                      <a:pt x="285" y="154"/>
                      <a:pt x="280" y="159"/>
                      <a:pt x="280" y="166"/>
                    </a:cubicBezTo>
                    <a:cubicBezTo>
                      <a:pt x="280" y="173"/>
                      <a:pt x="285" y="178"/>
                      <a:pt x="292" y="178"/>
                    </a:cubicBezTo>
                    <a:cubicBezTo>
                      <a:pt x="299" y="178"/>
                      <a:pt x="304" y="173"/>
                      <a:pt x="304" y="166"/>
                    </a:cubicBezTo>
                    <a:cubicBezTo>
                      <a:pt x="304" y="159"/>
                      <a:pt x="299" y="154"/>
                      <a:pt x="292" y="154"/>
                    </a:cubicBezTo>
                    <a:close/>
                    <a:moveTo>
                      <a:pt x="257" y="154"/>
                    </a:moveTo>
                    <a:cubicBezTo>
                      <a:pt x="250" y="154"/>
                      <a:pt x="245" y="159"/>
                      <a:pt x="245" y="166"/>
                    </a:cubicBezTo>
                    <a:cubicBezTo>
                      <a:pt x="245" y="173"/>
                      <a:pt x="250" y="178"/>
                      <a:pt x="257" y="178"/>
                    </a:cubicBezTo>
                    <a:cubicBezTo>
                      <a:pt x="264" y="178"/>
                      <a:pt x="269" y="173"/>
                      <a:pt x="269" y="166"/>
                    </a:cubicBezTo>
                    <a:cubicBezTo>
                      <a:pt x="269" y="159"/>
                      <a:pt x="264" y="154"/>
                      <a:pt x="257" y="154"/>
                    </a:cubicBezTo>
                    <a:close/>
                    <a:moveTo>
                      <a:pt x="257" y="123"/>
                    </a:moveTo>
                    <a:cubicBezTo>
                      <a:pt x="250" y="123"/>
                      <a:pt x="245" y="128"/>
                      <a:pt x="245" y="135"/>
                    </a:cubicBezTo>
                    <a:cubicBezTo>
                      <a:pt x="245" y="142"/>
                      <a:pt x="250" y="147"/>
                      <a:pt x="257" y="147"/>
                    </a:cubicBezTo>
                    <a:cubicBezTo>
                      <a:pt x="264" y="147"/>
                      <a:pt x="269" y="142"/>
                      <a:pt x="269" y="135"/>
                    </a:cubicBezTo>
                    <a:cubicBezTo>
                      <a:pt x="269" y="128"/>
                      <a:pt x="264" y="123"/>
                      <a:pt x="257" y="123"/>
                    </a:cubicBezTo>
                    <a:close/>
                    <a:moveTo>
                      <a:pt x="432" y="277"/>
                    </a:moveTo>
                    <a:cubicBezTo>
                      <a:pt x="425" y="277"/>
                      <a:pt x="420" y="282"/>
                      <a:pt x="420" y="289"/>
                    </a:cubicBezTo>
                    <a:cubicBezTo>
                      <a:pt x="420" y="296"/>
                      <a:pt x="425" y="301"/>
                      <a:pt x="432" y="301"/>
                    </a:cubicBezTo>
                    <a:cubicBezTo>
                      <a:pt x="439" y="301"/>
                      <a:pt x="444" y="296"/>
                      <a:pt x="444" y="289"/>
                    </a:cubicBezTo>
                    <a:cubicBezTo>
                      <a:pt x="444" y="282"/>
                      <a:pt x="439" y="277"/>
                      <a:pt x="432" y="277"/>
                    </a:cubicBezTo>
                    <a:close/>
                    <a:moveTo>
                      <a:pt x="432" y="400"/>
                    </a:moveTo>
                    <a:cubicBezTo>
                      <a:pt x="425" y="400"/>
                      <a:pt x="420" y="405"/>
                      <a:pt x="420" y="412"/>
                    </a:cubicBezTo>
                    <a:cubicBezTo>
                      <a:pt x="420" y="419"/>
                      <a:pt x="425" y="424"/>
                      <a:pt x="432" y="424"/>
                    </a:cubicBezTo>
                    <a:cubicBezTo>
                      <a:pt x="439" y="424"/>
                      <a:pt x="444" y="419"/>
                      <a:pt x="444" y="412"/>
                    </a:cubicBezTo>
                    <a:cubicBezTo>
                      <a:pt x="444" y="405"/>
                      <a:pt x="439" y="400"/>
                      <a:pt x="432" y="400"/>
                    </a:cubicBezTo>
                    <a:close/>
                    <a:moveTo>
                      <a:pt x="362" y="184"/>
                    </a:moveTo>
                    <a:cubicBezTo>
                      <a:pt x="355" y="184"/>
                      <a:pt x="350" y="190"/>
                      <a:pt x="350" y="197"/>
                    </a:cubicBezTo>
                    <a:cubicBezTo>
                      <a:pt x="350" y="203"/>
                      <a:pt x="355" y="209"/>
                      <a:pt x="362" y="209"/>
                    </a:cubicBezTo>
                    <a:cubicBezTo>
                      <a:pt x="369" y="209"/>
                      <a:pt x="374" y="203"/>
                      <a:pt x="374" y="197"/>
                    </a:cubicBezTo>
                    <a:cubicBezTo>
                      <a:pt x="374" y="190"/>
                      <a:pt x="369" y="184"/>
                      <a:pt x="362" y="184"/>
                    </a:cubicBezTo>
                    <a:close/>
                    <a:moveTo>
                      <a:pt x="222" y="123"/>
                    </a:moveTo>
                    <a:cubicBezTo>
                      <a:pt x="215" y="123"/>
                      <a:pt x="210" y="128"/>
                      <a:pt x="210" y="135"/>
                    </a:cubicBezTo>
                    <a:cubicBezTo>
                      <a:pt x="210" y="142"/>
                      <a:pt x="215" y="147"/>
                      <a:pt x="222" y="147"/>
                    </a:cubicBezTo>
                    <a:cubicBezTo>
                      <a:pt x="229" y="147"/>
                      <a:pt x="234" y="142"/>
                      <a:pt x="234" y="135"/>
                    </a:cubicBezTo>
                    <a:cubicBezTo>
                      <a:pt x="234" y="128"/>
                      <a:pt x="229" y="123"/>
                      <a:pt x="222" y="123"/>
                    </a:cubicBezTo>
                    <a:close/>
                    <a:moveTo>
                      <a:pt x="432" y="461"/>
                    </a:moveTo>
                    <a:cubicBezTo>
                      <a:pt x="425" y="461"/>
                      <a:pt x="420" y="467"/>
                      <a:pt x="420" y="473"/>
                    </a:cubicBezTo>
                    <a:cubicBezTo>
                      <a:pt x="420" y="480"/>
                      <a:pt x="425" y="486"/>
                      <a:pt x="432" y="486"/>
                    </a:cubicBezTo>
                    <a:cubicBezTo>
                      <a:pt x="439" y="486"/>
                      <a:pt x="444" y="480"/>
                      <a:pt x="444" y="473"/>
                    </a:cubicBezTo>
                    <a:cubicBezTo>
                      <a:pt x="444" y="467"/>
                      <a:pt x="439" y="461"/>
                      <a:pt x="432" y="461"/>
                    </a:cubicBezTo>
                    <a:close/>
                    <a:moveTo>
                      <a:pt x="432" y="430"/>
                    </a:moveTo>
                    <a:cubicBezTo>
                      <a:pt x="425" y="430"/>
                      <a:pt x="420" y="436"/>
                      <a:pt x="420" y="443"/>
                    </a:cubicBezTo>
                    <a:cubicBezTo>
                      <a:pt x="420" y="449"/>
                      <a:pt x="425" y="455"/>
                      <a:pt x="432" y="455"/>
                    </a:cubicBezTo>
                    <a:cubicBezTo>
                      <a:pt x="439" y="455"/>
                      <a:pt x="444" y="449"/>
                      <a:pt x="444" y="443"/>
                    </a:cubicBezTo>
                    <a:cubicBezTo>
                      <a:pt x="444" y="436"/>
                      <a:pt x="439" y="430"/>
                      <a:pt x="432" y="430"/>
                    </a:cubicBezTo>
                    <a:close/>
                    <a:moveTo>
                      <a:pt x="397" y="154"/>
                    </a:moveTo>
                    <a:cubicBezTo>
                      <a:pt x="390" y="154"/>
                      <a:pt x="385" y="159"/>
                      <a:pt x="385" y="166"/>
                    </a:cubicBezTo>
                    <a:cubicBezTo>
                      <a:pt x="385" y="173"/>
                      <a:pt x="390" y="178"/>
                      <a:pt x="397" y="178"/>
                    </a:cubicBezTo>
                    <a:cubicBezTo>
                      <a:pt x="404" y="178"/>
                      <a:pt x="409" y="173"/>
                      <a:pt x="409" y="166"/>
                    </a:cubicBezTo>
                    <a:cubicBezTo>
                      <a:pt x="409" y="159"/>
                      <a:pt x="404" y="154"/>
                      <a:pt x="397" y="154"/>
                    </a:cubicBezTo>
                    <a:close/>
                    <a:moveTo>
                      <a:pt x="432" y="492"/>
                    </a:moveTo>
                    <a:cubicBezTo>
                      <a:pt x="425" y="492"/>
                      <a:pt x="420" y="497"/>
                      <a:pt x="420" y="504"/>
                    </a:cubicBezTo>
                    <a:cubicBezTo>
                      <a:pt x="420" y="511"/>
                      <a:pt x="425" y="516"/>
                      <a:pt x="432" y="516"/>
                    </a:cubicBezTo>
                    <a:cubicBezTo>
                      <a:pt x="439" y="516"/>
                      <a:pt x="444" y="511"/>
                      <a:pt x="444" y="504"/>
                    </a:cubicBezTo>
                    <a:cubicBezTo>
                      <a:pt x="444" y="497"/>
                      <a:pt x="439" y="492"/>
                      <a:pt x="432" y="492"/>
                    </a:cubicBezTo>
                    <a:close/>
                    <a:moveTo>
                      <a:pt x="397" y="277"/>
                    </a:moveTo>
                    <a:cubicBezTo>
                      <a:pt x="390" y="277"/>
                      <a:pt x="385" y="282"/>
                      <a:pt x="385" y="289"/>
                    </a:cubicBezTo>
                    <a:cubicBezTo>
                      <a:pt x="385" y="296"/>
                      <a:pt x="390" y="301"/>
                      <a:pt x="397" y="301"/>
                    </a:cubicBezTo>
                    <a:cubicBezTo>
                      <a:pt x="404" y="301"/>
                      <a:pt x="409" y="296"/>
                      <a:pt x="409" y="289"/>
                    </a:cubicBezTo>
                    <a:cubicBezTo>
                      <a:pt x="409" y="282"/>
                      <a:pt x="404" y="277"/>
                      <a:pt x="397" y="277"/>
                    </a:cubicBezTo>
                    <a:close/>
                    <a:moveTo>
                      <a:pt x="432" y="117"/>
                    </a:moveTo>
                    <a:cubicBezTo>
                      <a:pt x="439" y="117"/>
                      <a:pt x="444" y="111"/>
                      <a:pt x="444" y="104"/>
                    </a:cubicBezTo>
                    <a:cubicBezTo>
                      <a:pt x="444" y="98"/>
                      <a:pt x="439" y="92"/>
                      <a:pt x="432" y="92"/>
                    </a:cubicBezTo>
                    <a:cubicBezTo>
                      <a:pt x="425" y="92"/>
                      <a:pt x="420" y="98"/>
                      <a:pt x="420" y="104"/>
                    </a:cubicBezTo>
                    <a:cubicBezTo>
                      <a:pt x="420" y="111"/>
                      <a:pt x="425" y="117"/>
                      <a:pt x="432" y="117"/>
                    </a:cubicBezTo>
                    <a:close/>
                    <a:moveTo>
                      <a:pt x="47" y="31"/>
                    </a:moveTo>
                    <a:cubicBezTo>
                      <a:pt x="40" y="31"/>
                      <a:pt x="35" y="36"/>
                      <a:pt x="35" y="43"/>
                    </a:cubicBezTo>
                    <a:cubicBezTo>
                      <a:pt x="35" y="50"/>
                      <a:pt x="40" y="55"/>
                      <a:pt x="47" y="55"/>
                    </a:cubicBezTo>
                    <a:cubicBezTo>
                      <a:pt x="53" y="55"/>
                      <a:pt x="59" y="50"/>
                      <a:pt x="59" y="43"/>
                    </a:cubicBezTo>
                    <a:cubicBezTo>
                      <a:pt x="59" y="36"/>
                      <a:pt x="53" y="31"/>
                      <a:pt x="47" y="31"/>
                    </a:cubicBezTo>
                    <a:close/>
                    <a:moveTo>
                      <a:pt x="82" y="62"/>
                    </a:moveTo>
                    <a:cubicBezTo>
                      <a:pt x="75" y="62"/>
                      <a:pt x="70" y="67"/>
                      <a:pt x="70" y="74"/>
                    </a:cubicBezTo>
                    <a:cubicBezTo>
                      <a:pt x="70" y="80"/>
                      <a:pt x="75" y="86"/>
                      <a:pt x="82" y="86"/>
                    </a:cubicBezTo>
                    <a:cubicBezTo>
                      <a:pt x="89" y="86"/>
                      <a:pt x="94" y="80"/>
                      <a:pt x="94" y="74"/>
                    </a:cubicBezTo>
                    <a:cubicBezTo>
                      <a:pt x="94" y="67"/>
                      <a:pt x="89" y="62"/>
                      <a:pt x="82" y="62"/>
                    </a:cubicBezTo>
                    <a:close/>
                    <a:moveTo>
                      <a:pt x="47" y="0"/>
                    </a:moveTo>
                    <a:cubicBezTo>
                      <a:pt x="40" y="0"/>
                      <a:pt x="35" y="5"/>
                      <a:pt x="35" y="12"/>
                    </a:cubicBezTo>
                    <a:cubicBezTo>
                      <a:pt x="35" y="19"/>
                      <a:pt x="40" y="24"/>
                      <a:pt x="47" y="24"/>
                    </a:cubicBezTo>
                    <a:cubicBezTo>
                      <a:pt x="53" y="24"/>
                      <a:pt x="59" y="19"/>
                      <a:pt x="59" y="12"/>
                    </a:cubicBezTo>
                    <a:cubicBezTo>
                      <a:pt x="59" y="5"/>
                      <a:pt x="53" y="0"/>
                      <a:pt x="47" y="0"/>
                    </a:cubicBezTo>
                    <a:close/>
                    <a:moveTo>
                      <a:pt x="82" y="31"/>
                    </a:moveTo>
                    <a:cubicBezTo>
                      <a:pt x="75" y="31"/>
                      <a:pt x="70" y="36"/>
                      <a:pt x="70" y="43"/>
                    </a:cubicBezTo>
                    <a:cubicBezTo>
                      <a:pt x="70" y="50"/>
                      <a:pt x="75" y="55"/>
                      <a:pt x="82" y="55"/>
                    </a:cubicBezTo>
                    <a:cubicBezTo>
                      <a:pt x="89" y="55"/>
                      <a:pt x="94" y="50"/>
                      <a:pt x="94" y="43"/>
                    </a:cubicBezTo>
                    <a:cubicBezTo>
                      <a:pt x="94" y="36"/>
                      <a:pt x="89" y="31"/>
                      <a:pt x="82" y="31"/>
                    </a:cubicBezTo>
                    <a:close/>
                    <a:moveTo>
                      <a:pt x="82" y="0"/>
                    </a:moveTo>
                    <a:cubicBezTo>
                      <a:pt x="75" y="0"/>
                      <a:pt x="70" y="5"/>
                      <a:pt x="70" y="12"/>
                    </a:cubicBezTo>
                    <a:cubicBezTo>
                      <a:pt x="70" y="19"/>
                      <a:pt x="75" y="24"/>
                      <a:pt x="82" y="24"/>
                    </a:cubicBezTo>
                    <a:cubicBezTo>
                      <a:pt x="89" y="24"/>
                      <a:pt x="94" y="19"/>
                      <a:pt x="94" y="12"/>
                    </a:cubicBezTo>
                    <a:cubicBezTo>
                      <a:pt x="94" y="5"/>
                      <a:pt x="89" y="0"/>
                      <a:pt x="82" y="0"/>
                    </a:cubicBezTo>
                    <a:close/>
                    <a:moveTo>
                      <a:pt x="12" y="0"/>
                    </a:moveTo>
                    <a:cubicBezTo>
                      <a:pt x="5" y="0"/>
                      <a:pt x="0" y="5"/>
                      <a:pt x="0" y="12"/>
                    </a:cubicBezTo>
                    <a:cubicBezTo>
                      <a:pt x="0" y="19"/>
                      <a:pt x="5" y="24"/>
                      <a:pt x="12" y="24"/>
                    </a:cubicBezTo>
                    <a:cubicBezTo>
                      <a:pt x="18" y="24"/>
                      <a:pt x="24" y="19"/>
                      <a:pt x="24" y="12"/>
                    </a:cubicBezTo>
                    <a:cubicBezTo>
                      <a:pt x="24" y="5"/>
                      <a:pt x="18" y="0"/>
                      <a:pt x="12" y="0"/>
                    </a:cubicBezTo>
                    <a:close/>
                    <a:moveTo>
                      <a:pt x="397" y="117"/>
                    </a:moveTo>
                    <a:cubicBezTo>
                      <a:pt x="404" y="117"/>
                      <a:pt x="409" y="111"/>
                      <a:pt x="409" y="104"/>
                    </a:cubicBezTo>
                    <a:cubicBezTo>
                      <a:pt x="409" y="98"/>
                      <a:pt x="404" y="92"/>
                      <a:pt x="397" y="92"/>
                    </a:cubicBezTo>
                    <a:cubicBezTo>
                      <a:pt x="390" y="92"/>
                      <a:pt x="385" y="98"/>
                      <a:pt x="385" y="104"/>
                    </a:cubicBezTo>
                    <a:cubicBezTo>
                      <a:pt x="385" y="111"/>
                      <a:pt x="390" y="117"/>
                      <a:pt x="397" y="117"/>
                    </a:cubicBezTo>
                    <a:close/>
                    <a:moveTo>
                      <a:pt x="537" y="892"/>
                    </a:moveTo>
                    <a:cubicBezTo>
                      <a:pt x="531" y="892"/>
                      <a:pt x="525" y="897"/>
                      <a:pt x="525" y="904"/>
                    </a:cubicBezTo>
                    <a:cubicBezTo>
                      <a:pt x="525" y="910"/>
                      <a:pt x="531" y="916"/>
                      <a:pt x="537" y="916"/>
                    </a:cubicBezTo>
                    <a:cubicBezTo>
                      <a:pt x="544" y="916"/>
                      <a:pt x="550" y="910"/>
                      <a:pt x="550" y="904"/>
                    </a:cubicBezTo>
                    <a:cubicBezTo>
                      <a:pt x="550" y="897"/>
                      <a:pt x="544" y="892"/>
                      <a:pt x="537" y="892"/>
                    </a:cubicBezTo>
                    <a:close/>
                    <a:moveTo>
                      <a:pt x="993" y="516"/>
                    </a:moveTo>
                    <a:cubicBezTo>
                      <a:pt x="1000" y="516"/>
                      <a:pt x="1005" y="511"/>
                      <a:pt x="1005" y="504"/>
                    </a:cubicBezTo>
                    <a:cubicBezTo>
                      <a:pt x="1005" y="497"/>
                      <a:pt x="1000" y="492"/>
                      <a:pt x="993" y="492"/>
                    </a:cubicBezTo>
                    <a:cubicBezTo>
                      <a:pt x="986" y="492"/>
                      <a:pt x="981" y="497"/>
                      <a:pt x="981" y="504"/>
                    </a:cubicBezTo>
                    <a:cubicBezTo>
                      <a:pt x="981" y="511"/>
                      <a:pt x="986" y="516"/>
                      <a:pt x="993" y="516"/>
                    </a:cubicBezTo>
                    <a:close/>
                    <a:moveTo>
                      <a:pt x="117" y="92"/>
                    </a:moveTo>
                    <a:cubicBezTo>
                      <a:pt x="110" y="92"/>
                      <a:pt x="105" y="98"/>
                      <a:pt x="105" y="104"/>
                    </a:cubicBezTo>
                    <a:cubicBezTo>
                      <a:pt x="105" y="111"/>
                      <a:pt x="110" y="117"/>
                      <a:pt x="117" y="117"/>
                    </a:cubicBezTo>
                    <a:cubicBezTo>
                      <a:pt x="124" y="117"/>
                      <a:pt x="129" y="111"/>
                      <a:pt x="129" y="104"/>
                    </a:cubicBezTo>
                    <a:cubicBezTo>
                      <a:pt x="129" y="98"/>
                      <a:pt x="124" y="92"/>
                      <a:pt x="117" y="92"/>
                    </a:cubicBezTo>
                    <a:close/>
                    <a:moveTo>
                      <a:pt x="152" y="62"/>
                    </a:moveTo>
                    <a:cubicBezTo>
                      <a:pt x="145" y="62"/>
                      <a:pt x="140" y="67"/>
                      <a:pt x="140" y="74"/>
                    </a:cubicBezTo>
                    <a:cubicBezTo>
                      <a:pt x="140" y="80"/>
                      <a:pt x="145" y="86"/>
                      <a:pt x="152" y="86"/>
                    </a:cubicBezTo>
                    <a:cubicBezTo>
                      <a:pt x="159" y="86"/>
                      <a:pt x="164" y="80"/>
                      <a:pt x="164" y="74"/>
                    </a:cubicBezTo>
                    <a:cubicBezTo>
                      <a:pt x="164" y="67"/>
                      <a:pt x="159" y="62"/>
                      <a:pt x="152" y="62"/>
                    </a:cubicBezTo>
                    <a:close/>
                    <a:moveTo>
                      <a:pt x="187" y="92"/>
                    </a:moveTo>
                    <a:cubicBezTo>
                      <a:pt x="180" y="92"/>
                      <a:pt x="175" y="98"/>
                      <a:pt x="175" y="104"/>
                    </a:cubicBezTo>
                    <a:cubicBezTo>
                      <a:pt x="175" y="111"/>
                      <a:pt x="180" y="117"/>
                      <a:pt x="187" y="117"/>
                    </a:cubicBezTo>
                    <a:cubicBezTo>
                      <a:pt x="194" y="117"/>
                      <a:pt x="199" y="111"/>
                      <a:pt x="199" y="104"/>
                    </a:cubicBezTo>
                    <a:cubicBezTo>
                      <a:pt x="199" y="98"/>
                      <a:pt x="194" y="92"/>
                      <a:pt x="187" y="92"/>
                    </a:cubicBezTo>
                    <a:close/>
                    <a:moveTo>
                      <a:pt x="187" y="154"/>
                    </a:moveTo>
                    <a:cubicBezTo>
                      <a:pt x="180" y="154"/>
                      <a:pt x="175" y="159"/>
                      <a:pt x="175" y="166"/>
                    </a:cubicBezTo>
                    <a:cubicBezTo>
                      <a:pt x="175" y="173"/>
                      <a:pt x="180" y="178"/>
                      <a:pt x="187" y="178"/>
                    </a:cubicBezTo>
                    <a:cubicBezTo>
                      <a:pt x="194" y="178"/>
                      <a:pt x="199" y="173"/>
                      <a:pt x="199" y="166"/>
                    </a:cubicBezTo>
                    <a:cubicBezTo>
                      <a:pt x="199" y="159"/>
                      <a:pt x="194" y="154"/>
                      <a:pt x="187" y="154"/>
                    </a:cubicBezTo>
                    <a:close/>
                    <a:moveTo>
                      <a:pt x="117" y="62"/>
                    </a:moveTo>
                    <a:cubicBezTo>
                      <a:pt x="110" y="62"/>
                      <a:pt x="105" y="67"/>
                      <a:pt x="105" y="74"/>
                    </a:cubicBezTo>
                    <a:cubicBezTo>
                      <a:pt x="105" y="80"/>
                      <a:pt x="110" y="86"/>
                      <a:pt x="117" y="86"/>
                    </a:cubicBezTo>
                    <a:cubicBezTo>
                      <a:pt x="124" y="86"/>
                      <a:pt x="129" y="80"/>
                      <a:pt x="129" y="74"/>
                    </a:cubicBezTo>
                    <a:cubicBezTo>
                      <a:pt x="129" y="67"/>
                      <a:pt x="124" y="62"/>
                      <a:pt x="117" y="62"/>
                    </a:cubicBezTo>
                    <a:close/>
                    <a:moveTo>
                      <a:pt x="187" y="62"/>
                    </a:moveTo>
                    <a:cubicBezTo>
                      <a:pt x="180" y="62"/>
                      <a:pt x="175" y="67"/>
                      <a:pt x="175" y="74"/>
                    </a:cubicBezTo>
                    <a:cubicBezTo>
                      <a:pt x="175" y="80"/>
                      <a:pt x="180" y="86"/>
                      <a:pt x="187" y="86"/>
                    </a:cubicBezTo>
                    <a:cubicBezTo>
                      <a:pt x="194" y="86"/>
                      <a:pt x="199" y="80"/>
                      <a:pt x="199" y="74"/>
                    </a:cubicBezTo>
                    <a:cubicBezTo>
                      <a:pt x="199" y="67"/>
                      <a:pt x="194" y="62"/>
                      <a:pt x="187" y="62"/>
                    </a:cubicBezTo>
                    <a:close/>
                    <a:moveTo>
                      <a:pt x="187" y="123"/>
                    </a:moveTo>
                    <a:cubicBezTo>
                      <a:pt x="180" y="123"/>
                      <a:pt x="175" y="128"/>
                      <a:pt x="175" y="135"/>
                    </a:cubicBezTo>
                    <a:cubicBezTo>
                      <a:pt x="175" y="142"/>
                      <a:pt x="180" y="147"/>
                      <a:pt x="187" y="147"/>
                    </a:cubicBezTo>
                    <a:cubicBezTo>
                      <a:pt x="194" y="147"/>
                      <a:pt x="199" y="142"/>
                      <a:pt x="199" y="135"/>
                    </a:cubicBezTo>
                    <a:cubicBezTo>
                      <a:pt x="199" y="128"/>
                      <a:pt x="194" y="123"/>
                      <a:pt x="187" y="123"/>
                    </a:cubicBezTo>
                    <a:close/>
                    <a:moveTo>
                      <a:pt x="152" y="123"/>
                    </a:moveTo>
                    <a:cubicBezTo>
                      <a:pt x="145" y="123"/>
                      <a:pt x="140" y="128"/>
                      <a:pt x="140" y="135"/>
                    </a:cubicBezTo>
                    <a:cubicBezTo>
                      <a:pt x="140" y="142"/>
                      <a:pt x="145" y="147"/>
                      <a:pt x="152" y="147"/>
                    </a:cubicBezTo>
                    <a:cubicBezTo>
                      <a:pt x="159" y="147"/>
                      <a:pt x="164" y="142"/>
                      <a:pt x="164" y="135"/>
                    </a:cubicBezTo>
                    <a:cubicBezTo>
                      <a:pt x="164" y="128"/>
                      <a:pt x="159" y="123"/>
                      <a:pt x="152" y="123"/>
                    </a:cubicBezTo>
                    <a:close/>
                    <a:moveTo>
                      <a:pt x="117" y="31"/>
                    </a:moveTo>
                    <a:cubicBezTo>
                      <a:pt x="110" y="31"/>
                      <a:pt x="105" y="36"/>
                      <a:pt x="105" y="43"/>
                    </a:cubicBezTo>
                    <a:cubicBezTo>
                      <a:pt x="105" y="50"/>
                      <a:pt x="110" y="55"/>
                      <a:pt x="117" y="55"/>
                    </a:cubicBezTo>
                    <a:cubicBezTo>
                      <a:pt x="124" y="55"/>
                      <a:pt x="129" y="50"/>
                      <a:pt x="129" y="43"/>
                    </a:cubicBezTo>
                    <a:cubicBezTo>
                      <a:pt x="129" y="36"/>
                      <a:pt x="124" y="31"/>
                      <a:pt x="117" y="31"/>
                    </a:cubicBezTo>
                    <a:close/>
                    <a:moveTo>
                      <a:pt x="152" y="92"/>
                    </a:moveTo>
                    <a:cubicBezTo>
                      <a:pt x="145" y="92"/>
                      <a:pt x="140" y="98"/>
                      <a:pt x="140" y="104"/>
                    </a:cubicBezTo>
                    <a:cubicBezTo>
                      <a:pt x="140" y="111"/>
                      <a:pt x="145" y="117"/>
                      <a:pt x="152" y="117"/>
                    </a:cubicBezTo>
                    <a:cubicBezTo>
                      <a:pt x="159" y="117"/>
                      <a:pt x="164" y="111"/>
                      <a:pt x="164" y="104"/>
                    </a:cubicBezTo>
                    <a:cubicBezTo>
                      <a:pt x="164" y="98"/>
                      <a:pt x="159" y="92"/>
                      <a:pt x="152" y="92"/>
                    </a:cubicBezTo>
                    <a:close/>
                    <a:moveTo>
                      <a:pt x="222" y="154"/>
                    </a:moveTo>
                    <a:cubicBezTo>
                      <a:pt x="215" y="154"/>
                      <a:pt x="210" y="159"/>
                      <a:pt x="210" y="166"/>
                    </a:cubicBezTo>
                    <a:cubicBezTo>
                      <a:pt x="210" y="173"/>
                      <a:pt x="215" y="178"/>
                      <a:pt x="222" y="178"/>
                    </a:cubicBezTo>
                    <a:cubicBezTo>
                      <a:pt x="229" y="178"/>
                      <a:pt x="234" y="173"/>
                      <a:pt x="234" y="166"/>
                    </a:cubicBezTo>
                    <a:cubicBezTo>
                      <a:pt x="234" y="159"/>
                      <a:pt x="229" y="154"/>
                      <a:pt x="222" y="154"/>
                    </a:cubicBezTo>
                    <a:close/>
                    <a:moveTo>
                      <a:pt x="467" y="584"/>
                    </a:moveTo>
                    <a:cubicBezTo>
                      <a:pt x="461" y="584"/>
                      <a:pt x="455" y="590"/>
                      <a:pt x="455" y="596"/>
                    </a:cubicBezTo>
                    <a:cubicBezTo>
                      <a:pt x="455" y="603"/>
                      <a:pt x="461" y="608"/>
                      <a:pt x="467" y="608"/>
                    </a:cubicBezTo>
                    <a:cubicBezTo>
                      <a:pt x="474" y="608"/>
                      <a:pt x="479" y="603"/>
                      <a:pt x="479" y="596"/>
                    </a:cubicBezTo>
                    <a:cubicBezTo>
                      <a:pt x="479" y="590"/>
                      <a:pt x="474" y="584"/>
                      <a:pt x="467" y="584"/>
                    </a:cubicBezTo>
                    <a:close/>
                    <a:moveTo>
                      <a:pt x="502" y="277"/>
                    </a:moveTo>
                    <a:cubicBezTo>
                      <a:pt x="496" y="277"/>
                      <a:pt x="490" y="282"/>
                      <a:pt x="490" y="289"/>
                    </a:cubicBezTo>
                    <a:cubicBezTo>
                      <a:pt x="490" y="296"/>
                      <a:pt x="496" y="301"/>
                      <a:pt x="502" y="301"/>
                    </a:cubicBezTo>
                    <a:cubicBezTo>
                      <a:pt x="509" y="301"/>
                      <a:pt x="514" y="296"/>
                      <a:pt x="514" y="289"/>
                    </a:cubicBezTo>
                    <a:cubicBezTo>
                      <a:pt x="514" y="282"/>
                      <a:pt x="509" y="277"/>
                      <a:pt x="502" y="277"/>
                    </a:cubicBezTo>
                    <a:close/>
                    <a:moveTo>
                      <a:pt x="502" y="307"/>
                    </a:moveTo>
                    <a:cubicBezTo>
                      <a:pt x="496" y="307"/>
                      <a:pt x="490" y="313"/>
                      <a:pt x="490" y="320"/>
                    </a:cubicBezTo>
                    <a:cubicBezTo>
                      <a:pt x="490" y="326"/>
                      <a:pt x="496" y="332"/>
                      <a:pt x="502" y="332"/>
                    </a:cubicBezTo>
                    <a:cubicBezTo>
                      <a:pt x="509" y="332"/>
                      <a:pt x="514" y="326"/>
                      <a:pt x="514" y="320"/>
                    </a:cubicBezTo>
                    <a:cubicBezTo>
                      <a:pt x="514" y="313"/>
                      <a:pt x="509" y="307"/>
                      <a:pt x="502" y="307"/>
                    </a:cubicBezTo>
                    <a:close/>
                    <a:moveTo>
                      <a:pt x="502" y="338"/>
                    </a:moveTo>
                    <a:cubicBezTo>
                      <a:pt x="496" y="338"/>
                      <a:pt x="490" y="344"/>
                      <a:pt x="490" y="350"/>
                    </a:cubicBezTo>
                    <a:cubicBezTo>
                      <a:pt x="490" y="357"/>
                      <a:pt x="496" y="363"/>
                      <a:pt x="502" y="363"/>
                    </a:cubicBezTo>
                    <a:cubicBezTo>
                      <a:pt x="509" y="363"/>
                      <a:pt x="514" y="357"/>
                      <a:pt x="514" y="350"/>
                    </a:cubicBezTo>
                    <a:cubicBezTo>
                      <a:pt x="514" y="344"/>
                      <a:pt x="509" y="338"/>
                      <a:pt x="502" y="338"/>
                    </a:cubicBezTo>
                    <a:close/>
                    <a:moveTo>
                      <a:pt x="502" y="246"/>
                    </a:moveTo>
                    <a:cubicBezTo>
                      <a:pt x="496" y="246"/>
                      <a:pt x="490" y="251"/>
                      <a:pt x="490" y="258"/>
                    </a:cubicBezTo>
                    <a:cubicBezTo>
                      <a:pt x="490" y="265"/>
                      <a:pt x="496" y="270"/>
                      <a:pt x="502" y="270"/>
                    </a:cubicBezTo>
                    <a:cubicBezTo>
                      <a:pt x="509" y="270"/>
                      <a:pt x="514" y="265"/>
                      <a:pt x="514" y="258"/>
                    </a:cubicBezTo>
                    <a:cubicBezTo>
                      <a:pt x="514" y="251"/>
                      <a:pt x="509" y="246"/>
                      <a:pt x="502" y="246"/>
                    </a:cubicBezTo>
                    <a:close/>
                    <a:moveTo>
                      <a:pt x="537" y="1199"/>
                    </a:moveTo>
                    <a:cubicBezTo>
                      <a:pt x="531" y="1199"/>
                      <a:pt x="525" y="1204"/>
                      <a:pt x="525" y="1211"/>
                    </a:cubicBezTo>
                    <a:cubicBezTo>
                      <a:pt x="525" y="1218"/>
                      <a:pt x="531" y="1223"/>
                      <a:pt x="537" y="1223"/>
                    </a:cubicBezTo>
                    <a:cubicBezTo>
                      <a:pt x="544" y="1223"/>
                      <a:pt x="550" y="1218"/>
                      <a:pt x="550" y="1211"/>
                    </a:cubicBezTo>
                    <a:cubicBezTo>
                      <a:pt x="550" y="1204"/>
                      <a:pt x="544" y="1199"/>
                      <a:pt x="537" y="1199"/>
                    </a:cubicBezTo>
                    <a:close/>
                    <a:moveTo>
                      <a:pt x="502" y="430"/>
                    </a:moveTo>
                    <a:cubicBezTo>
                      <a:pt x="496" y="430"/>
                      <a:pt x="490" y="436"/>
                      <a:pt x="490" y="443"/>
                    </a:cubicBezTo>
                    <a:cubicBezTo>
                      <a:pt x="490" y="449"/>
                      <a:pt x="496" y="455"/>
                      <a:pt x="502" y="455"/>
                    </a:cubicBezTo>
                    <a:cubicBezTo>
                      <a:pt x="509" y="455"/>
                      <a:pt x="514" y="449"/>
                      <a:pt x="514" y="443"/>
                    </a:cubicBezTo>
                    <a:cubicBezTo>
                      <a:pt x="514" y="436"/>
                      <a:pt x="509" y="430"/>
                      <a:pt x="502" y="430"/>
                    </a:cubicBezTo>
                    <a:close/>
                    <a:moveTo>
                      <a:pt x="467" y="553"/>
                    </a:moveTo>
                    <a:cubicBezTo>
                      <a:pt x="461" y="553"/>
                      <a:pt x="455" y="559"/>
                      <a:pt x="455" y="566"/>
                    </a:cubicBezTo>
                    <a:cubicBezTo>
                      <a:pt x="455" y="572"/>
                      <a:pt x="461" y="578"/>
                      <a:pt x="467" y="578"/>
                    </a:cubicBezTo>
                    <a:cubicBezTo>
                      <a:pt x="474" y="578"/>
                      <a:pt x="479" y="572"/>
                      <a:pt x="479" y="566"/>
                    </a:cubicBezTo>
                    <a:cubicBezTo>
                      <a:pt x="479" y="559"/>
                      <a:pt x="474" y="553"/>
                      <a:pt x="467" y="553"/>
                    </a:cubicBezTo>
                    <a:close/>
                    <a:moveTo>
                      <a:pt x="502" y="400"/>
                    </a:moveTo>
                    <a:cubicBezTo>
                      <a:pt x="496" y="400"/>
                      <a:pt x="490" y="405"/>
                      <a:pt x="490" y="412"/>
                    </a:cubicBezTo>
                    <a:cubicBezTo>
                      <a:pt x="490" y="419"/>
                      <a:pt x="496" y="424"/>
                      <a:pt x="502" y="424"/>
                    </a:cubicBezTo>
                    <a:cubicBezTo>
                      <a:pt x="509" y="424"/>
                      <a:pt x="514" y="419"/>
                      <a:pt x="514" y="412"/>
                    </a:cubicBezTo>
                    <a:cubicBezTo>
                      <a:pt x="514" y="405"/>
                      <a:pt x="509" y="400"/>
                      <a:pt x="502" y="400"/>
                    </a:cubicBezTo>
                    <a:close/>
                    <a:moveTo>
                      <a:pt x="502" y="369"/>
                    </a:moveTo>
                    <a:cubicBezTo>
                      <a:pt x="496" y="369"/>
                      <a:pt x="490" y="374"/>
                      <a:pt x="490" y="381"/>
                    </a:cubicBezTo>
                    <a:cubicBezTo>
                      <a:pt x="490" y="388"/>
                      <a:pt x="496" y="393"/>
                      <a:pt x="502" y="393"/>
                    </a:cubicBezTo>
                    <a:cubicBezTo>
                      <a:pt x="509" y="393"/>
                      <a:pt x="514" y="388"/>
                      <a:pt x="514" y="381"/>
                    </a:cubicBezTo>
                    <a:cubicBezTo>
                      <a:pt x="514" y="374"/>
                      <a:pt x="509" y="369"/>
                      <a:pt x="502" y="369"/>
                    </a:cubicBezTo>
                    <a:close/>
                    <a:moveTo>
                      <a:pt x="537" y="984"/>
                    </a:moveTo>
                    <a:cubicBezTo>
                      <a:pt x="531" y="984"/>
                      <a:pt x="525" y="989"/>
                      <a:pt x="525" y="996"/>
                    </a:cubicBezTo>
                    <a:cubicBezTo>
                      <a:pt x="525" y="1003"/>
                      <a:pt x="531" y="1008"/>
                      <a:pt x="537" y="1008"/>
                    </a:cubicBezTo>
                    <a:cubicBezTo>
                      <a:pt x="544" y="1008"/>
                      <a:pt x="550" y="1003"/>
                      <a:pt x="550" y="996"/>
                    </a:cubicBezTo>
                    <a:cubicBezTo>
                      <a:pt x="550" y="989"/>
                      <a:pt x="544" y="984"/>
                      <a:pt x="537" y="984"/>
                    </a:cubicBezTo>
                    <a:close/>
                    <a:moveTo>
                      <a:pt x="537" y="1168"/>
                    </a:moveTo>
                    <a:cubicBezTo>
                      <a:pt x="531" y="1168"/>
                      <a:pt x="525" y="1174"/>
                      <a:pt x="525" y="1180"/>
                    </a:cubicBezTo>
                    <a:cubicBezTo>
                      <a:pt x="525" y="1187"/>
                      <a:pt x="531" y="1193"/>
                      <a:pt x="537" y="1193"/>
                    </a:cubicBezTo>
                    <a:cubicBezTo>
                      <a:pt x="544" y="1193"/>
                      <a:pt x="550" y="1187"/>
                      <a:pt x="550" y="1180"/>
                    </a:cubicBezTo>
                    <a:cubicBezTo>
                      <a:pt x="550" y="1174"/>
                      <a:pt x="544" y="1168"/>
                      <a:pt x="537" y="1168"/>
                    </a:cubicBezTo>
                    <a:close/>
                    <a:moveTo>
                      <a:pt x="502" y="492"/>
                    </a:moveTo>
                    <a:cubicBezTo>
                      <a:pt x="496" y="492"/>
                      <a:pt x="490" y="497"/>
                      <a:pt x="490" y="504"/>
                    </a:cubicBezTo>
                    <a:cubicBezTo>
                      <a:pt x="490" y="511"/>
                      <a:pt x="496" y="516"/>
                      <a:pt x="502" y="516"/>
                    </a:cubicBezTo>
                    <a:cubicBezTo>
                      <a:pt x="509" y="516"/>
                      <a:pt x="514" y="511"/>
                      <a:pt x="514" y="504"/>
                    </a:cubicBezTo>
                    <a:cubicBezTo>
                      <a:pt x="514" y="497"/>
                      <a:pt x="509" y="492"/>
                      <a:pt x="502" y="492"/>
                    </a:cubicBezTo>
                    <a:close/>
                    <a:moveTo>
                      <a:pt x="537" y="953"/>
                    </a:moveTo>
                    <a:cubicBezTo>
                      <a:pt x="531" y="953"/>
                      <a:pt x="525" y="959"/>
                      <a:pt x="525" y="965"/>
                    </a:cubicBezTo>
                    <a:cubicBezTo>
                      <a:pt x="525" y="972"/>
                      <a:pt x="531" y="977"/>
                      <a:pt x="537" y="977"/>
                    </a:cubicBezTo>
                    <a:cubicBezTo>
                      <a:pt x="544" y="977"/>
                      <a:pt x="550" y="972"/>
                      <a:pt x="550" y="965"/>
                    </a:cubicBezTo>
                    <a:cubicBezTo>
                      <a:pt x="550" y="959"/>
                      <a:pt x="544" y="953"/>
                      <a:pt x="537" y="953"/>
                    </a:cubicBezTo>
                    <a:close/>
                    <a:moveTo>
                      <a:pt x="537" y="922"/>
                    </a:moveTo>
                    <a:cubicBezTo>
                      <a:pt x="531" y="922"/>
                      <a:pt x="525" y="928"/>
                      <a:pt x="525" y="934"/>
                    </a:cubicBezTo>
                    <a:cubicBezTo>
                      <a:pt x="525" y="941"/>
                      <a:pt x="531" y="947"/>
                      <a:pt x="537" y="947"/>
                    </a:cubicBezTo>
                    <a:cubicBezTo>
                      <a:pt x="544" y="947"/>
                      <a:pt x="550" y="941"/>
                      <a:pt x="550" y="934"/>
                    </a:cubicBezTo>
                    <a:cubicBezTo>
                      <a:pt x="550" y="928"/>
                      <a:pt x="544" y="922"/>
                      <a:pt x="537" y="922"/>
                    </a:cubicBezTo>
                    <a:close/>
                    <a:moveTo>
                      <a:pt x="537" y="1015"/>
                    </a:moveTo>
                    <a:cubicBezTo>
                      <a:pt x="531" y="1015"/>
                      <a:pt x="525" y="1020"/>
                      <a:pt x="525" y="1027"/>
                    </a:cubicBezTo>
                    <a:cubicBezTo>
                      <a:pt x="525" y="1033"/>
                      <a:pt x="531" y="1039"/>
                      <a:pt x="537" y="1039"/>
                    </a:cubicBezTo>
                    <a:cubicBezTo>
                      <a:pt x="544" y="1039"/>
                      <a:pt x="550" y="1033"/>
                      <a:pt x="550" y="1027"/>
                    </a:cubicBezTo>
                    <a:cubicBezTo>
                      <a:pt x="550" y="1020"/>
                      <a:pt x="544" y="1015"/>
                      <a:pt x="537" y="1015"/>
                    </a:cubicBezTo>
                    <a:close/>
                    <a:moveTo>
                      <a:pt x="537" y="1138"/>
                    </a:moveTo>
                    <a:cubicBezTo>
                      <a:pt x="531" y="1138"/>
                      <a:pt x="525" y="1143"/>
                      <a:pt x="525" y="1150"/>
                    </a:cubicBezTo>
                    <a:cubicBezTo>
                      <a:pt x="525" y="1156"/>
                      <a:pt x="531" y="1162"/>
                      <a:pt x="537" y="1162"/>
                    </a:cubicBezTo>
                    <a:cubicBezTo>
                      <a:pt x="544" y="1162"/>
                      <a:pt x="550" y="1156"/>
                      <a:pt x="550" y="1150"/>
                    </a:cubicBezTo>
                    <a:cubicBezTo>
                      <a:pt x="550" y="1143"/>
                      <a:pt x="544" y="1138"/>
                      <a:pt x="537" y="1138"/>
                    </a:cubicBezTo>
                    <a:close/>
                    <a:moveTo>
                      <a:pt x="537" y="1107"/>
                    </a:moveTo>
                    <a:cubicBezTo>
                      <a:pt x="531" y="1107"/>
                      <a:pt x="525" y="1112"/>
                      <a:pt x="525" y="1119"/>
                    </a:cubicBezTo>
                    <a:cubicBezTo>
                      <a:pt x="525" y="1126"/>
                      <a:pt x="531" y="1131"/>
                      <a:pt x="537" y="1131"/>
                    </a:cubicBezTo>
                    <a:cubicBezTo>
                      <a:pt x="544" y="1131"/>
                      <a:pt x="550" y="1126"/>
                      <a:pt x="550" y="1119"/>
                    </a:cubicBezTo>
                    <a:cubicBezTo>
                      <a:pt x="550" y="1112"/>
                      <a:pt x="544" y="1107"/>
                      <a:pt x="537" y="1107"/>
                    </a:cubicBezTo>
                    <a:close/>
                    <a:moveTo>
                      <a:pt x="537" y="1045"/>
                    </a:moveTo>
                    <a:cubicBezTo>
                      <a:pt x="531" y="1045"/>
                      <a:pt x="525" y="1051"/>
                      <a:pt x="525" y="1057"/>
                    </a:cubicBezTo>
                    <a:cubicBezTo>
                      <a:pt x="525" y="1064"/>
                      <a:pt x="531" y="1070"/>
                      <a:pt x="537" y="1070"/>
                    </a:cubicBezTo>
                    <a:cubicBezTo>
                      <a:pt x="544" y="1070"/>
                      <a:pt x="550" y="1064"/>
                      <a:pt x="550" y="1057"/>
                    </a:cubicBezTo>
                    <a:cubicBezTo>
                      <a:pt x="550" y="1051"/>
                      <a:pt x="544" y="1045"/>
                      <a:pt x="537" y="1045"/>
                    </a:cubicBezTo>
                    <a:close/>
                    <a:moveTo>
                      <a:pt x="537" y="1076"/>
                    </a:moveTo>
                    <a:cubicBezTo>
                      <a:pt x="531" y="1076"/>
                      <a:pt x="525" y="1081"/>
                      <a:pt x="525" y="1088"/>
                    </a:cubicBezTo>
                    <a:cubicBezTo>
                      <a:pt x="525" y="1095"/>
                      <a:pt x="531" y="1100"/>
                      <a:pt x="537" y="1100"/>
                    </a:cubicBezTo>
                    <a:cubicBezTo>
                      <a:pt x="544" y="1100"/>
                      <a:pt x="550" y="1095"/>
                      <a:pt x="550" y="1088"/>
                    </a:cubicBezTo>
                    <a:cubicBezTo>
                      <a:pt x="550" y="1081"/>
                      <a:pt x="544" y="1076"/>
                      <a:pt x="537" y="1076"/>
                    </a:cubicBezTo>
                    <a:close/>
                    <a:moveTo>
                      <a:pt x="502" y="461"/>
                    </a:moveTo>
                    <a:cubicBezTo>
                      <a:pt x="496" y="461"/>
                      <a:pt x="490" y="467"/>
                      <a:pt x="490" y="473"/>
                    </a:cubicBezTo>
                    <a:cubicBezTo>
                      <a:pt x="490" y="480"/>
                      <a:pt x="496" y="486"/>
                      <a:pt x="502" y="486"/>
                    </a:cubicBezTo>
                    <a:cubicBezTo>
                      <a:pt x="509" y="486"/>
                      <a:pt x="514" y="480"/>
                      <a:pt x="514" y="473"/>
                    </a:cubicBezTo>
                    <a:cubicBezTo>
                      <a:pt x="514" y="467"/>
                      <a:pt x="509" y="461"/>
                      <a:pt x="502" y="461"/>
                    </a:cubicBezTo>
                    <a:close/>
                    <a:moveTo>
                      <a:pt x="467" y="338"/>
                    </a:moveTo>
                    <a:cubicBezTo>
                      <a:pt x="461" y="338"/>
                      <a:pt x="455" y="344"/>
                      <a:pt x="455" y="350"/>
                    </a:cubicBezTo>
                    <a:cubicBezTo>
                      <a:pt x="455" y="357"/>
                      <a:pt x="461" y="363"/>
                      <a:pt x="467" y="363"/>
                    </a:cubicBezTo>
                    <a:cubicBezTo>
                      <a:pt x="474" y="363"/>
                      <a:pt x="479" y="357"/>
                      <a:pt x="479" y="350"/>
                    </a:cubicBezTo>
                    <a:cubicBezTo>
                      <a:pt x="479" y="344"/>
                      <a:pt x="474" y="338"/>
                      <a:pt x="467" y="338"/>
                    </a:cubicBezTo>
                    <a:close/>
                    <a:moveTo>
                      <a:pt x="467" y="369"/>
                    </a:moveTo>
                    <a:cubicBezTo>
                      <a:pt x="461" y="369"/>
                      <a:pt x="455" y="374"/>
                      <a:pt x="455" y="381"/>
                    </a:cubicBezTo>
                    <a:cubicBezTo>
                      <a:pt x="455" y="388"/>
                      <a:pt x="461" y="393"/>
                      <a:pt x="467" y="393"/>
                    </a:cubicBezTo>
                    <a:cubicBezTo>
                      <a:pt x="474" y="393"/>
                      <a:pt x="479" y="388"/>
                      <a:pt x="479" y="381"/>
                    </a:cubicBezTo>
                    <a:cubicBezTo>
                      <a:pt x="479" y="374"/>
                      <a:pt x="474" y="369"/>
                      <a:pt x="467" y="369"/>
                    </a:cubicBezTo>
                    <a:close/>
                    <a:moveTo>
                      <a:pt x="467" y="307"/>
                    </a:moveTo>
                    <a:cubicBezTo>
                      <a:pt x="461" y="307"/>
                      <a:pt x="455" y="313"/>
                      <a:pt x="455" y="320"/>
                    </a:cubicBezTo>
                    <a:cubicBezTo>
                      <a:pt x="455" y="326"/>
                      <a:pt x="461" y="332"/>
                      <a:pt x="467" y="332"/>
                    </a:cubicBezTo>
                    <a:cubicBezTo>
                      <a:pt x="474" y="332"/>
                      <a:pt x="479" y="326"/>
                      <a:pt x="479" y="320"/>
                    </a:cubicBezTo>
                    <a:cubicBezTo>
                      <a:pt x="479" y="313"/>
                      <a:pt x="474" y="307"/>
                      <a:pt x="467" y="307"/>
                    </a:cubicBezTo>
                    <a:close/>
                    <a:moveTo>
                      <a:pt x="467" y="400"/>
                    </a:moveTo>
                    <a:cubicBezTo>
                      <a:pt x="461" y="400"/>
                      <a:pt x="455" y="405"/>
                      <a:pt x="455" y="412"/>
                    </a:cubicBezTo>
                    <a:cubicBezTo>
                      <a:pt x="455" y="419"/>
                      <a:pt x="461" y="424"/>
                      <a:pt x="467" y="424"/>
                    </a:cubicBezTo>
                    <a:cubicBezTo>
                      <a:pt x="474" y="424"/>
                      <a:pt x="479" y="419"/>
                      <a:pt x="479" y="412"/>
                    </a:cubicBezTo>
                    <a:cubicBezTo>
                      <a:pt x="479" y="405"/>
                      <a:pt x="474" y="400"/>
                      <a:pt x="467" y="400"/>
                    </a:cubicBezTo>
                    <a:close/>
                    <a:moveTo>
                      <a:pt x="467" y="523"/>
                    </a:moveTo>
                    <a:cubicBezTo>
                      <a:pt x="461" y="523"/>
                      <a:pt x="455" y="528"/>
                      <a:pt x="455" y="535"/>
                    </a:cubicBezTo>
                    <a:cubicBezTo>
                      <a:pt x="455" y="542"/>
                      <a:pt x="461" y="547"/>
                      <a:pt x="467" y="547"/>
                    </a:cubicBezTo>
                    <a:cubicBezTo>
                      <a:pt x="474" y="547"/>
                      <a:pt x="479" y="542"/>
                      <a:pt x="479" y="535"/>
                    </a:cubicBezTo>
                    <a:cubicBezTo>
                      <a:pt x="479" y="528"/>
                      <a:pt x="474" y="523"/>
                      <a:pt x="467" y="523"/>
                    </a:cubicBezTo>
                    <a:close/>
                    <a:moveTo>
                      <a:pt x="467" y="277"/>
                    </a:moveTo>
                    <a:cubicBezTo>
                      <a:pt x="461" y="277"/>
                      <a:pt x="455" y="282"/>
                      <a:pt x="455" y="289"/>
                    </a:cubicBezTo>
                    <a:cubicBezTo>
                      <a:pt x="455" y="296"/>
                      <a:pt x="461" y="301"/>
                      <a:pt x="467" y="301"/>
                    </a:cubicBezTo>
                    <a:cubicBezTo>
                      <a:pt x="474" y="301"/>
                      <a:pt x="479" y="296"/>
                      <a:pt x="479" y="289"/>
                    </a:cubicBezTo>
                    <a:cubicBezTo>
                      <a:pt x="479" y="282"/>
                      <a:pt x="474" y="277"/>
                      <a:pt x="467" y="277"/>
                    </a:cubicBezTo>
                    <a:close/>
                    <a:moveTo>
                      <a:pt x="467" y="430"/>
                    </a:moveTo>
                    <a:cubicBezTo>
                      <a:pt x="461" y="430"/>
                      <a:pt x="455" y="436"/>
                      <a:pt x="455" y="443"/>
                    </a:cubicBezTo>
                    <a:cubicBezTo>
                      <a:pt x="455" y="449"/>
                      <a:pt x="461" y="455"/>
                      <a:pt x="467" y="455"/>
                    </a:cubicBezTo>
                    <a:cubicBezTo>
                      <a:pt x="474" y="455"/>
                      <a:pt x="479" y="449"/>
                      <a:pt x="479" y="443"/>
                    </a:cubicBezTo>
                    <a:cubicBezTo>
                      <a:pt x="479" y="436"/>
                      <a:pt x="474" y="430"/>
                      <a:pt x="467" y="430"/>
                    </a:cubicBezTo>
                    <a:close/>
                    <a:moveTo>
                      <a:pt x="467" y="492"/>
                    </a:moveTo>
                    <a:cubicBezTo>
                      <a:pt x="461" y="492"/>
                      <a:pt x="455" y="497"/>
                      <a:pt x="455" y="504"/>
                    </a:cubicBezTo>
                    <a:cubicBezTo>
                      <a:pt x="455" y="511"/>
                      <a:pt x="461" y="516"/>
                      <a:pt x="467" y="516"/>
                    </a:cubicBezTo>
                    <a:cubicBezTo>
                      <a:pt x="474" y="516"/>
                      <a:pt x="479" y="511"/>
                      <a:pt x="479" y="504"/>
                    </a:cubicBezTo>
                    <a:cubicBezTo>
                      <a:pt x="479" y="497"/>
                      <a:pt x="474" y="492"/>
                      <a:pt x="467" y="492"/>
                    </a:cubicBezTo>
                    <a:close/>
                    <a:moveTo>
                      <a:pt x="467" y="461"/>
                    </a:moveTo>
                    <a:cubicBezTo>
                      <a:pt x="461" y="461"/>
                      <a:pt x="455" y="467"/>
                      <a:pt x="455" y="473"/>
                    </a:cubicBezTo>
                    <a:cubicBezTo>
                      <a:pt x="455" y="480"/>
                      <a:pt x="461" y="486"/>
                      <a:pt x="467" y="486"/>
                    </a:cubicBezTo>
                    <a:cubicBezTo>
                      <a:pt x="474" y="486"/>
                      <a:pt x="479" y="480"/>
                      <a:pt x="479" y="473"/>
                    </a:cubicBezTo>
                    <a:cubicBezTo>
                      <a:pt x="479" y="467"/>
                      <a:pt x="474" y="461"/>
                      <a:pt x="467" y="461"/>
                    </a:cubicBezTo>
                    <a:close/>
                    <a:moveTo>
                      <a:pt x="502" y="523"/>
                    </a:moveTo>
                    <a:cubicBezTo>
                      <a:pt x="496" y="523"/>
                      <a:pt x="490" y="528"/>
                      <a:pt x="490" y="535"/>
                    </a:cubicBezTo>
                    <a:cubicBezTo>
                      <a:pt x="490" y="542"/>
                      <a:pt x="496" y="547"/>
                      <a:pt x="502" y="547"/>
                    </a:cubicBezTo>
                    <a:cubicBezTo>
                      <a:pt x="509" y="547"/>
                      <a:pt x="514" y="542"/>
                      <a:pt x="514" y="535"/>
                    </a:cubicBezTo>
                    <a:cubicBezTo>
                      <a:pt x="514" y="528"/>
                      <a:pt x="509" y="523"/>
                      <a:pt x="502" y="523"/>
                    </a:cubicBezTo>
                    <a:close/>
                    <a:moveTo>
                      <a:pt x="502" y="1076"/>
                    </a:moveTo>
                    <a:cubicBezTo>
                      <a:pt x="496" y="1076"/>
                      <a:pt x="490" y="1081"/>
                      <a:pt x="490" y="1088"/>
                    </a:cubicBezTo>
                    <a:cubicBezTo>
                      <a:pt x="490" y="1095"/>
                      <a:pt x="496" y="1100"/>
                      <a:pt x="502" y="1100"/>
                    </a:cubicBezTo>
                    <a:cubicBezTo>
                      <a:pt x="509" y="1100"/>
                      <a:pt x="514" y="1095"/>
                      <a:pt x="514" y="1088"/>
                    </a:cubicBezTo>
                    <a:cubicBezTo>
                      <a:pt x="514" y="1081"/>
                      <a:pt x="509" y="1076"/>
                      <a:pt x="502" y="1076"/>
                    </a:cubicBezTo>
                    <a:close/>
                    <a:moveTo>
                      <a:pt x="502" y="615"/>
                    </a:moveTo>
                    <a:cubicBezTo>
                      <a:pt x="496" y="615"/>
                      <a:pt x="490" y="620"/>
                      <a:pt x="490" y="627"/>
                    </a:cubicBezTo>
                    <a:cubicBezTo>
                      <a:pt x="490" y="634"/>
                      <a:pt x="496" y="639"/>
                      <a:pt x="502" y="639"/>
                    </a:cubicBezTo>
                    <a:cubicBezTo>
                      <a:pt x="509" y="639"/>
                      <a:pt x="514" y="634"/>
                      <a:pt x="514" y="627"/>
                    </a:cubicBezTo>
                    <a:cubicBezTo>
                      <a:pt x="514" y="620"/>
                      <a:pt x="509" y="615"/>
                      <a:pt x="502" y="615"/>
                    </a:cubicBezTo>
                    <a:close/>
                    <a:moveTo>
                      <a:pt x="502" y="584"/>
                    </a:moveTo>
                    <a:cubicBezTo>
                      <a:pt x="496" y="584"/>
                      <a:pt x="490" y="590"/>
                      <a:pt x="490" y="596"/>
                    </a:cubicBezTo>
                    <a:cubicBezTo>
                      <a:pt x="490" y="603"/>
                      <a:pt x="496" y="608"/>
                      <a:pt x="502" y="608"/>
                    </a:cubicBezTo>
                    <a:cubicBezTo>
                      <a:pt x="509" y="608"/>
                      <a:pt x="514" y="603"/>
                      <a:pt x="514" y="596"/>
                    </a:cubicBezTo>
                    <a:cubicBezTo>
                      <a:pt x="514" y="590"/>
                      <a:pt x="509" y="584"/>
                      <a:pt x="502" y="584"/>
                    </a:cubicBezTo>
                    <a:close/>
                    <a:moveTo>
                      <a:pt x="502" y="553"/>
                    </a:moveTo>
                    <a:cubicBezTo>
                      <a:pt x="496" y="553"/>
                      <a:pt x="490" y="559"/>
                      <a:pt x="490" y="566"/>
                    </a:cubicBezTo>
                    <a:cubicBezTo>
                      <a:pt x="490" y="572"/>
                      <a:pt x="496" y="578"/>
                      <a:pt x="502" y="578"/>
                    </a:cubicBezTo>
                    <a:cubicBezTo>
                      <a:pt x="509" y="578"/>
                      <a:pt x="514" y="572"/>
                      <a:pt x="514" y="566"/>
                    </a:cubicBezTo>
                    <a:cubicBezTo>
                      <a:pt x="514" y="559"/>
                      <a:pt x="509" y="553"/>
                      <a:pt x="502" y="553"/>
                    </a:cubicBezTo>
                    <a:close/>
                    <a:moveTo>
                      <a:pt x="502" y="1138"/>
                    </a:moveTo>
                    <a:cubicBezTo>
                      <a:pt x="496" y="1138"/>
                      <a:pt x="490" y="1143"/>
                      <a:pt x="490" y="1150"/>
                    </a:cubicBezTo>
                    <a:cubicBezTo>
                      <a:pt x="490" y="1156"/>
                      <a:pt x="496" y="1162"/>
                      <a:pt x="502" y="1162"/>
                    </a:cubicBezTo>
                    <a:cubicBezTo>
                      <a:pt x="509" y="1162"/>
                      <a:pt x="514" y="1156"/>
                      <a:pt x="514" y="1150"/>
                    </a:cubicBezTo>
                    <a:cubicBezTo>
                      <a:pt x="514" y="1143"/>
                      <a:pt x="509" y="1138"/>
                      <a:pt x="502" y="1138"/>
                    </a:cubicBezTo>
                    <a:close/>
                    <a:moveTo>
                      <a:pt x="502" y="1107"/>
                    </a:moveTo>
                    <a:cubicBezTo>
                      <a:pt x="496" y="1107"/>
                      <a:pt x="490" y="1112"/>
                      <a:pt x="490" y="1119"/>
                    </a:cubicBezTo>
                    <a:cubicBezTo>
                      <a:pt x="490" y="1126"/>
                      <a:pt x="496" y="1131"/>
                      <a:pt x="502" y="1131"/>
                    </a:cubicBezTo>
                    <a:cubicBezTo>
                      <a:pt x="509" y="1131"/>
                      <a:pt x="514" y="1126"/>
                      <a:pt x="514" y="1119"/>
                    </a:cubicBezTo>
                    <a:cubicBezTo>
                      <a:pt x="514" y="1112"/>
                      <a:pt x="509" y="1107"/>
                      <a:pt x="502" y="1107"/>
                    </a:cubicBezTo>
                    <a:close/>
                    <a:moveTo>
                      <a:pt x="502" y="1168"/>
                    </a:moveTo>
                    <a:cubicBezTo>
                      <a:pt x="496" y="1168"/>
                      <a:pt x="490" y="1174"/>
                      <a:pt x="490" y="1180"/>
                    </a:cubicBezTo>
                    <a:cubicBezTo>
                      <a:pt x="490" y="1187"/>
                      <a:pt x="496" y="1193"/>
                      <a:pt x="502" y="1193"/>
                    </a:cubicBezTo>
                    <a:cubicBezTo>
                      <a:pt x="509" y="1193"/>
                      <a:pt x="514" y="1187"/>
                      <a:pt x="514" y="1180"/>
                    </a:cubicBezTo>
                    <a:cubicBezTo>
                      <a:pt x="514" y="1174"/>
                      <a:pt x="509" y="1168"/>
                      <a:pt x="502" y="1168"/>
                    </a:cubicBezTo>
                    <a:close/>
                    <a:moveTo>
                      <a:pt x="467" y="123"/>
                    </a:moveTo>
                    <a:cubicBezTo>
                      <a:pt x="461" y="123"/>
                      <a:pt x="455" y="128"/>
                      <a:pt x="455" y="135"/>
                    </a:cubicBezTo>
                    <a:cubicBezTo>
                      <a:pt x="455" y="142"/>
                      <a:pt x="461" y="147"/>
                      <a:pt x="467" y="147"/>
                    </a:cubicBezTo>
                    <a:cubicBezTo>
                      <a:pt x="474" y="147"/>
                      <a:pt x="479" y="142"/>
                      <a:pt x="479" y="135"/>
                    </a:cubicBezTo>
                    <a:cubicBezTo>
                      <a:pt x="479" y="128"/>
                      <a:pt x="474" y="123"/>
                      <a:pt x="467" y="123"/>
                    </a:cubicBezTo>
                    <a:close/>
                    <a:moveTo>
                      <a:pt x="572" y="430"/>
                    </a:moveTo>
                    <a:cubicBezTo>
                      <a:pt x="566" y="430"/>
                      <a:pt x="560" y="436"/>
                      <a:pt x="560" y="443"/>
                    </a:cubicBezTo>
                    <a:cubicBezTo>
                      <a:pt x="560" y="449"/>
                      <a:pt x="566" y="455"/>
                      <a:pt x="572" y="455"/>
                    </a:cubicBezTo>
                    <a:cubicBezTo>
                      <a:pt x="579" y="455"/>
                      <a:pt x="585" y="449"/>
                      <a:pt x="585" y="443"/>
                    </a:cubicBezTo>
                    <a:cubicBezTo>
                      <a:pt x="585" y="436"/>
                      <a:pt x="579" y="430"/>
                      <a:pt x="572" y="430"/>
                    </a:cubicBezTo>
                    <a:close/>
                    <a:moveTo>
                      <a:pt x="783" y="338"/>
                    </a:moveTo>
                    <a:cubicBezTo>
                      <a:pt x="776" y="338"/>
                      <a:pt x="770" y="344"/>
                      <a:pt x="770" y="350"/>
                    </a:cubicBezTo>
                    <a:cubicBezTo>
                      <a:pt x="770" y="357"/>
                      <a:pt x="776" y="363"/>
                      <a:pt x="783" y="363"/>
                    </a:cubicBezTo>
                    <a:cubicBezTo>
                      <a:pt x="789" y="363"/>
                      <a:pt x="795" y="357"/>
                      <a:pt x="795" y="350"/>
                    </a:cubicBezTo>
                    <a:cubicBezTo>
                      <a:pt x="795" y="344"/>
                      <a:pt x="789" y="338"/>
                      <a:pt x="783" y="338"/>
                    </a:cubicBezTo>
                    <a:close/>
                    <a:moveTo>
                      <a:pt x="818" y="492"/>
                    </a:moveTo>
                    <a:cubicBezTo>
                      <a:pt x="811" y="492"/>
                      <a:pt x="805" y="497"/>
                      <a:pt x="805" y="504"/>
                    </a:cubicBezTo>
                    <a:cubicBezTo>
                      <a:pt x="805" y="511"/>
                      <a:pt x="811" y="516"/>
                      <a:pt x="818" y="516"/>
                    </a:cubicBezTo>
                    <a:cubicBezTo>
                      <a:pt x="824" y="516"/>
                      <a:pt x="830" y="511"/>
                      <a:pt x="830" y="504"/>
                    </a:cubicBezTo>
                    <a:cubicBezTo>
                      <a:pt x="830" y="497"/>
                      <a:pt x="824" y="492"/>
                      <a:pt x="818" y="492"/>
                    </a:cubicBezTo>
                    <a:close/>
                    <a:moveTo>
                      <a:pt x="783" y="430"/>
                    </a:moveTo>
                    <a:cubicBezTo>
                      <a:pt x="776" y="430"/>
                      <a:pt x="770" y="436"/>
                      <a:pt x="770" y="443"/>
                    </a:cubicBezTo>
                    <a:cubicBezTo>
                      <a:pt x="770" y="449"/>
                      <a:pt x="776" y="455"/>
                      <a:pt x="783" y="455"/>
                    </a:cubicBezTo>
                    <a:cubicBezTo>
                      <a:pt x="789" y="455"/>
                      <a:pt x="795" y="449"/>
                      <a:pt x="795" y="443"/>
                    </a:cubicBezTo>
                    <a:cubicBezTo>
                      <a:pt x="795" y="436"/>
                      <a:pt x="789" y="430"/>
                      <a:pt x="783" y="430"/>
                    </a:cubicBezTo>
                    <a:close/>
                    <a:moveTo>
                      <a:pt x="818" y="830"/>
                    </a:moveTo>
                    <a:cubicBezTo>
                      <a:pt x="811" y="830"/>
                      <a:pt x="805" y="836"/>
                      <a:pt x="805" y="842"/>
                    </a:cubicBezTo>
                    <a:cubicBezTo>
                      <a:pt x="805" y="849"/>
                      <a:pt x="811" y="854"/>
                      <a:pt x="818" y="854"/>
                    </a:cubicBezTo>
                    <a:cubicBezTo>
                      <a:pt x="824" y="854"/>
                      <a:pt x="830" y="849"/>
                      <a:pt x="830" y="842"/>
                    </a:cubicBezTo>
                    <a:cubicBezTo>
                      <a:pt x="830" y="836"/>
                      <a:pt x="824" y="830"/>
                      <a:pt x="818" y="830"/>
                    </a:cubicBezTo>
                    <a:close/>
                    <a:moveTo>
                      <a:pt x="818" y="799"/>
                    </a:moveTo>
                    <a:cubicBezTo>
                      <a:pt x="811" y="799"/>
                      <a:pt x="805" y="805"/>
                      <a:pt x="805" y="812"/>
                    </a:cubicBezTo>
                    <a:cubicBezTo>
                      <a:pt x="805" y="818"/>
                      <a:pt x="811" y="824"/>
                      <a:pt x="818" y="824"/>
                    </a:cubicBezTo>
                    <a:cubicBezTo>
                      <a:pt x="824" y="824"/>
                      <a:pt x="830" y="818"/>
                      <a:pt x="830" y="812"/>
                    </a:cubicBezTo>
                    <a:cubicBezTo>
                      <a:pt x="830" y="805"/>
                      <a:pt x="824" y="799"/>
                      <a:pt x="818" y="799"/>
                    </a:cubicBezTo>
                    <a:close/>
                    <a:moveTo>
                      <a:pt x="783" y="553"/>
                    </a:moveTo>
                    <a:cubicBezTo>
                      <a:pt x="776" y="553"/>
                      <a:pt x="770" y="559"/>
                      <a:pt x="770" y="566"/>
                    </a:cubicBezTo>
                    <a:cubicBezTo>
                      <a:pt x="770" y="572"/>
                      <a:pt x="776" y="578"/>
                      <a:pt x="783" y="578"/>
                    </a:cubicBezTo>
                    <a:cubicBezTo>
                      <a:pt x="789" y="578"/>
                      <a:pt x="795" y="572"/>
                      <a:pt x="795" y="566"/>
                    </a:cubicBezTo>
                    <a:cubicBezTo>
                      <a:pt x="795" y="559"/>
                      <a:pt x="789" y="553"/>
                      <a:pt x="783" y="553"/>
                    </a:cubicBezTo>
                    <a:close/>
                    <a:moveTo>
                      <a:pt x="783" y="584"/>
                    </a:moveTo>
                    <a:cubicBezTo>
                      <a:pt x="776" y="584"/>
                      <a:pt x="770" y="590"/>
                      <a:pt x="770" y="596"/>
                    </a:cubicBezTo>
                    <a:cubicBezTo>
                      <a:pt x="770" y="603"/>
                      <a:pt x="776" y="608"/>
                      <a:pt x="783" y="608"/>
                    </a:cubicBezTo>
                    <a:cubicBezTo>
                      <a:pt x="789" y="608"/>
                      <a:pt x="795" y="603"/>
                      <a:pt x="795" y="596"/>
                    </a:cubicBezTo>
                    <a:cubicBezTo>
                      <a:pt x="795" y="590"/>
                      <a:pt x="789" y="584"/>
                      <a:pt x="783" y="584"/>
                    </a:cubicBezTo>
                    <a:close/>
                    <a:moveTo>
                      <a:pt x="783" y="492"/>
                    </a:moveTo>
                    <a:cubicBezTo>
                      <a:pt x="776" y="492"/>
                      <a:pt x="770" y="497"/>
                      <a:pt x="770" y="504"/>
                    </a:cubicBezTo>
                    <a:cubicBezTo>
                      <a:pt x="770" y="511"/>
                      <a:pt x="776" y="516"/>
                      <a:pt x="783" y="516"/>
                    </a:cubicBezTo>
                    <a:cubicBezTo>
                      <a:pt x="789" y="516"/>
                      <a:pt x="795" y="511"/>
                      <a:pt x="795" y="504"/>
                    </a:cubicBezTo>
                    <a:cubicBezTo>
                      <a:pt x="795" y="497"/>
                      <a:pt x="789" y="492"/>
                      <a:pt x="783" y="492"/>
                    </a:cubicBezTo>
                    <a:close/>
                    <a:moveTo>
                      <a:pt x="783" y="461"/>
                    </a:moveTo>
                    <a:cubicBezTo>
                      <a:pt x="776" y="461"/>
                      <a:pt x="770" y="467"/>
                      <a:pt x="770" y="473"/>
                    </a:cubicBezTo>
                    <a:cubicBezTo>
                      <a:pt x="770" y="480"/>
                      <a:pt x="776" y="486"/>
                      <a:pt x="783" y="486"/>
                    </a:cubicBezTo>
                    <a:cubicBezTo>
                      <a:pt x="789" y="486"/>
                      <a:pt x="795" y="480"/>
                      <a:pt x="795" y="473"/>
                    </a:cubicBezTo>
                    <a:cubicBezTo>
                      <a:pt x="795" y="467"/>
                      <a:pt x="789" y="461"/>
                      <a:pt x="783" y="461"/>
                    </a:cubicBezTo>
                    <a:close/>
                    <a:moveTo>
                      <a:pt x="783" y="523"/>
                    </a:moveTo>
                    <a:cubicBezTo>
                      <a:pt x="776" y="523"/>
                      <a:pt x="770" y="528"/>
                      <a:pt x="770" y="535"/>
                    </a:cubicBezTo>
                    <a:cubicBezTo>
                      <a:pt x="770" y="542"/>
                      <a:pt x="776" y="547"/>
                      <a:pt x="783" y="547"/>
                    </a:cubicBezTo>
                    <a:cubicBezTo>
                      <a:pt x="789" y="547"/>
                      <a:pt x="795" y="542"/>
                      <a:pt x="795" y="535"/>
                    </a:cubicBezTo>
                    <a:cubicBezTo>
                      <a:pt x="795" y="528"/>
                      <a:pt x="789" y="523"/>
                      <a:pt x="783" y="523"/>
                    </a:cubicBezTo>
                    <a:close/>
                    <a:moveTo>
                      <a:pt x="818" y="584"/>
                    </a:moveTo>
                    <a:cubicBezTo>
                      <a:pt x="811" y="584"/>
                      <a:pt x="805" y="590"/>
                      <a:pt x="805" y="596"/>
                    </a:cubicBezTo>
                    <a:cubicBezTo>
                      <a:pt x="805" y="603"/>
                      <a:pt x="811" y="608"/>
                      <a:pt x="818" y="608"/>
                    </a:cubicBezTo>
                    <a:cubicBezTo>
                      <a:pt x="824" y="608"/>
                      <a:pt x="830" y="603"/>
                      <a:pt x="830" y="596"/>
                    </a:cubicBezTo>
                    <a:cubicBezTo>
                      <a:pt x="830" y="590"/>
                      <a:pt x="824" y="584"/>
                      <a:pt x="818" y="584"/>
                    </a:cubicBezTo>
                    <a:close/>
                    <a:moveTo>
                      <a:pt x="818" y="615"/>
                    </a:moveTo>
                    <a:cubicBezTo>
                      <a:pt x="811" y="615"/>
                      <a:pt x="805" y="620"/>
                      <a:pt x="805" y="627"/>
                    </a:cubicBezTo>
                    <a:cubicBezTo>
                      <a:pt x="805" y="634"/>
                      <a:pt x="811" y="639"/>
                      <a:pt x="818" y="639"/>
                    </a:cubicBezTo>
                    <a:cubicBezTo>
                      <a:pt x="824" y="639"/>
                      <a:pt x="830" y="634"/>
                      <a:pt x="830" y="627"/>
                    </a:cubicBezTo>
                    <a:cubicBezTo>
                      <a:pt x="830" y="620"/>
                      <a:pt x="824" y="615"/>
                      <a:pt x="818" y="615"/>
                    </a:cubicBezTo>
                    <a:close/>
                    <a:moveTo>
                      <a:pt x="818" y="553"/>
                    </a:moveTo>
                    <a:cubicBezTo>
                      <a:pt x="811" y="553"/>
                      <a:pt x="805" y="559"/>
                      <a:pt x="805" y="566"/>
                    </a:cubicBezTo>
                    <a:cubicBezTo>
                      <a:pt x="805" y="572"/>
                      <a:pt x="811" y="578"/>
                      <a:pt x="818" y="578"/>
                    </a:cubicBezTo>
                    <a:cubicBezTo>
                      <a:pt x="824" y="578"/>
                      <a:pt x="830" y="572"/>
                      <a:pt x="830" y="566"/>
                    </a:cubicBezTo>
                    <a:cubicBezTo>
                      <a:pt x="830" y="559"/>
                      <a:pt x="824" y="553"/>
                      <a:pt x="818" y="553"/>
                    </a:cubicBezTo>
                    <a:close/>
                    <a:moveTo>
                      <a:pt x="818" y="523"/>
                    </a:moveTo>
                    <a:cubicBezTo>
                      <a:pt x="811" y="523"/>
                      <a:pt x="805" y="528"/>
                      <a:pt x="805" y="535"/>
                    </a:cubicBezTo>
                    <a:cubicBezTo>
                      <a:pt x="805" y="542"/>
                      <a:pt x="811" y="547"/>
                      <a:pt x="818" y="547"/>
                    </a:cubicBezTo>
                    <a:cubicBezTo>
                      <a:pt x="824" y="547"/>
                      <a:pt x="830" y="542"/>
                      <a:pt x="830" y="535"/>
                    </a:cubicBezTo>
                    <a:cubicBezTo>
                      <a:pt x="830" y="528"/>
                      <a:pt x="824" y="523"/>
                      <a:pt x="818" y="523"/>
                    </a:cubicBezTo>
                    <a:close/>
                    <a:moveTo>
                      <a:pt x="818" y="738"/>
                    </a:moveTo>
                    <a:cubicBezTo>
                      <a:pt x="811" y="738"/>
                      <a:pt x="805" y="743"/>
                      <a:pt x="805" y="750"/>
                    </a:cubicBezTo>
                    <a:cubicBezTo>
                      <a:pt x="805" y="757"/>
                      <a:pt x="811" y="762"/>
                      <a:pt x="818" y="762"/>
                    </a:cubicBezTo>
                    <a:cubicBezTo>
                      <a:pt x="824" y="762"/>
                      <a:pt x="830" y="757"/>
                      <a:pt x="830" y="750"/>
                    </a:cubicBezTo>
                    <a:cubicBezTo>
                      <a:pt x="830" y="743"/>
                      <a:pt x="824" y="738"/>
                      <a:pt x="818" y="738"/>
                    </a:cubicBezTo>
                    <a:close/>
                    <a:moveTo>
                      <a:pt x="818" y="646"/>
                    </a:moveTo>
                    <a:cubicBezTo>
                      <a:pt x="811" y="646"/>
                      <a:pt x="805" y="651"/>
                      <a:pt x="805" y="658"/>
                    </a:cubicBezTo>
                    <a:cubicBezTo>
                      <a:pt x="805" y="665"/>
                      <a:pt x="811" y="670"/>
                      <a:pt x="818" y="670"/>
                    </a:cubicBezTo>
                    <a:cubicBezTo>
                      <a:pt x="824" y="670"/>
                      <a:pt x="830" y="665"/>
                      <a:pt x="830" y="658"/>
                    </a:cubicBezTo>
                    <a:cubicBezTo>
                      <a:pt x="830" y="651"/>
                      <a:pt x="824" y="646"/>
                      <a:pt x="818" y="646"/>
                    </a:cubicBezTo>
                    <a:close/>
                    <a:moveTo>
                      <a:pt x="818" y="769"/>
                    </a:moveTo>
                    <a:cubicBezTo>
                      <a:pt x="811" y="769"/>
                      <a:pt x="805" y="774"/>
                      <a:pt x="805" y="781"/>
                    </a:cubicBezTo>
                    <a:cubicBezTo>
                      <a:pt x="805" y="787"/>
                      <a:pt x="811" y="793"/>
                      <a:pt x="818" y="793"/>
                    </a:cubicBezTo>
                    <a:cubicBezTo>
                      <a:pt x="824" y="793"/>
                      <a:pt x="830" y="787"/>
                      <a:pt x="830" y="781"/>
                    </a:cubicBezTo>
                    <a:cubicBezTo>
                      <a:pt x="830" y="774"/>
                      <a:pt x="824" y="769"/>
                      <a:pt x="818" y="769"/>
                    </a:cubicBezTo>
                    <a:close/>
                    <a:moveTo>
                      <a:pt x="818" y="707"/>
                    </a:moveTo>
                    <a:cubicBezTo>
                      <a:pt x="811" y="707"/>
                      <a:pt x="805" y="713"/>
                      <a:pt x="805" y="719"/>
                    </a:cubicBezTo>
                    <a:cubicBezTo>
                      <a:pt x="805" y="726"/>
                      <a:pt x="811" y="731"/>
                      <a:pt x="818" y="731"/>
                    </a:cubicBezTo>
                    <a:cubicBezTo>
                      <a:pt x="824" y="731"/>
                      <a:pt x="830" y="726"/>
                      <a:pt x="830" y="719"/>
                    </a:cubicBezTo>
                    <a:cubicBezTo>
                      <a:pt x="830" y="713"/>
                      <a:pt x="824" y="707"/>
                      <a:pt x="818" y="707"/>
                    </a:cubicBezTo>
                    <a:close/>
                    <a:moveTo>
                      <a:pt x="818" y="676"/>
                    </a:moveTo>
                    <a:cubicBezTo>
                      <a:pt x="811" y="676"/>
                      <a:pt x="805" y="682"/>
                      <a:pt x="805" y="689"/>
                    </a:cubicBezTo>
                    <a:cubicBezTo>
                      <a:pt x="805" y="695"/>
                      <a:pt x="811" y="701"/>
                      <a:pt x="818" y="701"/>
                    </a:cubicBezTo>
                    <a:cubicBezTo>
                      <a:pt x="824" y="701"/>
                      <a:pt x="830" y="695"/>
                      <a:pt x="830" y="689"/>
                    </a:cubicBezTo>
                    <a:cubicBezTo>
                      <a:pt x="830" y="682"/>
                      <a:pt x="824" y="676"/>
                      <a:pt x="818" y="676"/>
                    </a:cubicBezTo>
                    <a:close/>
                    <a:moveTo>
                      <a:pt x="783" y="369"/>
                    </a:moveTo>
                    <a:cubicBezTo>
                      <a:pt x="776" y="369"/>
                      <a:pt x="770" y="374"/>
                      <a:pt x="770" y="381"/>
                    </a:cubicBezTo>
                    <a:cubicBezTo>
                      <a:pt x="770" y="388"/>
                      <a:pt x="776" y="393"/>
                      <a:pt x="783" y="393"/>
                    </a:cubicBezTo>
                    <a:cubicBezTo>
                      <a:pt x="789" y="393"/>
                      <a:pt x="795" y="388"/>
                      <a:pt x="795" y="381"/>
                    </a:cubicBezTo>
                    <a:cubicBezTo>
                      <a:pt x="795" y="374"/>
                      <a:pt x="789" y="369"/>
                      <a:pt x="783" y="369"/>
                    </a:cubicBezTo>
                    <a:close/>
                    <a:moveTo>
                      <a:pt x="748" y="461"/>
                    </a:moveTo>
                    <a:cubicBezTo>
                      <a:pt x="741" y="461"/>
                      <a:pt x="735" y="467"/>
                      <a:pt x="735" y="473"/>
                    </a:cubicBezTo>
                    <a:cubicBezTo>
                      <a:pt x="735" y="480"/>
                      <a:pt x="741" y="486"/>
                      <a:pt x="748" y="486"/>
                    </a:cubicBezTo>
                    <a:cubicBezTo>
                      <a:pt x="754" y="486"/>
                      <a:pt x="760" y="480"/>
                      <a:pt x="760" y="473"/>
                    </a:cubicBezTo>
                    <a:cubicBezTo>
                      <a:pt x="760" y="467"/>
                      <a:pt x="754" y="461"/>
                      <a:pt x="748" y="461"/>
                    </a:cubicBezTo>
                    <a:close/>
                    <a:moveTo>
                      <a:pt x="748" y="430"/>
                    </a:moveTo>
                    <a:cubicBezTo>
                      <a:pt x="741" y="430"/>
                      <a:pt x="735" y="436"/>
                      <a:pt x="735" y="443"/>
                    </a:cubicBezTo>
                    <a:cubicBezTo>
                      <a:pt x="735" y="449"/>
                      <a:pt x="741" y="455"/>
                      <a:pt x="748" y="455"/>
                    </a:cubicBezTo>
                    <a:cubicBezTo>
                      <a:pt x="754" y="455"/>
                      <a:pt x="760" y="449"/>
                      <a:pt x="760" y="443"/>
                    </a:cubicBezTo>
                    <a:cubicBezTo>
                      <a:pt x="760" y="436"/>
                      <a:pt x="754" y="430"/>
                      <a:pt x="748" y="430"/>
                    </a:cubicBezTo>
                    <a:close/>
                    <a:moveTo>
                      <a:pt x="748" y="492"/>
                    </a:moveTo>
                    <a:cubicBezTo>
                      <a:pt x="741" y="492"/>
                      <a:pt x="735" y="497"/>
                      <a:pt x="735" y="504"/>
                    </a:cubicBezTo>
                    <a:cubicBezTo>
                      <a:pt x="735" y="511"/>
                      <a:pt x="741" y="516"/>
                      <a:pt x="748" y="516"/>
                    </a:cubicBezTo>
                    <a:cubicBezTo>
                      <a:pt x="754" y="516"/>
                      <a:pt x="760" y="511"/>
                      <a:pt x="760" y="504"/>
                    </a:cubicBezTo>
                    <a:cubicBezTo>
                      <a:pt x="760" y="497"/>
                      <a:pt x="754" y="492"/>
                      <a:pt x="748" y="492"/>
                    </a:cubicBezTo>
                    <a:close/>
                    <a:moveTo>
                      <a:pt x="748" y="400"/>
                    </a:moveTo>
                    <a:cubicBezTo>
                      <a:pt x="741" y="400"/>
                      <a:pt x="735" y="405"/>
                      <a:pt x="735" y="412"/>
                    </a:cubicBezTo>
                    <a:cubicBezTo>
                      <a:pt x="735" y="419"/>
                      <a:pt x="741" y="424"/>
                      <a:pt x="748" y="424"/>
                    </a:cubicBezTo>
                    <a:cubicBezTo>
                      <a:pt x="754" y="424"/>
                      <a:pt x="760" y="419"/>
                      <a:pt x="760" y="412"/>
                    </a:cubicBezTo>
                    <a:cubicBezTo>
                      <a:pt x="760" y="405"/>
                      <a:pt x="754" y="400"/>
                      <a:pt x="748" y="400"/>
                    </a:cubicBezTo>
                    <a:close/>
                    <a:moveTo>
                      <a:pt x="748" y="523"/>
                    </a:moveTo>
                    <a:cubicBezTo>
                      <a:pt x="741" y="523"/>
                      <a:pt x="735" y="528"/>
                      <a:pt x="735" y="535"/>
                    </a:cubicBezTo>
                    <a:cubicBezTo>
                      <a:pt x="735" y="542"/>
                      <a:pt x="741" y="547"/>
                      <a:pt x="748" y="547"/>
                    </a:cubicBezTo>
                    <a:cubicBezTo>
                      <a:pt x="754" y="547"/>
                      <a:pt x="760" y="542"/>
                      <a:pt x="760" y="535"/>
                    </a:cubicBezTo>
                    <a:cubicBezTo>
                      <a:pt x="760" y="528"/>
                      <a:pt x="754" y="523"/>
                      <a:pt x="748" y="523"/>
                    </a:cubicBezTo>
                    <a:close/>
                    <a:moveTo>
                      <a:pt x="748" y="615"/>
                    </a:moveTo>
                    <a:cubicBezTo>
                      <a:pt x="741" y="615"/>
                      <a:pt x="735" y="620"/>
                      <a:pt x="735" y="627"/>
                    </a:cubicBezTo>
                    <a:cubicBezTo>
                      <a:pt x="735" y="634"/>
                      <a:pt x="741" y="639"/>
                      <a:pt x="748" y="639"/>
                    </a:cubicBezTo>
                    <a:cubicBezTo>
                      <a:pt x="754" y="639"/>
                      <a:pt x="760" y="634"/>
                      <a:pt x="760" y="627"/>
                    </a:cubicBezTo>
                    <a:cubicBezTo>
                      <a:pt x="760" y="620"/>
                      <a:pt x="754" y="615"/>
                      <a:pt x="748" y="615"/>
                    </a:cubicBezTo>
                    <a:close/>
                    <a:moveTo>
                      <a:pt x="748" y="369"/>
                    </a:moveTo>
                    <a:cubicBezTo>
                      <a:pt x="741" y="369"/>
                      <a:pt x="735" y="374"/>
                      <a:pt x="735" y="381"/>
                    </a:cubicBezTo>
                    <a:cubicBezTo>
                      <a:pt x="735" y="388"/>
                      <a:pt x="741" y="393"/>
                      <a:pt x="748" y="393"/>
                    </a:cubicBezTo>
                    <a:cubicBezTo>
                      <a:pt x="754" y="393"/>
                      <a:pt x="760" y="388"/>
                      <a:pt x="760" y="381"/>
                    </a:cubicBezTo>
                    <a:cubicBezTo>
                      <a:pt x="760" y="374"/>
                      <a:pt x="754" y="369"/>
                      <a:pt x="748" y="369"/>
                    </a:cubicBezTo>
                    <a:close/>
                    <a:moveTo>
                      <a:pt x="748" y="584"/>
                    </a:moveTo>
                    <a:cubicBezTo>
                      <a:pt x="741" y="584"/>
                      <a:pt x="735" y="590"/>
                      <a:pt x="735" y="596"/>
                    </a:cubicBezTo>
                    <a:cubicBezTo>
                      <a:pt x="735" y="603"/>
                      <a:pt x="741" y="608"/>
                      <a:pt x="748" y="608"/>
                    </a:cubicBezTo>
                    <a:cubicBezTo>
                      <a:pt x="754" y="608"/>
                      <a:pt x="760" y="603"/>
                      <a:pt x="760" y="596"/>
                    </a:cubicBezTo>
                    <a:cubicBezTo>
                      <a:pt x="760" y="590"/>
                      <a:pt x="754" y="584"/>
                      <a:pt x="748" y="584"/>
                    </a:cubicBezTo>
                    <a:close/>
                    <a:moveTo>
                      <a:pt x="748" y="553"/>
                    </a:moveTo>
                    <a:cubicBezTo>
                      <a:pt x="741" y="553"/>
                      <a:pt x="735" y="559"/>
                      <a:pt x="735" y="566"/>
                    </a:cubicBezTo>
                    <a:cubicBezTo>
                      <a:pt x="735" y="572"/>
                      <a:pt x="741" y="578"/>
                      <a:pt x="748" y="578"/>
                    </a:cubicBezTo>
                    <a:cubicBezTo>
                      <a:pt x="754" y="578"/>
                      <a:pt x="760" y="572"/>
                      <a:pt x="760" y="566"/>
                    </a:cubicBezTo>
                    <a:cubicBezTo>
                      <a:pt x="760" y="559"/>
                      <a:pt x="754" y="553"/>
                      <a:pt x="748" y="553"/>
                    </a:cubicBezTo>
                    <a:close/>
                    <a:moveTo>
                      <a:pt x="783" y="799"/>
                    </a:moveTo>
                    <a:cubicBezTo>
                      <a:pt x="776" y="799"/>
                      <a:pt x="770" y="805"/>
                      <a:pt x="770" y="812"/>
                    </a:cubicBezTo>
                    <a:cubicBezTo>
                      <a:pt x="770" y="818"/>
                      <a:pt x="776" y="824"/>
                      <a:pt x="783" y="824"/>
                    </a:cubicBezTo>
                    <a:cubicBezTo>
                      <a:pt x="789" y="824"/>
                      <a:pt x="795" y="818"/>
                      <a:pt x="795" y="812"/>
                    </a:cubicBezTo>
                    <a:cubicBezTo>
                      <a:pt x="795" y="805"/>
                      <a:pt x="789" y="799"/>
                      <a:pt x="783" y="799"/>
                    </a:cubicBezTo>
                    <a:close/>
                    <a:moveTo>
                      <a:pt x="783" y="738"/>
                    </a:moveTo>
                    <a:cubicBezTo>
                      <a:pt x="776" y="738"/>
                      <a:pt x="770" y="743"/>
                      <a:pt x="770" y="750"/>
                    </a:cubicBezTo>
                    <a:cubicBezTo>
                      <a:pt x="770" y="757"/>
                      <a:pt x="776" y="762"/>
                      <a:pt x="783" y="762"/>
                    </a:cubicBezTo>
                    <a:cubicBezTo>
                      <a:pt x="789" y="762"/>
                      <a:pt x="795" y="757"/>
                      <a:pt x="795" y="750"/>
                    </a:cubicBezTo>
                    <a:cubicBezTo>
                      <a:pt x="795" y="743"/>
                      <a:pt x="789" y="738"/>
                      <a:pt x="783" y="738"/>
                    </a:cubicBezTo>
                    <a:close/>
                    <a:moveTo>
                      <a:pt x="783" y="676"/>
                    </a:moveTo>
                    <a:cubicBezTo>
                      <a:pt x="776" y="676"/>
                      <a:pt x="770" y="682"/>
                      <a:pt x="770" y="689"/>
                    </a:cubicBezTo>
                    <a:cubicBezTo>
                      <a:pt x="770" y="695"/>
                      <a:pt x="776" y="701"/>
                      <a:pt x="783" y="701"/>
                    </a:cubicBezTo>
                    <a:cubicBezTo>
                      <a:pt x="789" y="701"/>
                      <a:pt x="795" y="695"/>
                      <a:pt x="795" y="689"/>
                    </a:cubicBezTo>
                    <a:cubicBezTo>
                      <a:pt x="795" y="682"/>
                      <a:pt x="789" y="676"/>
                      <a:pt x="783" y="676"/>
                    </a:cubicBezTo>
                    <a:close/>
                    <a:moveTo>
                      <a:pt x="783" y="707"/>
                    </a:moveTo>
                    <a:cubicBezTo>
                      <a:pt x="776" y="707"/>
                      <a:pt x="770" y="713"/>
                      <a:pt x="770" y="719"/>
                    </a:cubicBezTo>
                    <a:cubicBezTo>
                      <a:pt x="770" y="726"/>
                      <a:pt x="776" y="731"/>
                      <a:pt x="783" y="731"/>
                    </a:cubicBezTo>
                    <a:cubicBezTo>
                      <a:pt x="789" y="731"/>
                      <a:pt x="795" y="726"/>
                      <a:pt x="795" y="719"/>
                    </a:cubicBezTo>
                    <a:cubicBezTo>
                      <a:pt x="795" y="713"/>
                      <a:pt x="789" y="707"/>
                      <a:pt x="783" y="707"/>
                    </a:cubicBezTo>
                    <a:close/>
                    <a:moveTo>
                      <a:pt x="783" y="646"/>
                    </a:moveTo>
                    <a:cubicBezTo>
                      <a:pt x="776" y="646"/>
                      <a:pt x="770" y="651"/>
                      <a:pt x="770" y="658"/>
                    </a:cubicBezTo>
                    <a:cubicBezTo>
                      <a:pt x="770" y="665"/>
                      <a:pt x="776" y="670"/>
                      <a:pt x="783" y="670"/>
                    </a:cubicBezTo>
                    <a:cubicBezTo>
                      <a:pt x="789" y="670"/>
                      <a:pt x="795" y="665"/>
                      <a:pt x="795" y="658"/>
                    </a:cubicBezTo>
                    <a:cubicBezTo>
                      <a:pt x="795" y="651"/>
                      <a:pt x="789" y="646"/>
                      <a:pt x="783" y="646"/>
                    </a:cubicBezTo>
                    <a:close/>
                    <a:moveTo>
                      <a:pt x="783" y="861"/>
                    </a:moveTo>
                    <a:cubicBezTo>
                      <a:pt x="776" y="861"/>
                      <a:pt x="770" y="866"/>
                      <a:pt x="770" y="873"/>
                    </a:cubicBezTo>
                    <a:cubicBezTo>
                      <a:pt x="770" y="880"/>
                      <a:pt x="776" y="885"/>
                      <a:pt x="783" y="885"/>
                    </a:cubicBezTo>
                    <a:cubicBezTo>
                      <a:pt x="789" y="885"/>
                      <a:pt x="795" y="880"/>
                      <a:pt x="795" y="873"/>
                    </a:cubicBezTo>
                    <a:cubicBezTo>
                      <a:pt x="795" y="866"/>
                      <a:pt x="789" y="861"/>
                      <a:pt x="783" y="861"/>
                    </a:cubicBezTo>
                    <a:close/>
                    <a:moveTo>
                      <a:pt x="748" y="338"/>
                    </a:moveTo>
                    <a:cubicBezTo>
                      <a:pt x="741" y="338"/>
                      <a:pt x="735" y="344"/>
                      <a:pt x="735" y="350"/>
                    </a:cubicBezTo>
                    <a:cubicBezTo>
                      <a:pt x="735" y="357"/>
                      <a:pt x="741" y="363"/>
                      <a:pt x="748" y="363"/>
                    </a:cubicBezTo>
                    <a:cubicBezTo>
                      <a:pt x="754" y="363"/>
                      <a:pt x="760" y="357"/>
                      <a:pt x="760" y="350"/>
                    </a:cubicBezTo>
                    <a:cubicBezTo>
                      <a:pt x="760" y="344"/>
                      <a:pt x="754" y="338"/>
                      <a:pt x="748" y="338"/>
                    </a:cubicBezTo>
                    <a:close/>
                    <a:moveTo>
                      <a:pt x="783" y="830"/>
                    </a:moveTo>
                    <a:cubicBezTo>
                      <a:pt x="776" y="830"/>
                      <a:pt x="770" y="836"/>
                      <a:pt x="770" y="842"/>
                    </a:cubicBezTo>
                    <a:cubicBezTo>
                      <a:pt x="770" y="849"/>
                      <a:pt x="776" y="854"/>
                      <a:pt x="783" y="854"/>
                    </a:cubicBezTo>
                    <a:cubicBezTo>
                      <a:pt x="789" y="854"/>
                      <a:pt x="795" y="849"/>
                      <a:pt x="795" y="842"/>
                    </a:cubicBezTo>
                    <a:cubicBezTo>
                      <a:pt x="795" y="836"/>
                      <a:pt x="789" y="830"/>
                      <a:pt x="783" y="830"/>
                    </a:cubicBezTo>
                    <a:close/>
                    <a:moveTo>
                      <a:pt x="783" y="769"/>
                    </a:moveTo>
                    <a:cubicBezTo>
                      <a:pt x="776" y="769"/>
                      <a:pt x="770" y="774"/>
                      <a:pt x="770" y="781"/>
                    </a:cubicBezTo>
                    <a:cubicBezTo>
                      <a:pt x="770" y="787"/>
                      <a:pt x="776" y="793"/>
                      <a:pt x="783" y="793"/>
                    </a:cubicBezTo>
                    <a:cubicBezTo>
                      <a:pt x="789" y="793"/>
                      <a:pt x="795" y="787"/>
                      <a:pt x="795" y="781"/>
                    </a:cubicBezTo>
                    <a:cubicBezTo>
                      <a:pt x="795" y="774"/>
                      <a:pt x="789" y="769"/>
                      <a:pt x="783" y="769"/>
                    </a:cubicBezTo>
                    <a:close/>
                    <a:moveTo>
                      <a:pt x="783" y="615"/>
                    </a:moveTo>
                    <a:cubicBezTo>
                      <a:pt x="776" y="615"/>
                      <a:pt x="770" y="620"/>
                      <a:pt x="770" y="627"/>
                    </a:cubicBezTo>
                    <a:cubicBezTo>
                      <a:pt x="770" y="634"/>
                      <a:pt x="776" y="639"/>
                      <a:pt x="783" y="639"/>
                    </a:cubicBezTo>
                    <a:cubicBezTo>
                      <a:pt x="789" y="639"/>
                      <a:pt x="795" y="634"/>
                      <a:pt x="795" y="627"/>
                    </a:cubicBezTo>
                    <a:cubicBezTo>
                      <a:pt x="795" y="620"/>
                      <a:pt x="789" y="615"/>
                      <a:pt x="783" y="615"/>
                    </a:cubicBezTo>
                    <a:close/>
                    <a:moveTo>
                      <a:pt x="923" y="492"/>
                    </a:moveTo>
                    <a:cubicBezTo>
                      <a:pt x="916" y="492"/>
                      <a:pt x="911" y="497"/>
                      <a:pt x="911" y="504"/>
                    </a:cubicBezTo>
                    <a:cubicBezTo>
                      <a:pt x="911" y="511"/>
                      <a:pt x="916" y="516"/>
                      <a:pt x="923" y="516"/>
                    </a:cubicBezTo>
                    <a:cubicBezTo>
                      <a:pt x="930" y="516"/>
                      <a:pt x="935" y="511"/>
                      <a:pt x="935" y="504"/>
                    </a:cubicBezTo>
                    <a:cubicBezTo>
                      <a:pt x="935" y="497"/>
                      <a:pt x="930" y="492"/>
                      <a:pt x="923" y="492"/>
                    </a:cubicBezTo>
                    <a:close/>
                    <a:moveTo>
                      <a:pt x="923" y="615"/>
                    </a:moveTo>
                    <a:cubicBezTo>
                      <a:pt x="916" y="615"/>
                      <a:pt x="911" y="620"/>
                      <a:pt x="911" y="627"/>
                    </a:cubicBezTo>
                    <a:cubicBezTo>
                      <a:pt x="911" y="634"/>
                      <a:pt x="916" y="639"/>
                      <a:pt x="923" y="639"/>
                    </a:cubicBezTo>
                    <a:cubicBezTo>
                      <a:pt x="930" y="639"/>
                      <a:pt x="935" y="634"/>
                      <a:pt x="935" y="627"/>
                    </a:cubicBezTo>
                    <a:cubicBezTo>
                      <a:pt x="935" y="620"/>
                      <a:pt x="930" y="615"/>
                      <a:pt x="923" y="615"/>
                    </a:cubicBezTo>
                    <a:close/>
                    <a:moveTo>
                      <a:pt x="923" y="676"/>
                    </a:moveTo>
                    <a:cubicBezTo>
                      <a:pt x="916" y="676"/>
                      <a:pt x="911" y="682"/>
                      <a:pt x="911" y="689"/>
                    </a:cubicBezTo>
                    <a:cubicBezTo>
                      <a:pt x="911" y="695"/>
                      <a:pt x="916" y="701"/>
                      <a:pt x="923" y="701"/>
                    </a:cubicBezTo>
                    <a:cubicBezTo>
                      <a:pt x="930" y="701"/>
                      <a:pt x="935" y="695"/>
                      <a:pt x="935" y="689"/>
                    </a:cubicBezTo>
                    <a:cubicBezTo>
                      <a:pt x="935" y="682"/>
                      <a:pt x="930" y="676"/>
                      <a:pt x="923" y="676"/>
                    </a:cubicBezTo>
                    <a:close/>
                    <a:moveTo>
                      <a:pt x="923" y="646"/>
                    </a:moveTo>
                    <a:cubicBezTo>
                      <a:pt x="916" y="646"/>
                      <a:pt x="911" y="651"/>
                      <a:pt x="911" y="658"/>
                    </a:cubicBezTo>
                    <a:cubicBezTo>
                      <a:pt x="911" y="665"/>
                      <a:pt x="916" y="670"/>
                      <a:pt x="923" y="670"/>
                    </a:cubicBezTo>
                    <a:cubicBezTo>
                      <a:pt x="930" y="670"/>
                      <a:pt x="935" y="665"/>
                      <a:pt x="935" y="658"/>
                    </a:cubicBezTo>
                    <a:cubicBezTo>
                      <a:pt x="935" y="651"/>
                      <a:pt x="930" y="646"/>
                      <a:pt x="923" y="646"/>
                    </a:cubicBezTo>
                    <a:close/>
                    <a:moveTo>
                      <a:pt x="923" y="584"/>
                    </a:moveTo>
                    <a:cubicBezTo>
                      <a:pt x="916" y="584"/>
                      <a:pt x="911" y="590"/>
                      <a:pt x="911" y="596"/>
                    </a:cubicBezTo>
                    <a:cubicBezTo>
                      <a:pt x="911" y="603"/>
                      <a:pt x="916" y="608"/>
                      <a:pt x="923" y="608"/>
                    </a:cubicBezTo>
                    <a:cubicBezTo>
                      <a:pt x="930" y="608"/>
                      <a:pt x="935" y="603"/>
                      <a:pt x="935" y="596"/>
                    </a:cubicBezTo>
                    <a:cubicBezTo>
                      <a:pt x="935" y="590"/>
                      <a:pt x="930" y="584"/>
                      <a:pt x="923" y="584"/>
                    </a:cubicBezTo>
                    <a:close/>
                    <a:moveTo>
                      <a:pt x="888" y="492"/>
                    </a:moveTo>
                    <a:cubicBezTo>
                      <a:pt x="881" y="492"/>
                      <a:pt x="876" y="497"/>
                      <a:pt x="876" y="504"/>
                    </a:cubicBezTo>
                    <a:cubicBezTo>
                      <a:pt x="876" y="511"/>
                      <a:pt x="881" y="516"/>
                      <a:pt x="888" y="516"/>
                    </a:cubicBezTo>
                    <a:cubicBezTo>
                      <a:pt x="894" y="516"/>
                      <a:pt x="900" y="511"/>
                      <a:pt x="900" y="504"/>
                    </a:cubicBezTo>
                    <a:cubicBezTo>
                      <a:pt x="900" y="497"/>
                      <a:pt x="894" y="492"/>
                      <a:pt x="888" y="492"/>
                    </a:cubicBezTo>
                    <a:close/>
                    <a:moveTo>
                      <a:pt x="923" y="553"/>
                    </a:moveTo>
                    <a:cubicBezTo>
                      <a:pt x="916" y="553"/>
                      <a:pt x="911" y="559"/>
                      <a:pt x="911" y="566"/>
                    </a:cubicBezTo>
                    <a:cubicBezTo>
                      <a:pt x="911" y="572"/>
                      <a:pt x="916" y="578"/>
                      <a:pt x="923" y="578"/>
                    </a:cubicBezTo>
                    <a:cubicBezTo>
                      <a:pt x="930" y="578"/>
                      <a:pt x="935" y="572"/>
                      <a:pt x="935" y="566"/>
                    </a:cubicBezTo>
                    <a:cubicBezTo>
                      <a:pt x="935" y="559"/>
                      <a:pt x="930" y="553"/>
                      <a:pt x="923" y="553"/>
                    </a:cubicBezTo>
                    <a:close/>
                    <a:moveTo>
                      <a:pt x="888" y="461"/>
                    </a:moveTo>
                    <a:cubicBezTo>
                      <a:pt x="881" y="461"/>
                      <a:pt x="876" y="467"/>
                      <a:pt x="876" y="473"/>
                    </a:cubicBezTo>
                    <a:cubicBezTo>
                      <a:pt x="876" y="480"/>
                      <a:pt x="881" y="486"/>
                      <a:pt x="888" y="486"/>
                    </a:cubicBezTo>
                    <a:cubicBezTo>
                      <a:pt x="894" y="486"/>
                      <a:pt x="900" y="480"/>
                      <a:pt x="900" y="473"/>
                    </a:cubicBezTo>
                    <a:cubicBezTo>
                      <a:pt x="900" y="467"/>
                      <a:pt x="894" y="461"/>
                      <a:pt x="888" y="461"/>
                    </a:cubicBezTo>
                    <a:close/>
                    <a:moveTo>
                      <a:pt x="888" y="430"/>
                    </a:moveTo>
                    <a:cubicBezTo>
                      <a:pt x="881" y="430"/>
                      <a:pt x="876" y="436"/>
                      <a:pt x="876" y="443"/>
                    </a:cubicBezTo>
                    <a:cubicBezTo>
                      <a:pt x="876" y="449"/>
                      <a:pt x="881" y="455"/>
                      <a:pt x="888" y="455"/>
                    </a:cubicBezTo>
                    <a:cubicBezTo>
                      <a:pt x="894" y="455"/>
                      <a:pt x="900" y="449"/>
                      <a:pt x="900" y="443"/>
                    </a:cubicBezTo>
                    <a:cubicBezTo>
                      <a:pt x="900" y="436"/>
                      <a:pt x="894" y="430"/>
                      <a:pt x="888" y="430"/>
                    </a:cubicBezTo>
                    <a:close/>
                    <a:moveTo>
                      <a:pt x="923" y="707"/>
                    </a:moveTo>
                    <a:cubicBezTo>
                      <a:pt x="916" y="707"/>
                      <a:pt x="911" y="713"/>
                      <a:pt x="911" y="719"/>
                    </a:cubicBezTo>
                    <a:cubicBezTo>
                      <a:pt x="911" y="726"/>
                      <a:pt x="916" y="731"/>
                      <a:pt x="923" y="731"/>
                    </a:cubicBezTo>
                    <a:cubicBezTo>
                      <a:pt x="930" y="731"/>
                      <a:pt x="935" y="726"/>
                      <a:pt x="935" y="719"/>
                    </a:cubicBezTo>
                    <a:cubicBezTo>
                      <a:pt x="935" y="713"/>
                      <a:pt x="930" y="707"/>
                      <a:pt x="923" y="707"/>
                    </a:cubicBezTo>
                    <a:close/>
                    <a:moveTo>
                      <a:pt x="923" y="523"/>
                    </a:moveTo>
                    <a:cubicBezTo>
                      <a:pt x="916" y="523"/>
                      <a:pt x="911" y="528"/>
                      <a:pt x="911" y="535"/>
                    </a:cubicBezTo>
                    <a:cubicBezTo>
                      <a:pt x="911" y="542"/>
                      <a:pt x="916" y="547"/>
                      <a:pt x="923" y="547"/>
                    </a:cubicBezTo>
                    <a:cubicBezTo>
                      <a:pt x="930" y="547"/>
                      <a:pt x="935" y="542"/>
                      <a:pt x="935" y="535"/>
                    </a:cubicBezTo>
                    <a:cubicBezTo>
                      <a:pt x="935" y="528"/>
                      <a:pt x="930" y="523"/>
                      <a:pt x="923" y="523"/>
                    </a:cubicBezTo>
                    <a:close/>
                    <a:moveTo>
                      <a:pt x="958" y="523"/>
                    </a:moveTo>
                    <a:cubicBezTo>
                      <a:pt x="951" y="523"/>
                      <a:pt x="946" y="528"/>
                      <a:pt x="946" y="535"/>
                    </a:cubicBezTo>
                    <a:cubicBezTo>
                      <a:pt x="946" y="542"/>
                      <a:pt x="951" y="547"/>
                      <a:pt x="958" y="547"/>
                    </a:cubicBezTo>
                    <a:cubicBezTo>
                      <a:pt x="965" y="547"/>
                      <a:pt x="970" y="542"/>
                      <a:pt x="970" y="535"/>
                    </a:cubicBezTo>
                    <a:cubicBezTo>
                      <a:pt x="970" y="528"/>
                      <a:pt x="965" y="523"/>
                      <a:pt x="958" y="523"/>
                    </a:cubicBezTo>
                    <a:close/>
                    <a:moveTo>
                      <a:pt x="958" y="492"/>
                    </a:moveTo>
                    <a:cubicBezTo>
                      <a:pt x="951" y="492"/>
                      <a:pt x="946" y="497"/>
                      <a:pt x="946" y="504"/>
                    </a:cubicBezTo>
                    <a:cubicBezTo>
                      <a:pt x="946" y="511"/>
                      <a:pt x="951" y="516"/>
                      <a:pt x="958" y="516"/>
                    </a:cubicBezTo>
                    <a:cubicBezTo>
                      <a:pt x="965" y="516"/>
                      <a:pt x="970" y="511"/>
                      <a:pt x="970" y="504"/>
                    </a:cubicBezTo>
                    <a:cubicBezTo>
                      <a:pt x="970" y="497"/>
                      <a:pt x="965" y="492"/>
                      <a:pt x="958" y="492"/>
                    </a:cubicBezTo>
                    <a:close/>
                    <a:moveTo>
                      <a:pt x="958" y="461"/>
                    </a:moveTo>
                    <a:cubicBezTo>
                      <a:pt x="951" y="461"/>
                      <a:pt x="946" y="467"/>
                      <a:pt x="946" y="473"/>
                    </a:cubicBezTo>
                    <a:cubicBezTo>
                      <a:pt x="946" y="480"/>
                      <a:pt x="951" y="486"/>
                      <a:pt x="958" y="486"/>
                    </a:cubicBezTo>
                    <a:cubicBezTo>
                      <a:pt x="965" y="486"/>
                      <a:pt x="970" y="480"/>
                      <a:pt x="970" y="473"/>
                    </a:cubicBezTo>
                    <a:cubicBezTo>
                      <a:pt x="970" y="467"/>
                      <a:pt x="965" y="461"/>
                      <a:pt x="958" y="461"/>
                    </a:cubicBezTo>
                    <a:close/>
                    <a:moveTo>
                      <a:pt x="993" y="523"/>
                    </a:moveTo>
                    <a:cubicBezTo>
                      <a:pt x="986" y="523"/>
                      <a:pt x="981" y="528"/>
                      <a:pt x="981" y="535"/>
                    </a:cubicBezTo>
                    <a:cubicBezTo>
                      <a:pt x="981" y="542"/>
                      <a:pt x="986" y="547"/>
                      <a:pt x="993" y="547"/>
                    </a:cubicBezTo>
                    <a:cubicBezTo>
                      <a:pt x="1000" y="547"/>
                      <a:pt x="1005" y="542"/>
                      <a:pt x="1005" y="535"/>
                    </a:cubicBezTo>
                    <a:cubicBezTo>
                      <a:pt x="1005" y="528"/>
                      <a:pt x="1000" y="523"/>
                      <a:pt x="993" y="523"/>
                    </a:cubicBezTo>
                    <a:close/>
                    <a:moveTo>
                      <a:pt x="958" y="584"/>
                    </a:moveTo>
                    <a:cubicBezTo>
                      <a:pt x="951" y="584"/>
                      <a:pt x="946" y="590"/>
                      <a:pt x="946" y="596"/>
                    </a:cubicBezTo>
                    <a:cubicBezTo>
                      <a:pt x="946" y="603"/>
                      <a:pt x="951" y="608"/>
                      <a:pt x="958" y="608"/>
                    </a:cubicBezTo>
                    <a:cubicBezTo>
                      <a:pt x="965" y="608"/>
                      <a:pt x="970" y="603"/>
                      <a:pt x="970" y="596"/>
                    </a:cubicBezTo>
                    <a:cubicBezTo>
                      <a:pt x="970" y="590"/>
                      <a:pt x="965" y="584"/>
                      <a:pt x="958" y="584"/>
                    </a:cubicBezTo>
                    <a:close/>
                    <a:moveTo>
                      <a:pt x="748" y="646"/>
                    </a:moveTo>
                    <a:cubicBezTo>
                      <a:pt x="741" y="646"/>
                      <a:pt x="735" y="651"/>
                      <a:pt x="735" y="658"/>
                    </a:cubicBezTo>
                    <a:cubicBezTo>
                      <a:pt x="735" y="665"/>
                      <a:pt x="741" y="670"/>
                      <a:pt x="748" y="670"/>
                    </a:cubicBezTo>
                    <a:cubicBezTo>
                      <a:pt x="754" y="670"/>
                      <a:pt x="760" y="665"/>
                      <a:pt x="760" y="658"/>
                    </a:cubicBezTo>
                    <a:cubicBezTo>
                      <a:pt x="760" y="651"/>
                      <a:pt x="754" y="646"/>
                      <a:pt x="748" y="646"/>
                    </a:cubicBezTo>
                    <a:close/>
                    <a:moveTo>
                      <a:pt x="923" y="461"/>
                    </a:moveTo>
                    <a:cubicBezTo>
                      <a:pt x="916" y="461"/>
                      <a:pt x="911" y="467"/>
                      <a:pt x="911" y="473"/>
                    </a:cubicBezTo>
                    <a:cubicBezTo>
                      <a:pt x="911" y="480"/>
                      <a:pt x="916" y="486"/>
                      <a:pt x="923" y="486"/>
                    </a:cubicBezTo>
                    <a:cubicBezTo>
                      <a:pt x="930" y="486"/>
                      <a:pt x="935" y="480"/>
                      <a:pt x="935" y="473"/>
                    </a:cubicBezTo>
                    <a:cubicBezTo>
                      <a:pt x="935" y="467"/>
                      <a:pt x="930" y="461"/>
                      <a:pt x="923" y="461"/>
                    </a:cubicBezTo>
                    <a:close/>
                    <a:moveTo>
                      <a:pt x="888" y="523"/>
                    </a:moveTo>
                    <a:cubicBezTo>
                      <a:pt x="881" y="523"/>
                      <a:pt x="876" y="528"/>
                      <a:pt x="876" y="535"/>
                    </a:cubicBezTo>
                    <a:cubicBezTo>
                      <a:pt x="876" y="542"/>
                      <a:pt x="881" y="547"/>
                      <a:pt x="888" y="547"/>
                    </a:cubicBezTo>
                    <a:cubicBezTo>
                      <a:pt x="894" y="547"/>
                      <a:pt x="900" y="542"/>
                      <a:pt x="900" y="535"/>
                    </a:cubicBezTo>
                    <a:cubicBezTo>
                      <a:pt x="900" y="528"/>
                      <a:pt x="894" y="523"/>
                      <a:pt x="888" y="523"/>
                    </a:cubicBezTo>
                    <a:close/>
                    <a:moveTo>
                      <a:pt x="958" y="553"/>
                    </a:moveTo>
                    <a:cubicBezTo>
                      <a:pt x="951" y="553"/>
                      <a:pt x="946" y="559"/>
                      <a:pt x="946" y="566"/>
                    </a:cubicBezTo>
                    <a:cubicBezTo>
                      <a:pt x="946" y="572"/>
                      <a:pt x="951" y="578"/>
                      <a:pt x="958" y="578"/>
                    </a:cubicBezTo>
                    <a:cubicBezTo>
                      <a:pt x="965" y="578"/>
                      <a:pt x="970" y="572"/>
                      <a:pt x="970" y="566"/>
                    </a:cubicBezTo>
                    <a:cubicBezTo>
                      <a:pt x="970" y="559"/>
                      <a:pt x="965" y="553"/>
                      <a:pt x="958" y="553"/>
                    </a:cubicBezTo>
                    <a:close/>
                    <a:moveTo>
                      <a:pt x="853" y="461"/>
                    </a:moveTo>
                    <a:cubicBezTo>
                      <a:pt x="846" y="461"/>
                      <a:pt x="841" y="467"/>
                      <a:pt x="841" y="473"/>
                    </a:cubicBezTo>
                    <a:cubicBezTo>
                      <a:pt x="841" y="480"/>
                      <a:pt x="846" y="486"/>
                      <a:pt x="853" y="486"/>
                    </a:cubicBezTo>
                    <a:cubicBezTo>
                      <a:pt x="859" y="486"/>
                      <a:pt x="865" y="480"/>
                      <a:pt x="865" y="473"/>
                    </a:cubicBezTo>
                    <a:cubicBezTo>
                      <a:pt x="865" y="467"/>
                      <a:pt x="859" y="461"/>
                      <a:pt x="853" y="461"/>
                    </a:cubicBezTo>
                    <a:close/>
                    <a:moveTo>
                      <a:pt x="853" y="523"/>
                    </a:moveTo>
                    <a:cubicBezTo>
                      <a:pt x="846" y="523"/>
                      <a:pt x="841" y="528"/>
                      <a:pt x="841" y="535"/>
                    </a:cubicBezTo>
                    <a:cubicBezTo>
                      <a:pt x="841" y="542"/>
                      <a:pt x="846" y="547"/>
                      <a:pt x="853" y="547"/>
                    </a:cubicBezTo>
                    <a:cubicBezTo>
                      <a:pt x="859" y="547"/>
                      <a:pt x="865" y="542"/>
                      <a:pt x="865" y="535"/>
                    </a:cubicBezTo>
                    <a:cubicBezTo>
                      <a:pt x="865" y="528"/>
                      <a:pt x="859" y="523"/>
                      <a:pt x="853" y="523"/>
                    </a:cubicBezTo>
                    <a:close/>
                    <a:moveTo>
                      <a:pt x="888" y="553"/>
                    </a:moveTo>
                    <a:cubicBezTo>
                      <a:pt x="881" y="553"/>
                      <a:pt x="876" y="559"/>
                      <a:pt x="876" y="566"/>
                    </a:cubicBezTo>
                    <a:cubicBezTo>
                      <a:pt x="876" y="572"/>
                      <a:pt x="881" y="578"/>
                      <a:pt x="888" y="578"/>
                    </a:cubicBezTo>
                    <a:cubicBezTo>
                      <a:pt x="894" y="578"/>
                      <a:pt x="900" y="572"/>
                      <a:pt x="900" y="566"/>
                    </a:cubicBezTo>
                    <a:cubicBezTo>
                      <a:pt x="900" y="559"/>
                      <a:pt x="894" y="553"/>
                      <a:pt x="888" y="553"/>
                    </a:cubicBezTo>
                    <a:close/>
                    <a:moveTo>
                      <a:pt x="853" y="646"/>
                    </a:moveTo>
                    <a:cubicBezTo>
                      <a:pt x="846" y="646"/>
                      <a:pt x="841" y="651"/>
                      <a:pt x="841" y="658"/>
                    </a:cubicBezTo>
                    <a:cubicBezTo>
                      <a:pt x="841" y="665"/>
                      <a:pt x="846" y="670"/>
                      <a:pt x="853" y="670"/>
                    </a:cubicBezTo>
                    <a:cubicBezTo>
                      <a:pt x="859" y="670"/>
                      <a:pt x="865" y="665"/>
                      <a:pt x="865" y="658"/>
                    </a:cubicBezTo>
                    <a:cubicBezTo>
                      <a:pt x="865" y="651"/>
                      <a:pt x="859" y="646"/>
                      <a:pt x="853" y="646"/>
                    </a:cubicBezTo>
                    <a:close/>
                    <a:moveTo>
                      <a:pt x="853" y="553"/>
                    </a:moveTo>
                    <a:cubicBezTo>
                      <a:pt x="846" y="553"/>
                      <a:pt x="841" y="559"/>
                      <a:pt x="841" y="566"/>
                    </a:cubicBezTo>
                    <a:cubicBezTo>
                      <a:pt x="841" y="572"/>
                      <a:pt x="846" y="578"/>
                      <a:pt x="853" y="578"/>
                    </a:cubicBezTo>
                    <a:cubicBezTo>
                      <a:pt x="859" y="578"/>
                      <a:pt x="865" y="572"/>
                      <a:pt x="865" y="566"/>
                    </a:cubicBezTo>
                    <a:cubicBezTo>
                      <a:pt x="865" y="559"/>
                      <a:pt x="859" y="553"/>
                      <a:pt x="853" y="553"/>
                    </a:cubicBezTo>
                    <a:close/>
                    <a:moveTo>
                      <a:pt x="853" y="584"/>
                    </a:moveTo>
                    <a:cubicBezTo>
                      <a:pt x="846" y="584"/>
                      <a:pt x="841" y="590"/>
                      <a:pt x="841" y="596"/>
                    </a:cubicBezTo>
                    <a:cubicBezTo>
                      <a:pt x="841" y="603"/>
                      <a:pt x="846" y="608"/>
                      <a:pt x="853" y="608"/>
                    </a:cubicBezTo>
                    <a:cubicBezTo>
                      <a:pt x="859" y="608"/>
                      <a:pt x="865" y="603"/>
                      <a:pt x="865" y="596"/>
                    </a:cubicBezTo>
                    <a:cubicBezTo>
                      <a:pt x="865" y="590"/>
                      <a:pt x="859" y="584"/>
                      <a:pt x="853" y="584"/>
                    </a:cubicBezTo>
                    <a:close/>
                    <a:moveTo>
                      <a:pt x="853" y="676"/>
                    </a:moveTo>
                    <a:cubicBezTo>
                      <a:pt x="846" y="676"/>
                      <a:pt x="841" y="682"/>
                      <a:pt x="841" y="689"/>
                    </a:cubicBezTo>
                    <a:cubicBezTo>
                      <a:pt x="841" y="695"/>
                      <a:pt x="846" y="701"/>
                      <a:pt x="853" y="701"/>
                    </a:cubicBezTo>
                    <a:cubicBezTo>
                      <a:pt x="859" y="701"/>
                      <a:pt x="865" y="695"/>
                      <a:pt x="865" y="689"/>
                    </a:cubicBezTo>
                    <a:cubicBezTo>
                      <a:pt x="865" y="682"/>
                      <a:pt x="859" y="676"/>
                      <a:pt x="853" y="676"/>
                    </a:cubicBezTo>
                    <a:close/>
                    <a:moveTo>
                      <a:pt x="853" y="738"/>
                    </a:moveTo>
                    <a:cubicBezTo>
                      <a:pt x="846" y="738"/>
                      <a:pt x="841" y="743"/>
                      <a:pt x="841" y="750"/>
                    </a:cubicBezTo>
                    <a:cubicBezTo>
                      <a:pt x="841" y="757"/>
                      <a:pt x="846" y="762"/>
                      <a:pt x="853" y="762"/>
                    </a:cubicBezTo>
                    <a:cubicBezTo>
                      <a:pt x="859" y="762"/>
                      <a:pt x="865" y="757"/>
                      <a:pt x="865" y="750"/>
                    </a:cubicBezTo>
                    <a:cubicBezTo>
                      <a:pt x="865" y="743"/>
                      <a:pt x="859" y="738"/>
                      <a:pt x="853" y="738"/>
                    </a:cubicBezTo>
                    <a:close/>
                    <a:moveTo>
                      <a:pt x="818" y="430"/>
                    </a:moveTo>
                    <a:cubicBezTo>
                      <a:pt x="811" y="430"/>
                      <a:pt x="805" y="436"/>
                      <a:pt x="805" y="443"/>
                    </a:cubicBezTo>
                    <a:cubicBezTo>
                      <a:pt x="805" y="449"/>
                      <a:pt x="811" y="455"/>
                      <a:pt x="818" y="455"/>
                    </a:cubicBezTo>
                    <a:cubicBezTo>
                      <a:pt x="824" y="455"/>
                      <a:pt x="830" y="449"/>
                      <a:pt x="830" y="443"/>
                    </a:cubicBezTo>
                    <a:cubicBezTo>
                      <a:pt x="830" y="436"/>
                      <a:pt x="824" y="430"/>
                      <a:pt x="818" y="430"/>
                    </a:cubicBezTo>
                    <a:close/>
                    <a:moveTo>
                      <a:pt x="853" y="707"/>
                    </a:moveTo>
                    <a:cubicBezTo>
                      <a:pt x="846" y="707"/>
                      <a:pt x="841" y="713"/>
                      <a:pt x="841" y="719"/>
                    </a:cubicBezTo>
                    <a:cubicBezTo>
                      <a:pt x="841" y="726"/>
                      <a:pt x="846" y="731"/>
                      <a:pt x="853" y="731"/>
                    </a:cubicBezTo>
                    <a:cubicBezTo>
                      <a:pt x="859" y="731"/>
                      <a:pt x="865" y="726"/>
                      <a:pt x="865" y="719"/>
                    </a:cubicBezTo>
                    <a:cubicBezTo>
                      <a:pt x="865" y="713"/>
                      <a:pt x="859" y="707"/>
                      <a:pt x="853" y="707"/>
                    </a:cubicBezTo>
                    <a:close/>
                    <a:moveTo>
                      <a:pt x="853" y="615"/>
                    </a:moveTo>
                    <a:cubicBezTo>
                      <a:pt x="846" y="615"/>
                      <a:pt x="841" y="620"/>
                      <a:pt x="841" y="627"/>
                    </a:cubicBezTo>
                    <a:cubicBezTo>
                      <a:pt x="841" y="634"/>
                      <a:pt x="846" y="639"/>
                      <a:pt x="853" y="639"/>
                    </a:cubicBezTo>
                    <a:cubicBezTo>
                      <a:pt x="859" y="639"/>
                      <a:pt x="865" y="634"/>
                      <a:pt x="865" y="627"/>
                    </a:cubicBezTo>
                    <a:cubicBezTo>
                      <a:pt x="865" y="620"/>
                      <a:pt x="859" y="615"/>
                      <a:pt x="853" y="615"/>
                    </a:cubicBezTo>
                    <a:close/>
                    <a:moveTo>
                      <a:pt x="888" y="646"/>
                    </a:moveTo>
                    <a:cubicBezTo>
                      <a:pt x="881" y="646"/>
                      <a:pt x="876" y="651"/>
                      <a:pt x="876" y="658"/>
                    </a:cubicBezTo>
                    <a:cubicBezTo>
                      <a:pt x="876" y="665"/>
                      <a:pt x="881" y="670"/>
                      <a:pt x="888" y="670"/>
                    </a:cubicBezTo>
                    <a:cubicBezTo>
                      <a:pt x="894" y="670"/>
                      <a:pt x="900" y="665"/>
                      <a:pt x="900" y="658"/>
                    </a:cubicBezTo>
                    <a:cubicBezTo>
                      <a:pt x="900" y="651"/>
                      <a:pt x="894" y="646"/>
                      <a:pt x="888" y="646"/>
                    </a:cubicBezTo>
                    <a:close/>
                    <a:moveTo>
                      <a:pt x="888" y="676"/>
                    </a:moveTo>
                    <a:cubicBezTo>
                      <a:pt x="881" y="676"/>
                      <a:pt x="876" y="682"/>
                      <a:pt x="876" y="689"/>
                    </a:cubicBezTo>
                    <a:cubicBezTo>
                      <a:pt x="876" y="695"/>
                      <a:pt x="881" y="701"/>
                      <a:pt x="888" y="701"/>
                    </a:cubicBezTo>
                    <a:cubicBezTo>
                      <a:pt x="894" y="701"/>
                      <a:pt x="900" y="695"/>
                      <a:pt x="900" y="689"/>
                    </a:cubicBezTo>
                    <a:cubicBezTo>
                      <a:pt x="900" y="682"/>
                      <a:pt x="894" y="676"/>
                      <a:pt x="888" y="676"/>
                    </a:cubicBezTo>
                    <a:close/>
                    <a:moveTo>
                      <a:pt x="888" y="615"/>
                    </a:moveTo>
                    <a:cubicBezTo>
                      <a:pt x="881" y="615"/>
                      <a:pt x="876" y="620"/>
                      <a:pt x="876" y="627"/>
                    </a:cubicBezTo>
                    <a:cubicBezTo>
                      <a:pt x="876" y="634"/>
                      <a:pt x="881" y="639"/>
                      <a:pt x="888" y="639"/>
                    </a:cubicBezTo>
                    <a:cubicBezTo>
                      <a:pt x="894" y="639"/>
                      <a:pt x="900" y="634"/>
                      <a:pt x="900" y="627"/>
                    </a:cubicBezTo>
                    <a:cubicBezTo>
                      <a:pt x="900" y="620"/>
                      <a:pt x="894" y="615"/>
                      <a:pt x="888" y="615"/>
                    </a:cubicBezTo>
                    <a:close/>
                    <a:moveTo>
                      <a:pt x="853" y="492"/>
                    </a:moveTo>
                    <a:cubicBezTo>
                      <a:pt x="846" y="492"/>
                      <a:pt x="841" y="497"/>
                      <a:pt x="841" y="504"/>
                    </a:cubicBezTo>
                    <a:cubicBezTo>
                      <a:pt x="841" y="511"/>
                      <a:pt x="846" y="516"/>
                      <a:pt x="853" y="516"/>
                    </a:cubicBezTo>
                    <a:cubicBezTo>
                      <a:pt x="859" y="516"/>
                      <a:pt x="865" y="511"/>
                      <a:pt x="865" y="504"/>
                    </a:cubicBezTo>
                    <a:cubicBezTo>
                      <a:pt x="865" y="497"/>
                      <a:pt x="859" y="492"/>
                      <a:pt x="853" y="492"/>
                    </a:cubicBezTo>
                    <a:close/>
                    <a:moveTo>
                      <a:pt x="888" y="584"/>
                    </a:moveTo>
                    <a:cubicBezTo>
                      <a:pt x="881" y="584"/>
                      <a:pt x="876" y="590"/>
                      <a:pt x="876" y="596"/>
                    </a:cubicBezTo>
                    <a:cubicBezTo>
                      <a:pt x="876" y="603"/>
                      <a:pt x="881" y="608"/>
                      <a:pt x="888" y="608"/>
                    </a:cubicBezTo>
                    <a:cubicBezTo>
                      <a:pt x="894" y="608"/>
                      <a:pt x="900" y="603"/>
                      <a:pt x="900" y="596"/>
                    </a:cubicBezTo>
                    <a:cubicBezTo>
                      <a:pt x="900" y="590"/>
                      <a:pt x="894" y="584"/>
                      <a:pt x="888" y="584"/>
                    </a:cubicBezTo>
                    <a:close/>
                    <a:moveTo>
                      <a:pt x="853" y="430"/>
                    </a:moveTo>
                    <a:cubicBezTo>
                      <a:pt x="846" y="430"/>
                      <a:pt x="841" y="436"/>
                      <a:pt x="841" y="443"/>
                    </a:cubicBezTo>
                    <a:cubicBezTo>
                      <a:pt x="841" y="449"/>
                      <a:pt x="846" y="455"/>
                      <a:pt x="853" y="455"/>
                    </a:cubicBezTo>
                    <a:cubicBezTo>
                      <a:pt x="859" y="455"/>
                      <a:pt x="865" y="449"/>
                      <a:pt x="865" y="443"/>
                    </a:cubicBezTo>
                    <a:cubicBezTo>
                      <a:pt x="865" y="436"/>
                      <a:pt x="859" y="430"/>
                      <a:pt x="853" y="430"/>
                    </a:cubicBezTo>
                    <a:close/>
                    <a:moveTo>
                      <a:pt x="888" y="707"/>
                    </a:moveTo>
                    <a:cubicBezTo>
                      <a:pt x="881" y="707"/>
                      <a:pt x="876" y="713"/>
                      <a:pt x="876" y="719"/>
                    </a:cubicBezTo>
                    <a:cubicBezTo>
                      <a:pt x="876" y="726"/>
                      <a:pt x="881" y="731"/>
                      <a:pt x="888" y="731"/>
                    </a:cubicBezTo>
                    <a:cubicBezTo>
                      <a:pt x="894" y="731"/>
                      <a:pt x="900" y="726"/>
                      <a:pt x="900" y="719"/>
                    </a:cubicBezTo>
                    <a:cubicBezTo>
                      <a:pt x="900" y="713"/>
                      <a:pt x="894" y="707"/>
                      <a:pt x="888" y="707"/>
                    </a:cubicBezTo>
                    <a:close/>
                    <a:moveTo>
                      <a:pt x="818" y="461"/>
                    </a:moveTo>
                    <a:cubicBezTo>
                      <a:pt x="811" y="461"/>
                      <a:pt x="805" y="467"/>
                      <a:pt x="805" y="473"/>
                    </a:cubicBezTo>
                    <a:cubicBezTo>
                      <a:pt x="805" y="480"/>
                      <a:pt x="811" y="486"/>
                      <a:pt x="818" y="486"/>
                    </a:cubicBezTo>
                    <a:cubicBezTo>
                      <a:pt x="824" y="486"/>
                      <a:pt x="830" y="480"/>
                      <a:pt x="830" y="473"/>
                    </a:cubicBezTo>
                    <a:cubicBezTo>
                      <a:pt x="830" y="467"/>
                      <a:pt x="824" y="461"/>
                      <a:pt x="818" y="461"/>
                    </a:cubicBezTo>
                    <a:close/>
                    <a:moveTo>
                      <a:pt x="888" y="738"/>
                    </a:moveTo>
                    <a:cubicBezTo>
                      <a:pt x="881" y="738"/>
                      <a:pt x="876" y="743"/>
                      <a:pt x="876" y="750"/>
                    </a:cubicBezTo>
                    <a:cubicBezTo>
                      <a:pt x="876" y="757"/>
                      <a:pt x="881" y="762"/>
                      <a:pt x="888" y="762"/>
                    </a:cubicBezTo>
                    <a:cubicBezTo>
                      <a:pt x="894" y="762"/>
                      <a:pt x="900" y="757"/>
                      <a:pt x="900" y="750"/>
                    </a:cubicBezTo>
                    <a:cubicBezTo>
                      <a:pt x="900" y="743"/>
                      <a:pt x="894" y="738"/>
                      <a:pt x="888" y="738"/>
                    </a:cubicBezTo>
                    <a:close/>
                    <a:moveTo>
                      <a:pt x="713" y="953"/>
                    </a:moveTo>
                    <a:cubicBezTo>
                      <a:pt x="706" y="953"/>
                      <a:pt x="700" y="959"/>
                      <a:pt x="700" y="965"/>
                    </a:cubicBezTo>
                    <a:cubicBezTo>
                      <a:pt x="700" y="972"/>
                      <a:pt x="706" y="977"/>
                      <a:pt x="713" y="977"/>
                    </a:cubicBezTo>
                    <a:cubicBezTo>
                      <a:pt x="719" y="977"/>
                      <a:pt x="725" y="972"/>
                      <a:pt x="725" y="965"/>
                    </a:cubicBezTo>
                    <a:cubicBezTo>
                      <a:pt x="725" y="959"/>
                      <a:pt x="719" y="953"/>
                      <a:pt x="713" y="953"/>
                    </a:cubicBezTo>
                    <a:close/>
                    <a:moveTo>
                      <a:pt x="677" y="922"/>
                    </a:moveTo>
                    <a:cubicBezTo>
                      <a:pt x="671" y="922"/>
                      <a:pt x="665" y="928"/>
                      <a:pt x="665" y="934"/>
                    </a:cubicBezTo>
                    <a:cubicBezTo>
                      <a:pt x="665" y="941"/>
                      <a:pt x="671" y="947"/>
                      <a:pt x="677" y="947"/>
                    </a:cubicBezTo>
                    <a:cubicBezTo>
                      <a:pt x="684" y="947"/>
                      <a:pt x="690" y="941"/>
                      <a:pt x="690" y="934"/>
                    </a:cubicBezTo>
                    <a:cubicBezTo>
                      <a:pt x="690" y="928"/>
                      <a:pt x="684" y="922"/>
                      <a:pt x="677" y="922"/>
                    </a:cubicBezTo>
                    <a:close/>
                    <a:moveTo>
                      <a:pt x="677" y="892"/>
                    </a:moveTo>
                    <a:cubicBezTo>
                      <a:pt x="671" y="892"/>
                      <a:pt x="665" y="897"/>
                      <a:pt x="665" y="904"/>
                    </a:cubicBezTo>
                    <a:cubicBezTo>
                      <a:pt x="665" y="910"/>
                      <a:pt x="671" y="916"/>
                      <a:pt x="677" y="916"/>
                    </a:cubicBezTo>
                    <a:cubicBezTo>
                      <a:pt x="684" y="916"/>
                      <a:pt x="690" y="910"/>
                      <a:pt x="690" y="904"/>
                    </a:cubicBezTo>
                    <a:cubicBezTo>
                      <a:pt x="690" y="897"/>
                      <a:pt x="684" y="892"/>
                      <a:pt x="677" y="892"/>
                    </a:cubicBezTo>
                    <a:close/>
                    <a:moveTo>
                      <a:pt x="677" y="861"/>
                    </a:moveTo>
                    <a:cubicBezTo>
                      <a:pt x="671" y="861"/>
                      <a:pt x="665" y="866"/>
                      <a:pt x="665" y="873"/>
                    </a:cubicBezTo>
                    <a:cubicBezTo>
                      <a:pt x="665" y="880"/>
                      <a:pt x="671" y="885"/>
                      <a:pt x="677" y="885"/>
                    </a:cubicBezTo>
                    <a:cubicBezTo>
                      <a:pt x="684" y="885"/>
                      <a:pt x="690" y="880"/>
                      <a:pt x="690" y="873"/>
                    </a:cubicBezTo>
                    <a:cubicBezTo>
                      <a:pt x="690" y="866"/>
                      <a:pt x="684" y="861"/>
                      <a:pt x="677" y="861"/>
                    </a:cubicBezTo>
                    <a:close/>
                    <a:moveTo>
                      <a:pt x="677" y="953"/>
                    </a:moveTo>
                    <a:cubicBezTo>
                      <a:pt x="671" y="953"/>
                      <a:pt x="665" y="959"/>
                      <a:pt x="665" y="965"/>
                    </a:cubicBezTo>
                    <a:cubicBezTo>
                      <a:pt x="665" y="972"/>
                      <a:pt x="671" y="977"/>
                      <a:pt x="677" y="977"/>
                    </a:cubicBezTo>
                    <a:cubicBezTo>
                      <a:pt x="684" y="977"/>
                      <a:pt x="690" y="972"/>
                      <a:pt x="690" y="965"/>
                    </a:cubicBezTo>
                    <a:cubicBezTo>
                      <a:pt x="690" y="959"/>
                      <a:pt x="684" y="953"/>
                      <a:pt x="677" y="953"/>
                    </a:cubicBezTo>
                    <a:close/>
                    <a:moveTo>
                      <a:pt x="642" y="246"/>
                    </a:moveTo>
                    <a:cubicBezTo>
                      <a:pt x="636" y="246"/>
                      <a:pt x="630" y="251"/>
                      <a:pt x="630" y="258"/>
                    </a:cubicBezTo>
                    <a:cubicBezTo>
                      <a:pt x="630" y="265"/>
                      <a:pt x="636" y="270"/>
                      <a:pt x="642" y="270"/>
                    </a:cubicBezTo>
                    <a:cubicBezTo>
                      <a:pt x="649" y="270"/>
                      <a:pt x="655" y="265"/>
                      <a:pt x="655" y="258"/>
                    </a:cubicBezTo>
                    <a:cubicBezTo>
                      <a:pt x="655" y="251"/>
                      <a:pt x="649" y="246"/>
                      <a:pt x="642" y="246"/>
                    </a:cubicBezTo>
                    <a:close/>
                    <a:moveTo>
                      <a:pt x="642" y="307"/>
                    </a:moveTo>
                    <a:cubicBezTo>
                      <a:pt x="636" y="307"/>
                      <a:pt x="630" y="313"/>
                      <a:pt x="630" y="320"/>
                    </a:cubicBezTo>
                    <a:cubicBezTo>
                      <a:pt x="630" y="326"/>
                      <a:pt x="636" y="332"/>
                      <a:pt x="642" y="332"/>
                    </a:cubicBezTo>
                    <a:cubicBezTo>
                      <a:pt x="649" y="332"/>
                      <a:pt x="655" y="326"/>
                      <a:pt x="655" y="320"/>
                    </a:cubicBezTo>
                    <a:cubicBezTo>
                      <a:pt x="655" y="313"/>
                      <a:pt x="649" y="307"/>
                      <a:pt x="642" y="307"/>
                    </a:cubicBezTo>
                    <a:close/>
                    <a:moveTo>
                      <a:pt x="642" y="277"/>
                    </a:moveTo>
                    <a:cubicBezTo>
                      <a:pt x="636" y="277"/>
                      <a:pt x="630" y="282"/>
                      <a:pt x="630" y="289"/>
                    </a:cubicBezTo>
                    <a:cubicBezTo>
                      <a:pt x="630" y="296"/>
                      <a:pt x="636" y="301"/>
                      <a:pt x="642" y="301"/>
                    </a:cubicBezTo>
                    <a:cubicBezTo>
                      <a:pt x="649" y="301"/>
                      <a:pt x="655" y="296"/>
                      <a:pt x="655" y="289"/>
                    </a:cubicBezTo>
                    <a:cubicBezTo>
                      <a:pt x="655" y="282"/>
                      <a:pt x="649" y="277"/>
                      <a:pt x="642" y="277"/>
                    </a:cubicBezTo>
                    <a:close/>
                    <a:moveTo>
                      <a:pt x="677" y="830"/>
                    </a:moveTo>
                    <a:cubicBezTo>
                      <a:pt x="671" y="830"/>
                      <a:pt x="665" y="836"/>
                      <a:pt x="665" y="842"/>
                    </a:cubicBezTo>
                    <a:cubicBezTo>
                      <a:pt x="665" y="849"/>
                      <a:pt x="671" y="854"/>
                      <a:pt x="677" y="854"/>
                    </a:cubicBezTo>
                    <a:cubicBezTo>
                      <a:pt x="684" y="854"/>
                      <a:pt x="690" y="849"/>
                      <a:pt x="690" y="842"/>
                    </a:cubicBezTo>
                    <a:cubicBezTo>
                      <a:pt x="690" y="836"/>
                      <a:pt x="684" y="830"/>
                      <a:pt x="677" y="830"/>
                    </a:cubicBezTo>
                    <a:close/>
                    <a:moveTo>
                      <a:pt x="677" y="984"/>
                    </a:moveTo>
                    <a:cubicBezTo>
                      <a:pt x="671" y="984"/>
                      <a:pt x="665" y="989"/>
                      <a:pt x="665" y="996"/>
                    </a:cubicBezTo>
                    <a:cubicBezTo>
                      <a:pt x="665" y="1003"/>
                      <a:pt x="671" y="1008"/>
                      <a:pt x="677" y="1008"/>
                    </a:cubicBezTo>
                    <a:cubicBezTo>
                      <a:pt x="684" y="1008"/>
                      <a:pt x="690" y="1003"/>
                      <a:pt x="690" y="996"/>
                    </a:cubicBezTo>
                    <a:cubicBezTo>
                      <a:pt x="690" y="989"/>
                      <a:pt x="684" y="984"/>
                      <a:pt x="677" y="984"/>
                    </a:cubicBezTo>
                    <a:close/>
                    <a:moveTo>
                      <a:pt x="677" y="615"/>
                    </a:moveTo>
                    <a:cubicBezTo>
                      <a:pt x="671" y="615"/>
                      <a:pt x="665" y="620"/>
                      <a:pt x="665" y="627"/>
                    </a:cubicBezTo>
                    <a:cubicBezTo>
                      <a:pt x="665" y="634"/>
                      <a:pt x="671" y="639"/>
                      <a:pt x="677" y="639"/>
                    </a:cubicBezTo>
                    <a:cubicBezTo>
                      <a:pt x="684" y="639"/>
                      <a:pt x="690" y="634"/>
                      <a:pt x="690" y="627"/>
                    </a:cubicBezTo>
                    <a:cubicBezTo>
                      <a:pt x="690" y="620"/>
                      <a:pt x="684" y="615"/>
                      <a:pt x="677" y="615"/>
                    </a:cubicBezTo>
                    <a:close/>
                    <a:moveTo>
                      <a:pt x="677" y="584"/>
                    </a:moveTo>
                    <a:cubicBezTo>
                      <a:pt x="671" y="584"/>
                      <a:pt x="665" y="590"/>
                      <a:pt x="665" y="596"/>
                    </a:cubicBezTo>
                    <a:cubicBezTo>
                      <a:pt x="665" y="603"/>
                      <a:pt x="671" y="608"/>
                      <a:pt x="677" y="608"/>
                    </a:cubicBezTo>
                    <a:cubicBezTo>
                      <a:pt x="684" y="608"/>
                      <a:pt x="690" y="603"/>
                      <a:pt x="690" y="596"/>
                    </a:cubicBezTo>
                    <a:cubicBezTo>
                      <a:pt x="690" y="590"/>
                      <a:pt x="684" y="584"/>
                      <a:pt x="677" y="584"/>
                    </a:cubicBezTo>
                    <a:close/>
                    <a:moveTo>
                      <a:pt x="642" y="338"/>
                    </a:moveTo>
                    <a:cubicBezTo>
                      <a:pt x="636" y="338"/>
                      <a:pt x="630" y="344"/>
                      <a:pt x="630" y="350"/>
                    </a:cubicBezTo>
                    <a:cubicBezTo>
                      <a:pt x="630" y="357"/>
                      <a:pt x="636" y="363"/>
                      <a:pt x="642" y="363"/>
                    </a:cubicBezTo>
                    <a:cubicBezTo>
                      <a:pt x="649" y="363"/>
                      <a:pt x="655" y="357"/>
                      <a:pt x="655" y="350"/>
                    </a:cubicBezTo>
                    <a:cubicBezTo>
                      <a:pt x="655" y="344"/>
                      <a:pt x="649" y="338"/>
                      <a:pt x="642" y="338"/>
                    </a:cubicBezTo>
                    <a:close/>
                    <a:moveTo>
                      <a:pt x="677" y="553"/>
                    </a:moveTo>
                    <a:cubicBezTo>
                      <a:pt x="671" y="553"/>
                      <a:pt x="665" y="559"/>
                      <a:pt x="665" y="566"/>
                    </a:cubicBezTo>
                    <a:cubicBezTo>
                      <a:pt x="665" y="572"/>
                      <a:pt x="671" y="578"/>
                      <a:pt x="677" y="578"/>
                    </a:cubicBezTo>
                    <a:cubicBezTo>
                      <a:pt x="684" y="578"/>
                      <a:pt x="690" y="572"/>
                      <a:pt x="690" y="566"/>
                    </a:cubicBezTo>
                    <a:cubicBezTo>
                      <a:pt x="690" y="559"/>
                      <a:pt x="684" y="553"/>
                      <a:pt x="677" y="553"/>
                    </a:cubicBezTo>
                    <a:close/>
                    <a:moveTo>
                      <a:pt x="677" y="646"/>
                    </a:moveTo>
                    <a:cubicBezTo>
                      <a:pt x="671" y="646"/>
                      <a:pt x="665" y="651"/>
                      <a:pt x="665" y="658"/>
                    </a:cubicBezTo>
                    <a:cubicBezTo>
                      <a:pt x="665" y="665"/>
                      <a:pt x="671" y="670"/>
                      <a:pt x="677" y="670"/>
                    </a:cubicBezTo>
                    <a:cubicBezTo>
                      <a:pt x="684" y="670"/>
                      <a:pt x="690" y="665"/>
                      <a:pt x="690" y="658"/>
                    </a:cubicBezTo>
                    <a:cubicBezTo>
                      <a:pt x="690" y="651"/>
                      <a:pt x="684" y="646"/>
                      <a:pt x="677" y="646"/>
                    </a:cubicBezTo>
                    <a:close/>
                    <a:moveTo>
                      <a:pt x="677" y="738"/>
                    </a:moveTo>
                    <a:cubicBezTo>
                      <a:pt x="671" y="738"/>
                      <a:pt x="665" y="743"/>
                      <a:pt x="665" y="750"/>
                    </a:cubicBezTo>
                    <a:cubicBezTo>
                      <a:pt x="665" y="757"/>
                      <a:pt x="671" y="762"/>
                      <a:pt x="677" y="762"/>
                    </a:cubicBezTo>
                    <a:cubicBezTo>
                      <a:pt x="684" y="762"/>
                      <a:pt x="690" y="757"/>
                      <a:pt x="690" y="750"/>
                    </a:cubicBezTo>
                    <a:cubicBezTo>
                      <a:pt x="690" y="743"/>
                      <a:pt x="684" y="738"/>
                      <a:pt x="677" y="738"/>
                    </a:cubicBezTo>
                    <a:close/>
                    <a:moveTo>
                      <a:pt x="677" y="799"/>
                    </a:moveTo>
                    <a:cubicBezTo>
                      <a:pt x="671" y="799"/>
                      <a:pt x="665" y="805"/>
                      <a:pt x="665" y="812"/>
                    </a:cubicBezTo>
                    <a:cubicBezTo>
                      <a:pt x="665" y="818"/>
                      <a:pt x="671" y="824"/>
                      <a:pt x="677" y="824"/>
                    </a:cubicBezTo>
                    <a:cubicBezTo>
                      <a:pt x="684" y="824"/>
                      <a:pt x="690" y="818"/>
                      <a:pt x="690" y="812"/>
                    </a:cubicBezTo>
                    <a:cubicBezTo>
                      <a:pt x="690" y="805"/>
                      <a:pt x="684" y="799"/>
                      <a:pt x="677" y="799"/>
                    </a:cubicBezTo>
                    <a:close/>
                    <a:moveTo>
                      <a:pt x="677" y="769"/>
                    </a:moveTo>
                    <a:cubicBezTo>
                      <a:pt x="671" y="769"/>
                      <a:pt x="665" y="774"/>
                      <a:pt x="665" y="781"/>
                    </a:cubicBezTo>
                    <a:cubicBezTo>
                      <a:pt x="665" y="787"/>
                      <a:pt x="671" y="793"/>
                      <a:pt x="677" y="793"/>
                    </a:cubicBezTo>
                    <a:cubicBezTo>
                      <a:pt x="684" y="793"/>
                      <a:pt x="690" y="787"/>
                      <a:pt x="690" y="781"/>
                    </a:cubicBezTo>
                    <a:cubicBezTo>
                      <a:pt x="690" y="774"/>
                      <a:pt x="684" y="769"/>
                      <a:pt x="677" y="769"/>
                    </a:cubicBezTo>
                    <a:close/>
                    <a:moveTo>
                      <a:pt x="677" y="676"/>
                    </a:moveTo>
                    <a:cubicBezTo>
                      <a:pt x="671" y="676"/>
                      <a:pt x="665" y="682"/>
                      <a:pt x="665" y="689"/>
                    </a:cubicBezTo>
                    <a:cubicBezTo>
                      <a:pt x="665" y="695"/>
                      <a:pt x="671" y="701"/>
                      <a:pt x="677" y="701"/>
                    </a:cubicBezTo>
                    <a:cubicBezTo>
                      <a:pt x="684" y="701"/>
                      <a:pt x="690" y="695"/>
                      <a:pt x="690" y="689"/>
                    </a:cubicBezTo>
                    <a:cubicBezTo>
                      <a:pt x="690" y="682"/>
                      <a:pt x="684" y="676"/>
                      <a:pt x="677" y="676"/>
                    </a:cubicBezTo>
                    <a:close/>
                    <a:moveTo>
                      <a:pt x="677" y="707"/>
                    </a:moveTo>
                    <a:cubicBezTo>
                      <a:pt x="671" y="707"/>
                      <a:pt x="665" y="713"/>
                      <a:pt x="665" y="719"/>
                    </a:cubicBezTo>
                    <a:cubicBezTo>
                      <a:pt x="665" y="726"/>
                      <a:pt x="671" y="731"/>
                      <a:pt x="677" y="731"/>
                    </a:cubicBezTo>
                    <a:cubicBezTo>
                      <a:pt x="684" y="731"/>
                      <a:pt x="690" y="726"/>
                      <a:pt x="690" y="719"/>
                    </a:cubicBezTo>
                    <a:cubicBezTo>
                      <a:pt x="690" y="713"/>
                      <a:pt x="684" y="707"/>
                      <a:pt x="677" y="707"/>
                    </a:cubicBezTo>
                    <a:close/>
                    <a:moveTo>
                      <a:pt x="677" y="523"/>
                    </a:moveTo>
                    <a:cubicBezTo>
                      <a:pt x="671" y="523"/>
                      <a:pt x="665" y="528"/>
                      <a:pt x="665" y="535"/>
                    </a:cubicBezTo>
                    <a:cubicBezTo>
                      <a:pt x="665" y="542"/>
                      <a:pt x="671" y="547"/>
                      <a:pt x="677" y="547"/>
                    </a:cubicBezTo>
                    <a:cubicBezTo>
                      <a:pt x="684" y="547"/>
                      <a:pt x="690" y="542"/>
                      <a:pt x="690" y="535"/>
                    </a:cubicBezTo>
                    <a:cubicBezTo>
                      <a:pt x="690" y="528"/>
                      <a:pt x="684" y="523"/>
                      <a:pt x="677" y="523"/>
                    </a:cubicBezTo>
                    <a:close/>
                    <a:moveTo>
                      <a:pt x="642" y="769"/>
                    </a:moveTo>
                    <a:cubicBezTo>
                      <a:pt x="636" y="769"/>
                      <a:pt x="630" y="774"/>
                      <a:pt x="630" y="781"/>
                    </a:cubicBezTo>
                    <a:cubicBezTo>
                      <a:pt x="630" y="787"/>
                      <a:pt x="636" y="793"/>
                      <a:pt x="642" y="793"/>
                    </a:cubicBezTo>
                    <a:cubicBezTo>
                      <a:pt x="649" y="793"/>
                      <a:pt x="655" y="787"/>
                      <a:pt x="655" y="781"/>
                    </a:cubicBezTo>
                    <a:cubicBezTo>
                      <a:pt x="655" y="774"/>
                      <a:pt x="649" y="769"/>
                      <a:pt x="642" y="769"/>
                    </a:cubicBezTo>
                    <a:close/>
                    <a:moveTo>
                      <a:pt x="642" y="676"/>
                    </a:moveTo>
                    <a:cubicBezTo>
                      <a:pt x="636" y="676"/>
                      <a:pt x="630" y="682"/>
                      <a:pt x="630" y="689"/>
                    </a:cubicBezTo>
                    <a:cubicBezTo>
                      <a:pt x="630" y="695"/>
                      <a:pt x="636" y="701"/>
                      <a:pt x="642" y="701"/>
                    </a:cubicBezTo>
                    <a:cubicBezTo>
                      <a:pt x="649" y="701"/>
                      <a:pt x="655" y="695"/>
                      <a:pt x="655" y="689"/>
                    </a:cubicBezTo>
                    <a:cubicBezTo>
                      <a:pt x="655" y="682"/>
                      <a:pt x="649" y="676"/>
                      <a:pt x="642" y="676"/>
                    </a:cubicBezTo>
                    <a:close/>
                    <a:moveTo>
                      <a:pt x="642" y="738"/>
                    </a:moveTo>
                    <a:cubicBezTo>
                      <a:pt x="636" y="738"/>
                      <a:pt x="630" y="743"/>
                      <a:pt x="630" y="750"/>
                    </a:cubicBezTo>
                    <a:cubicBezTo>
                      <a:pt x="630" y="757"/>
                      <a:pt x="636" y="762"/>
                      <a:pt x="642" y="762"/>
                    </a:cubicBezTo>
                    <a:cubicBezTo>
                      <a:pt x="649" y="762"/>
                      <a:pt x="655" y="757"/>
                      <a:pt x="655" y="750"/>
                    </a:cubicBezTo>
                    <a:cubicBezTo>
                      <a:pt x="655" y="743"/>
                      <a:pt x="649" y="738"/>
                      <a:pt x="642" y="738"/>
                    </a:cubicBezTo>
                    <a:close/>
                    <a:moveTo>
                      <a:pt x="642" y="707"/>
                    </a:moveTo>
                    <a:cubicBezTo>
                      <a:pt x="636" y="707"/>
                      <a:pt x="630" y="713"/>
                      <a:pt x="630" y="719"/>
                    </a:cubicBezTo>
                    <a:cubicBezTo>
                      <a:pt x="630" y="726"/>
                      <a:pt x="636" y="731"/>
                      <a:pt x="642" y="731"/>
                    </a:cubicBezTo>
                    <a:cubicBezTo>
                      <a:pt x="649" y="731"/>
                      <a:pt x="655" y="726"/>
                      <a:pt x="655" y="719"/>
                    </a:cubicBezTo>
                    <a:cubicBezTo>
                      <a:pt x="655" y="713"/>
                      <a:pt x="649" y="707"/>
                      <a:pt x="642" y="707"/>
                    </a:cubicBezTo>
                    <a:close/>
                    <a:moveTo>
                      <a:pt x="642" y="369"/>
                    </a:moveTo>
                    <a:cubicBezTo>
                      <a:pt x="636" y="369"/>
                      <a:pt x="630" y="374"/>
                      <a:pt x="630" y="381"/>
                    </a:cubicBezTo>
                    <a:cubicBezTo>
                      <a:pt x="630" y="388"/>
                      <a:pt x="636" y="393"/>
                      <a:pt x="642" y="393"/>
                    </a:cubicBezTo>
                    <a:cubicBezTo>
                      <a:pt x="649" y="393"/>
                      <a:pt x="655" y="388"/>
                      <a:pt x="655" y="381"/>
                    </a:cubicBezTo>
                    <a:cubicBezTo>
                      <a:pt x="655" y="374"/>
                      <a:pt x="649" y="369"/>
                      <a:pt x="642" y="369"/>
                    </a:cubicBezTo>
                    <a:close/>
                    <a:moveTo>
                      <a:pt x="642" y="922"/>
                    </a:moveTo>
                    <a:cubicBezTo>
                      <a:pt x="636" y="922"/>
                      <a:pt x="630" y="928"/>
                      <a:pt x="630" y="934"/>
                    </a:cubicBezTo>
                    <a:cubicBezTo>
                      <a:pt x="630" y="941"/>
                      <a:pt x="636" y="947"/>
                      <a:pt x="642" y="947"/>
                    </a:cubicBezTo>
                    <a:cubicBezTo>
                      <a:pt x="649" y="947"/>
                      <a:pt x="655" y="941"/>
                      <a:pt x="655" y="934"/>
                    </a:cubicBezTo>
                    <a:cubicBezTo>
                      <a:pt x="655" y="928"/>
                      <a:pt x="649" y="922"/>
                      <a:pt x="642" y="922"/>
                    </a:cubicBezTo>
                    <a:close/>
                    <a:moveTo>
                      <a:pt x="642" y="892"/>
                    </a:moveTo>
                    <a:cubicBezTo>
                      <a:pt x="636" y="892"/>
                      <a:pt x="630" y="897"/>
                      <a:pt x="630" y="904"/>
                    </a:cubicBezTo>
                    <a:cubicBezTo>
                      <a:pt x="630" y="910"/>
                      <a:pt x="636" y="916"/>
                      <a:pt x="642" y="916"/>
                    </a:cubicBezTo>
                    <a:cubicBezTo>
                      <a:pt x="649" y="916"/>
                      <a:pt x="655" y="910"/>
                      <a:pt x="655" y="904"/>
                    </a:cubicBezTo>
                    <a:cubicBezTo>
                      <a:pt x="655" y="897"/>
                      <a:pt x="649" y="892"/>
                      <a:pt x="642" y="892"/>
                    </a:cubicBezTo>
                    <a:close/>
                    <a:moveTo>
                      <a:pt x="642" y="861"/>
                    </a:moveTo>
                    <a:cubicBezTo>
                      <a:pt x="636" y="861"/>
                      <a:pt x="630" y="866"/>
                      <a:pt x="630" y="873"/>
                    </a:cubicBezTo>
                    <a:cubicBezTo>
                      <a:pt x="630" y="880"/>
                      <a:pt x="636" y="885"/>
                      <a:pt x="642" y="885"/>
                    </a:cubicBezTo>
                    <a:cubicBezTo>
                      <a:pt x="649" y="885"/>
                      <a:pt x="655" y="880"/>
                      <a:pt x="655" y="873"/>
                    </a:cubicBezTo>
                    <a:cubicBezTo>
                      <a:pt x="655" y="866"/>
                      <a:pt x="649" y="861"/>
                      <a:pt x="642" y="861"/>
                    </a:cubicBezTo>
                    <a:close/>
                    <a:moveTo>
                      <a:pt x="642" y="830"/>
                    </a:moveTo>
                    <a:cubicBezTo>
                      <a:pt x="636" y="830"/>
                      <a:pt x="630" y="836"/>
                      <a:pt x="630" y="842"/>
                    </a:cubicBezTo>
                    <a:cubicBezTo>
                      <a:pt x="630" y="849"/>
                      <a:pt x="636" y="854"/>
                      <a:pt x="642" y="854"/>
                    </a:cubicBezTo>
                    <a:cubicBezTo>
                      <a:pt x="649" y="854"/>
                      <a:pt x="655" y="849"/>
                      <a:pt x="655" y="842"/>
                    </a:cubicBezTo>
                    <a:cubicBezTo>
                      <a:pt x="655" y="836"/>
                      <a:pt x="649" y="830"/>
                      <a:pt x="642" y="830"/>
                    </a:cubicBezTo>
                    <a:close/>
                    <a:moveTo>
                      <a:pt x="642" y="799"/>
                    </a:moveTo>
                    <a:cubicBezTo>
                      <a:pt x="636" y="799"/>
                      <a:pt x="630" y="805"/>
                      <a:pt x="630" y="812"/>
                    </a:cubicBezTo>
                    <a:cubicBezTo>
                      <a:pt x="630" y="818"/>
                      <a:pt x="636" y="824"/>
                      <a:pt x="642" y="824"/>
                    </a:cubicBezTo>
                    <a:cubicBezTo>
                      <a:pt x="649" y="824"/>
                      <a:pt x="655" y="818"/>
                      <a:pt x="655" y="812"/>
                    </a:cubicBezTo>
                    <a:cubicBezTo>
                      <a:pt x="655" y="805"/>
                      <a:pt x="649" y="799"/>
                      <a:pt x="642" y="799"/>
                    </a:cubicBezTo>
                    <a:close/>
                    <a:moveTo>
                      <a:pt x="642" y="646"/>
                    </a:moveTo>
                    <a:cubicBezTo>
                      <a:pt x="636" y="646"/>
                      <a:pt x="630" y="651"/>
                      <a:pt x="630" y="658"/>
                    </a:cubicBezTo>
                    <a:cubicBezTo>
                      <a:pt x="630" y="665"/>
                      <a:pt x="636" y="670"/>
                      <a:pt x="642" y="670"/>
                    </a:cubicBezTo>
                    <a:cubicBezTo>
                      <a:pt x="649" y="670"/>
                      <a:pt x="655" y="665"/>
                      <a:pt x="655" y="658"/>
                    </a:cubicBezTo>
                    <a:cubicBezTo>
                      <a:pt x="655" y="651"/>
                      <a:pt x="649" y="646"/>
                      <a:pt x="642" y="646"/>
                    </a:cubicBezTo>
                    <a:close/>
                    <a:moveTo>
                      <a:pt x="642" y="461"/>
                    </a:moveTo>
                    <a:cubicBezTo>
                      <a:pt x="636" y="461"/>
                      <a:pt x="630" y="467"/>
                      <a:pt x="630" y="473"/>
                    </a:cubicBezTo>
                    <a:cubicBezTo>
                      <a:pt x="630" y="480"/>
                      <a:pt x="636" y="486"/>
                      <a:pt x="642" y="486"/>
                    </a:cubicBezTo>
                    <a:cubicBezTo>
                      <a:pt x="649" y="486"/>
                      <a:pt x="655" y="480"/>
                      <a:pt x="655" y="473"/>
                    </a:cubicBezTo>
                    <a:cubicBezTo>
                      <a:pt x="655" y="467"/>
                      <a:pt x="649" y="461"/>
                      <a:pt x="642" y="461"/>
                    </a:cubicBezTo>
                    <a:close/>
                    <a:moveTo>
                      <a:pt x="642" y="400"/>
                    </a:moveTo>
                    <a:cubicBezTo>
                      <a:pt x="636" y="400"/>
                      <a:pt x="630" y="405"/>
                      <a:pt x="630" y="412"/>
                    </a:cubicBezTo>
                    <a:cubicBezTo>
                      <a:pt x="630" y="419"/>
                      <a:pt x="636" y="424"/>
                      <a:pt x="642" y="424"/>
                    </a:cubicBezTo>
                    <a:cubicBezTo>
                      <a:pt x="649" y="424"/>
                      <a:pt x="655" y="419"/>
                      <a:pt x="655" y="412"/>
                    </a:cubicBezTo>
                    <a:cubicBezTo>
                      <a:pt x="655" y="405"/>
                      <a:pt x="649" y="400"/>
                      <a:pt x="642" y="400"/>
                    </a:cubicBezTo>
                    <a:close/>
                    <a:moveTo>
                      <a:pt x="642" y="492"/>
                    </a:moveTo>
                    <a:cubicBezTo>
                      <a:pt x="636" y="492"/>
                      <a:pt x="630" y="497"/>
                      <a:pt x="630" y="504"/>
                    </a:cubicBezTo>
                    <a:cubicBezTo>
                      <a:pt x="630" y="511"/>
                      <a:pt x="636" y="516"/>
                      <a:pt x="642" y="516"/>
                    </a:cubicBezTo>
                    <a:cubicBezTo>
                      <a:pt x="649" y="516"/>
                      <a:pt x="655" y="511"/>
                      <a:pt x="655" y="504"/>
                    </a:cubicBezTo>
                    <a:cubicBezTo>
                      <a:pt x="655" y="497"/>
                      <a:pt x="649" y="492"/>
                      <a:pt x="642" y="492"/>
                    </a:cubicBezTo>
                    <a:close/>
                    <a:moveTo>
                      <a:pt x="642" y="430"/>
                    </a:moveTo>
                    <a:cubicBezTo>
                      <a:pt x="636" y="430"/>
                      <a:pt x="630" y="436"/>
                      <a:pt x="630" y="443"/>
                    </a:cubicBezTo>
                    <a:cubicBezTo>
                      <a:pt x="630" y="449"/>
                      <a:pt x="636" y="455"/>
                      <a:pt x="642" y="455"/>
                    </a:cubicBezTo>
                    <a:cubicBezTo>
                      <a:pt x="649" y="455"/>
                      <a:pt x="655" y="449"/>
                      <a:pt x="655" y="443"/>
                    </a:cubicBezTo>
                    <a:cubicBezTo>
                      <a:pt x="655" y="436"/>
                      <a:pt x="649" y="430"/>
                      <a:pt x="642" y="430"/>
                    </a:cubicBezTo>
                    <a:close/>
                    <a:moveTo>
                      <a:pt x="642" y="584"/>
                    </a:moveTo>
                    <a:cubicBezTo>
                      <a:pt x="636" y="584"/>
                      <a:pt x="630" y="590"/>
                      <a:pt x="630" y="596"/>
                    </a:cubicBezTo>
                    <a:cubicBezTo>
                      <a:pt x="630" y="603"/>
                      <a:pt x="636" y="608"/>
                      <a:pt x="642" y="608"/>
                    </a:cubicBezTo>
                    <a:cubicBezTo>
                      <a:pt x="649" y="608"/>
                      <a:pt x="655" y="603"/>
                      <a:pt x="655" y="596"/>
                    </a:cubicBezTo>
                    <a:cubicBezTo>
                      <a:pt x="655" y="590"/>
                      <a:pt x="649" y="584"/>
                      <a:pt x="642" y="584"/>
                    </a:cubicBezTo>
                    <a:close/>
                    <a:moveTo>
                      <a:pt x="642" y="615"/>
                    </a:moveTo>
                    <a:cubicBezTo>
                      <a:pt x="636" y="615"/>
                      <a:pt x="630" y="620"/>
                      <a:pt x="630" y="627"/>
                    </a:cubicBezTo>
                    <a:cubicBezTo>
                      <a:pt x="630" y="634"/>
                      <a:pt x="636" y="639"/>
                      <a:pt x="642" y="639"/>
                    </a:cubicBezTo>
                    <a:cubicBezTo>
                      <a:pt x="649" y="639"/>
                      <a:pt x="655" y="634"/>
                      <a:pt x="655" y="627"/>
                    </a:cubicBezTo>
                    <a:cubicBezTo>
                      <a:pt x="655" y="620"/>
                      <a:pt x="649" y="615"/>
                      <a:pt x="642" y="615"/>
                    </a:cubicBezTo>
                    <a:close/>
                    <a:moveTo>
                      <a:pt x="642" y="523"/>
                    </a:moveTo>
                    <a:cubicBezTo>
                      <a:pt x="636" y="523"/>
                      <a:pt x="630" y="528"/>
                      <a:pt x="630" y="535"/>
                    </a:cubicBezTo>
                    <a:cubicBezTo>
                      <a:pt x="630" y="542"/>
                      <a:pt x="636" y="547"/>
                      <a:pt x="642" y="547"/>
                    </a:cubicBezTo>
                    <a:cubicBezTo>
                      <a:pt x="649" y="547"/>
                      <a:pt x="655" y="542"/>
                      <a:pt x="655" y="535"/>
                    </a:cubicBezTo>
                    <a:cubicBezTo>
                      <a:pt x="655" y="528"/>
                      <a:pt x="649" y="523"/>
                      <a:pt x="642" y="523"/>
                    </a:cubicBezTo>
                    <a:close/>
                    <a:moveTo>
                      <a:pt x="642" y="553"/>
                    </a:moveTo>
                    <a:cubicBezTo>
                      <a:pt x="636" y="553"/>
                      <a:pt x="630" y="559"/>
                      <a:pt x="630" y="566"/>
                    </a:cubicBezTo>
                    <a:cubicBezTo>
                      <a:pt x="630" y="572"/>
                      <a:pt x="636" y="578"/>
                      <a:pt x="642" y="578"/>
                    </a:cubicBezTo>
                    <a:cubicBezTo>
                      <a:pt x="649" y="578"/>
                      <a:pt x="655" y="572"/>
                      <a:pt x="655" y="566"/>
                    </a:cubicBezTo>
                    <a:cubicBezTo>
                      <a:pt x="655" y="559"/>
                      <a:pt x="649" y="553"/>
                      <a:pt x="642" y="553"/>
                    </a:cubicBezTo>
                    <a:close/>
                    <a:moveTo>
                      <a:pt x="713" y="707"/>
                    </a:moveTo>
                    <a:cubicBezTo>
                      <a:pt x="706" y="707"/>
                      <a:pt x="700" y="713"/>
                      <a:pt x="700" y="719"/>
                    </a:cubicBezTo>
                    <a:cubicBezTo>
                      <a:pt x="700" y="726"/>
                      <a:pt x="706" y="731"/>
                      <a:pt x="713" y="731"/>
                    </a:cubicBezTo>
                    <a:cubicBezTo>
                      <a:pt x="719" y="731"/>
                      <a:pt x="725" y="726"/>
                      <a:pt x="725" y="719"/>
                    </a:cubicBezTo>
                    <a:cubicBezTo>
                      <a:pt x="725" y="713"/>
                      <a:pt x="719" y="707"/>
                      <a:pt x="713" y="707"/>
                    </a:cubicBezTo>
                    <a:close/>
                    <a:moveTo>
                      <a:pt x="713" y="430"/>
                    </a:moveTo>
                    <a:cubicBezTo>
                      <a:pt x="706" y="430"/>
                      <a:pt x="700" y="436"/>
                      <a:pt x="700" y="443"/>
                    </a:cubicBezTo>
                    <a:cubicBezTo>
                      <a:pt x="700" y="449"/>
                      <a:pt x="706" y="455"/>
                      <a:pt x="713" y="455"/>
                    </a:cubicBezTo>
                    <a:cubicBezTo>
                      <a:pt x="719" y="455"/>
                      <a:pt x="725" y="449"/>
                      <a:pt x="725" y="443"/>
                    </a:cubicBezTo>
                    <a:cubicBezTo>
                      <a:pt x="725" y="436"/>
                      <a:pt x="719" y="430"/>
                      <a:pt x="713" y="430"/>
                    </a:cubicBezTo>
                    <a:close/>
                    <a:moveTo>
                      <a:pt x="713" y="492"/>
                    </a:moveTo>
                    <a:cubicBezTo>
                      <a:pt x="706" y="492"/>
                      <a:pt x="700" y="497"/>
                      <a:pt x="700" y="504"/>
                    </a:cubicBezTo>
                    <a:cubicBezTo>
                      <a:pt x="700" y="511"/>
                      <a:pt x="706" y="516"/>
                      <a:pt x="713" y="516"/>
                    </a:cubicBezTo>
                    <a:cubicBezTo>
                      <a:pt x="719" y="516"/>
                      <a:pt x="725" y="511"/>
                      <a:pt x="725" y="504"/>
                    </a:cubicBezTo>
                    <a:cubicBezTo>
                      <a:pt x="725" y="497"/>
                      <a:pt x="719" y="492"/>
                      <a:pt x="713" y="492"/>
                    </a:cubicBezTo>
                    <a:close/>
                    <a:moveTo>
                      <a:pt x="713" y="461"/>
                    </a:moveTo>
                    <a:cubicBezTo>
                      <a:pt x="706" y="461"/>
                      <a:pt x="700" y="467"/>
                      <a:pt x="700" y="473"/>
                    </a:cubicBezTo>
                    <a:cubicBezTo>
                      <a:pt x="700" y="480"/>
                      <a:pt x="706" y="486"/>
                      <a:pt x="713" y="486"/>
                    </a:cubicBezTo>
                    <a:cubicBezTo>
                      <a:pt x="719" y="486"/>
                      <a:pt x="725" y="480"/>
                      <a:pt x="725" y="473"/>
                    </a:cubicBezTo>
                    <a:cubicBezTo>
                      <a:pt x="725" y="467"/>
                      <a:pt x="719" y="461"/>
                      <a:pt x="713" y="461"/>
                    </a:cubicBezTo>
                    <a:close/>
                    <a:moveTo>
                      <a:pt x="713" y="369"/>
                    </a:moveTo>
                    <a:cubicBezTo>
                      <a:pt x="706" y="369"/>
                      <a:pt x="700" y="374"/>
                      <a:pt x="700" y="381"/>
                    </a:cubicBezTo>
                    <a:cubicBezTo>
                      <a:pt x="700" y="388"/>
                      <a:pt x="706" y="393"/>
                      <a:pt x="713" y="393"/>
                    </a:cubicBezTo>
                    <a:cubicBezTo>
                      <a:pt x="719" y="393"/>
                      <a:pt x="725" y="388"/>
                      <a:pt x="725" y="381"/>
                    </a:cubicBezTo>
                    <a:cubicBezTo>
                      <a:pt x="725" y="374"/>
                      <a:pt x="719" y="369"/>
                      <a:pt x="713" y="369"/>
                    </a:cubicBezTo>
                    <a:close/>
                    <a:moveTo>
                      <a:pt x="713" y="400"/>
                    </a:moveTo>
                    <a:cubicBezTo>
                      <a:pt x="706" y="400"/>
                      <a:pt x="700" y="405"/>
                      <a:pt x="700" y="412"/>
                    </a:cubicBezTo>
                    <a:cubicBezTo>
                      <a:pt x="700" y="419"/>
                      <a:pt x="706" y="424"/>
                      <a:pt x="713" y="424"/>
                    </a:cubicBezTo>
                    <a:cubicBezTo>
                      <a:pt x="719" y="424"/>
                      <a:pt x="725" y="419"/>
                      <a:pt x="725" y="412"/>
                    </a:cubicBezTo>
                    <a:cubicBezTo>
                      <a:pt x="725" y="405"/>
                      <a:pt x="719" y="400"/>
                      <a:pt x="713" y="400"/>
                    </a:cubicBezTo>
                    <a:close/>
                    <a:moveTo>
                      <a:pt x="713" y="584"/>
                    </a:moveTo>
                    <a:cubicBezTo>
                      <a:pt x="706" y="584"/>
                      <a:pt x="700" y="590"/>
                      <a:pt x="700" y="596"/>
                    </a:cubicBezTo>
                    <a:cubicBezTo>
                      <a:pt x="700" y="603"/>
                      <a:pt x="706" y="608"/>
                      <a:pt x="713" y="608"/>
                    </a:cubicBezTo>
                    <a:cubicBezTo>
                      <a:pt x="719" y="608"/>
                      <a:pt x="725" y="603"/>
                      <a:pt x="725" y="596"/>
                    </a:cubicBezTo>
                    <a:cubicBezTo>
                      <a:pt x="725" y="590"/>
                      <a:pt x="719" y="584"/>
                      <a:pt x="713" y="584"/>
                    </a:cubicBezTo>
                    <a:close/>
                    <a:moveTo>
                      <a:pt x="713" y="523"/>
                    </a:moveTo>
                    <a:cubicBezTo>
                      <a:pt x="706" y="523"/>
                      <a:pt x="700" y="528"/>
                      <a:pt x="700" y="535"/>
                    </a:cubicBezTo>
                    <a:cubicBezTo>
                      <a:pt x="700" y="542"/>
                      <a:pt x="706" y="547"/>
                      <a:pt x="713" y="547"/>
                    </a:cubicBezTo>
                    <a:cubicBezTo>
                      <a:pt x="719" y="547"/>
                      <a:pt x="725" y="542"/>
                      <a:pt x="725" y="535"/>
                    </a:cubicBezTo>
                    <a:cubicBezTo>
                      <a:pt x="725" y="528"/>
                      <a:pt x="719" y="523"/>
                      <a:pt x="713" y="523"/>
                    </a:cubicBezTo>
                    <a:close/>
                    <a:moveTo>
                      <a:pt x="713" y="646"/>
                    </a:moveTo>
                    <a:cubicBezTo>
                      <a:pt x="706" y="646"/>
                      <a:pt x="700" y="651"/>
                      <a:pt x="700" y="658"/>
                    </a:cubicBezTo>
                    <a:cubicBezTo>
                      <a:pt x="700" y="665"/>
                      <a:pt x="706" y="670"/>
                      <a:pt x="713" y="670"/>
                    </a:cubicBezTo>
                    <a:cubicBezTo>
                      <a:pt x="719" y="670"/>
                      <a:pt x="725" y="665"/>
                      <a:pt x="725" y="658"/>
                    </a:cubicBezTo>
                    <a:cubicBezTo>
                      <a:pt x="725" y="651"/>
                      <a:pt x="719" y="646"/>
                      <a:pt x="713" y="646"/>
                    </a:cubicBezTo>
                    <a:close/>
                    <a:moveTo>
                      <a:pt x="713" y="553"/>
                    </a:moveTo>
                    <a:cubicBezTo>
                      <a:pt x="706" y="553"/>
                      <a:pt x="700" y="559"/>
                      <a:pt x="700" y="566"/>
                    </a:cubicBezTo>
                    <a:cubicBezTo>
                      <a:pt x="700" y="572"/>
                      <a:pt x="706" y="578"/>
                      <a:pt x="713" y="578"/>
                    </a:cubicBezTo>
                    <a:cubicBezTo>
                      <a:pt x="719" y="578"/>
                      <a:pt x="725" y="572"/>
                      <a:pt x="725" y="566"/>
                    </a:cubicBezTo>
                    <a:cubicBezTo>
                      <a:pt x="725" y="559"/>
                      <a:pt x="719" y="553"/>
                      <a:pt x="713" y="553"/>
                    </a:cubicBezTo>
                    <a:close/>
                    <a:moveTo>
                      <a:pt x="713" y="615"/>
                    </a:moveTo>
                    <a:cubicBezTo>
                      <a:pt x="706" y="615"/>
                      <a:pt x="700" y="620"/>
                      <a:pt x="700" y="627"/>
                    </a:cubicBezTo>
                    <a:cubicBezTo>
                      <a:pt x="700" y="634"/>
                      <a:pt x="706" y="639"/>
                      <a:pt x="713" y="639"/>
                    </a:cubicBezTo>
                    <a:cubicBezTo>
                      <a:pt x="719" y="639"/>
                      <a:pt x="725" y="634"/>
                      <a:pt x="725" y="627"/>
                    </a:cubicBezTo>
                    <a:cubicBezTo>
                      <a:pt x="725" y="620"/>
                      <a:pt x="719" y="615"/>
                      <a:pt x="713" y="615"/>
                    </a:cubicBezTo>
                    <a:close/>
                    <a:moveTo>
                      <a:pt x="748" y="799"/>
                    </a:moveTo>
                    <a:cubicBezTo>
                      <a:pt x="741" y="799"/>
                      <a:pt x="735" y="805"/>
                      <a:pt x="735" y="812"/>
                    </a:cubicBezTo>
                    <a:cubicBezTo>
                      <a:pt x="735" y="818"/>
                      <a:pt x="741" y="824"/>
                      <a:pt x="748" y="824"/>
                    </a:cubicBezTo>
                    <a:cubicBezTo>
                      <a:pt x="754" y="824"/>
                      <a:pt x="760" y="818"/>
                      <a:pt x="760" y="812"/>
                    </a:cubicBezTo>
                    <a:cubicBezTo>
                      <a:pt x="760" y="805"/>
                      <a:pt x="754" y="799"/>
                      <a:pt x="748" y="799"/>
                    </a:cubicBezTo>
                    <a:close/>
                    <a:moveTo>
                      <a:pt x="748" y="769"/>
                    </a:moveTo>
                    <a:cubicBezTo>
                      <a:pt x="741" y="769"/>
                      <a:pt x="735" y="774"/>
                      <a:pt x="735" y="781"/>
                    </a:cubicBezTo>
                    <a:cubicBezTo>
                      <a:pt x="735" y="787"/>
                      <a:pt x="741" y="793"/>
                      <a:pt x="748" y="793"/>
                    </a:cubicBezTo>
                    <a:cubicBezTo>
                      <a:pt x="754" y="793"/>
                      <a:pt x="760" y="787"/>
                      <a:pt x="760" y="781"/>
                    </a:cubicBezTo>
                    <a:cubicBezTo>
                      <a:pt x="760" y="774"/>
                      <a:pt x="754" y="769"/>
                      <a:pt x="748" y="769"/>
                    </a:cubicBezTo>
                    <a:close/>
                    <a:moveTo>
                      <a:pt x="748" y="738"/>
                    </a:moveTo>
                    <a:cubicBezTo>
                      <a:pt x="741" y="738"/>
                      <a:pt x="735" y="743"/>
                      <a:pt x="735" y="750"/>
                    </a:cubicBezTo>
                    <a:cubicBezTo>
                      <a:pt x="735" y="757"/>
                      <a:pt x="741" y="762"/>
                      <a:pt x="748" y="762"/>
                    </a:cubicBezTo>
                    <a:cubicBezTo>
                      <a:pt x="754" y="762"/>
                      <a:pt x="760" y="757"/>
                      <a:pt x="760" y="750"/>
                    </a:cubicBezTo>
                    <a:cubicBezTo>
                      <a:pt x="760" y="743"/>
                      <a:pt x="754" y="738"/>
                      <a:pt x="748" y="738"/>
                    </a:cubicBezTo>
                    <a:close/>
                    <a:moveTo>
                      <a:pt x="748" y="707"/>
                    </a:moveTo>
                    <a:cubicBezTo>
                      <a:pt x="741" y="707"/>
                      <a:pt x="735" y="713"/>
                      <a:pt x="735" y="719"/>
                    </a:cubicBezTo>
                    <a:cubicBezTo>
                      <a:pt x="735" y="726"/>
                      <a:pt x="741" y="731"/>
                      <a:pt x="748" y="731"/>
                    </a:cubicBezTo>
                    <a:cubicBezTo>
                      <a:pt x="754" y="731"/>
                      <a:pt x="760" y="726"/>
                      <a:pt x="760" y="719"/>
                    </a:cubicBezTo>
                    <a:cubicBezTo>
                      <a:pt x="760" y="713"/>
                      <a:pt x="754" y="707"/>
                      <a:pt x="748" y="707"/>
                    </a:cubicBezTo>
                    <a:close/>
                    <a:moveTo>
                      <a:pt x="748" y="830"/>
                    </a:moveTo>
                    <a:cubicBezTo>
                      <a:pt x="741" y="830"/>
                      <a:pt x="735" y="836"/>
                      <a:pt x="735" y="842"/>
                    </a:cubicBezTo>
                    <a:cubicBezTo>
                      <a:pt x="735" y="849"/>
                      <a:pt x="741" y="854"/>
                      <a:pt x="748" y="854"/>
                    </a:cubicBezTo>
                    <a:cubicBezTo>
                      <a:pt x="754" y="854"/>
                      <a:pt x="760" y="849"/>
                      <a:pt x="760" y="842"/>
                    </a:cubicBezTo>
                    <a:cubicBezTo>
                      <a:pt x="760" y="836"/>
                      <a:pt x="754" y="830"/>
                      <a:pt x="748" y="830"/>
                    </a:cubicBezTo>
                    <a:close/>
                    <a:moveTo>
                      <a:pt x="713" y="307"/>
                    </a:moveTo>
                    <a:cubicBezTo>
                      <a:pt x="706" y="307"/>
                      <a:pt x="700" y="313"/>
                      <a:pt x="700" y="320"/>
                    </a:cubicBezTo>
                    <a:cubicBezTo>
                      <a:pt x="700" y="326"/>
                      <a:pt x="706" y="332"/>
                      <a:pt x="713" y="332"/>
                    </a:cubicBezTo>
                    <a:cubicBezTo>
                      <a:pt x="719" y="332"/>
                      <a:pt x="725" y="326"/>
                      <a:pt x="725" y="320"/>
                    </a:cubicBezTo>
                    <a:cubicBezTo>
                      <a:pt x="725" y="313"/>
                      <a:pt x="719" y="307"/>
                      <a:pt x="713" y="307"/>
                    </a:cubicBezTo>
                    <a:close/>
                    <a:moveTo>
                      <a:pt x="713" y="338"/>
                    </a:moveTo>
                    <a:cubicBezTo>
                      <a:pt x="706" y="338"/>
                      <a:pt x="700" y="344"/>
                      <a:pt x="700" y="350"/>
                    </a:cubicBezTo>
                    <a:cubicBezTo>
                      <a:pt x="700" y="357"/>
                      <a:pt x="706" y="363"/>
                      <a:pt x="713" y="363"/>
                    </a:cubicBezTo>
                    <a:cubicBezTo>
                      <a:pt x="719" y="363"/>
                      <a:pt x="725" y="357"/>
                      <a:pt x="725" y="350"/>
                    </a:cubicBezTo>
                    <a:cubicBezTo>
                      <a:pt x="725" y="344"/>
                      <a:pt x="719" y="338"/>
                      <a:pt x="713" y="338"/>
                    </a:cubicBezTo>
                    <a:close/>
                    <a:moveTo>
                      <a:pt x="748" y="892"/>
                    </a:moveTo>
                    <a:cubicBezTo>
                      <a:pt x="741" y="892"/>
                      <a:pt x="735" y="897"/>
                      <a:pt x="735" y="904"/>
                    </a:cubicBezTo>
                    <a:cubicBezTo>
                      <a:pt x="735" y="910"/>
                      <a:pt x="741" y="916"/>
                      <a:pt x="748" y="916"/>
                    </a:cubicBezTo>
                    <a:cubicBezTo>
                      <a:pt x="754" y="916"/>
                      <a:pt x="760" y="910"/>
                      <a:pt x="760" y="904"/>
                    </a:cubicBezTo>
                    <a:cubicBezTo>
                      <a:pt x="760" y="897"/>
                      <a:pt x="754" y="892"/>
                      <a:pt x="748" y="892"/>
                    </a:cubicBezTo>
                    <a:close/>
                    <a:moveTo>
                      <a:pt x="748" y="861"/>
                    </a:moveTo>
                    <a:cubicBezTo>
                      <a:pt x="741" y="861"/>
                      <a:pt x="735" y="866"/>
                      <a:pt x="735" y="873"/>
                    </a:cubicBezTo>
                    <a:cubicBezTo>
                      <a:pt x="735" y="880"/>
                      <a:pt x="741" y="885"/>
                      <a:pt x="748" y="885"/>
                    </a:cubicBezTo>
                    <a:cubicBezTo>
                      <a:pt x="754" y="885"/>
                      <a:pt x="760" y="880"/>
                      <a:pt x="760" y="873"/>
                    </a:cubicBezTo>
                    <a:cubicBezTo>
                      <a:pt x="760" y="866"/>
                      <a:pt x="754" y="861"/>
                      <a:pt x="748" y="861"/>
                    </a:cubicBezTo>
                    <a:close/>
                    <a:moveTo>
                      <a:pt x="677" y="400"/>
                    </a:moveTo>
                    <a:cubicBezTo>
                      <a:pt x="671" y="400"/>
                      <a:pt x="665" y="405"/>
                      <a:pt x="665" y="412"/>
                    </a:cubicBezTo>
                    <a:cubicBezTo>
                      <a:pt x="665" y="419"/>
                      <a:pt x="671" y="424"/>
                      <a:pt x="677" y="424"/>
                    </a:cubicBezTo>
                    <a:cubicBezTo>
                      <a:pt x="684" y="424"/>
                      <a:pt x="690" y="419"/>
                      <a:pt x="690" y="412"/>
                    </a:cubicBezTo>
                    <a:cubicBezTo>
                      <a:pt x="690" y="405"/>
                      <a:pt x="684" y="400"/>
                      <a:pt x="677" y="400"/>
                    </a:cubicBezTo>
                    <a:close/>
                    <a:moveTo>
                      <a:pt x="677" y="338"/>
                    </a:moveTo>
                    <a:cubicBezTo>
                      <a:pt x="671" y="338"/>
                      <a:pt x="665" y="344"/>
                      <a:pt x="665" y="350"/>
                    </a:cubicBezTo>
                    <a:cubicBezTo>
                      <a:pt x="665" y="357"/>
                      <a:pt x="671" y="363"/>
                      <a:pt x="677" y="363"/>
                    </a:cubicBezTo>
                    <a:cubicBezTo>
                      <a:pt x="684" y="363"/>
                      <a:pt x="690" y="357"/>
                      <a:pt x="690" y="350"/>
                    </a:cubicBezTo>
                    <a:cubicBezTo>
                      <a:pt x="690" y="344"/>
                      <a:pt x="684" y="338"/>
                      <a:pt x="677" y="338"/>
                    </a:cubicBezTo>
                    <a:close/>
                    <a:moveTo>
                      <a:pt x="677" y="307"/>
                    </a:moveTo>
                    <a:cubicBezTo>
                      <a:pt x="671" y="307"/>
                      <a:pt x="665" y="313"/>
                      <a:pt x="665" y="320"/>
                    </a:cubicBezTo>
                    <a:cubicBezTo>
                      <a:pt x="665" y="326"/>
                      <a:pt x="671" y="332"/>
                      <a:pt x="677" y="332"/>
                    </a:cubicBezTo>
                    <a:cubicBezTo>
                      <a:pt x="684" y="332"/>
                      <a:pt x="690" y="326"/>
                      <a:pt x="690" y="320"/>
                    </a:cubicBezTo>
                    <a:cubicBezTo>
                      <a:pt x="690" y="313"/>
                      <a:pt x="684" y="307"/>
                      <a:pt x="677" y="307"/>
                    </a:cubicBezTo>
                    <a:close/>
                    <a:moveTo>
                      <a:pt x="677" y="277"/>
                    </a:moveTo>
                    <a:cubicBezTo>
                      <a:pt x="671" y="277"/>
                      <a:pt x="665" y="282"/>
                      <a:pt x="665" y="289"/>
                    </a:cubicBezTo>
                    <a:cubicBezTo>
                      <a:pt x="665" y="296"/>
                      <a:pt x="671" y="301"/>
                      <a:pt x="677" y="301"/>
                    </a:cubicBezTo>
                    <a:cubicBezTo>
                      <a:pt x="684" y="301"/>
                      <a:pt x="690" y="296"/>
                      <a:pt x="690" y="289"/>
                    </a:cubicBezTo>
                    <a:cubicBezTo>
                      <a:pt x="690" y="282"/>
                      <a:pt x="684" y="277"/>
                      <a:pt x="677" y="277"/>
                    </a:cubicBezTo>
                    <a:close/>
                    <a:moveTo>
                      <a:pt x="642" y="953"/>
                    </a:moveTo>
                    <a:cubicBezTo>
                      <a:pt x="636" y="953"/>
                      <a:pt x="630" y="959"/>
                      <a:pt x="630" y="965"/>
                    </a:cubicBezTo>
                    <a:cubicBezTo>
                      <a:pt x="630" y="972"/>
                      <a:pt x="636" y="977"/>
                      <a:pt x="642" y="977"/>
                    </a:cubicBezTo>
                    <a:cubicBezTo>
                      <a:pt x="649" y="977"/>
                      <a:pt x="655" y="972"/>
                      <a:pt x="655" y="965"/>
                    </a:cubicBezTo>
                    <a:cubicBezTo>
                      <a:pt x="655" y="959"/>
                      <a:pt x="649" y="953"/>
                      <a:pt x="642" y="953"/>
                    </a:cubicBezTo>
                    <a:close/>
                    <a:moveTo>
                      <a:pt x="677" y="246"/>
                    </a:moveTo>
                    <a:cubicBezTo>
                      <a:pt x="671" y="246"/>
                      <a:pt x="665" y="251"/>
                      <a:pt x="665" y="258"/>
                    </a:cubicBezTo>
                    <a:cubicBezTo>
                      <a:pt x="665" y="265"/>
                      <a:pt x="671" y="270"/>
                      <a:pt x="677" y="270"/>
                    </a:cubicBezTo>
                    <a:cubicBezTo>
                      <a:pt x="684" y="270"/>
                      <a:pt x="690" y="265"/>
                      <a:pt x="690" y="258"/>
                    </a:cubicBezTo>
                    <a:cubicBezTo>
                      <a:pt x="690" y="251"/>
                      <a:pt x="684" y="246"/>
                      <a:pt x="677" y="246"/>
                    </a:cubicBezTo>
                    <a:close/>
                    <a:moveTo>
                      <a:pt x="677" y="369"/>
                    </a:moveTo>
                    <a:cubicBezTo>
                      <a:pt x="671" y="369"/>
                      <a:pt x="665" y="374"/>
                      <a:pt x="665" y="381"/>
                    </a:cubicBezTo>
                    <a:cubicBezTo>
                      <a:pt x="665" y="388"/>
                      <a:pt x="671" y="393"/>
                      <a:pt x="677" y="393"/>
                    </a:cubicBezTo>
                    <a:cubicBezTo>
                      <a:pt x="684" y="393"/>
                      <a:pt x="690" y="388"/>
                      <a:pt x="690" y="381"/>
                    </a:cubicBezTo>
                    <a:cubicBezTo>
                      <a:pt x="690" y="374"/>
                      <a:pt x="684" y="369"/>
                      <a:pt x="677" y="369"/>
                    </a:cubicBezTo>
                    <a:close/>
                    <a:moveTo>
                      <a:pt x="677" y="461"/>
                    </a:moveTo>
                    <a:cubicBezTo>
                      <a:pt x="671" y="461"/>
                      <a:pt x="665" y="467"/>
                      <a:pt x="665" y="473"/>
                    </a:cubicBezTo>
                    <a:cubicBezTo>
                      <a:pt x="665" y="480"/>
                      <a:pt x="671" y="486"/>
                      <a:pt x="677" y="486"/>
                    </a:cubicBezTo>
                    <a:cubicBezTo>
                      <a:pt x="684" y="486"/>
                      <a:pt x="690" y="480"/>
                      <a:pt x="690" y="473"/>
                    </a:cubicBezTo>
                    <a:cubicBezTo>
                      <a:pt x="690" y="467"/>
                      <a:pt x="684" y="461"/>
                      <a:pt x="677" y="461"/>
                    </a:cubicBezTo>
                    <a:close/>
                    <a:moveTo>
                      <a:pt x="677" y="430"/>
                    </a:moveTo>
                    <a:cubicBezTo>
                      <a:pt x="671" y="430"/>
                      <a:pt x="665" y="436"/>
                      <a:pt x="665" y="443"/>
                    </a:cubicBezTo>
                    <a:cubicBezTo>
                      <a:pt x="665" y="449"/>
                      <a:pt x="671" y="455"/>
                      <a:pt x="677" y="455"/>
                    </a:cubicBezTo>
                    <a:cubicBezTo>
                      <a:pt x="684" y="455"/>
                      <a:pt x="690" y="449"/>
                      <a:pt x="690" y="443"/>
                    </a:cubicBezTo>
                    <a:cubicBezTo>
                      <a:pt x="690" y="436"/>
                      <a:pt x="684" y="430"/>
                      <a:pt x="677" y="430"/>
                    </a:cubicBezTo>
                    <a:close/>
                    <a:moveTo>
                      <a:pt x="677" y="492"/>
                    </a:moveTo>
                    <a:cubicBezTo>
                      <a:pt x="671" y="492"/>
                      <a:pt x="665" y="497"/>
                      <a:pt x="665" y="504"/>
                    </a:cubicBezTo>
                    <a:cubicBezTo>
                      <a:pt x="665" y="511"/>
                      <a:pt x="671" y="516"/>
                      <a:pt x="677" y="516"/>
                    </a:cubicBezTo>
                    <a:cubicBezTo>
                      <a:pt x="684" y="516"/>
                      <a:pt x="690" y="511"/>
                      <a:pt x="690" y="504"/>
                    </a:cubicBezTo>
                    <a:cubicBezTo>
                      <a:pt x="690" y="497"/>
                      <a:pt x="684" y="492"/>
                      <a:pt x="677" y="492"/>
                    </a:cubicBezTo>
                    <a:close/>
                    <a:moveTo>
                      <a:pt x="713" y="738"/>
                    </a:moveTo>
                    <a:cubicBezTo>
                      <a:pt x="706" y="738"/>
                      <a:pt x="700" y="743"/>
                      <a:pt x="700" y="750"/>
                    </a:cubicBezTo>
                    <a:cubicBezTo>
                      <a:pt x="700" y="757"/>
                      <a:pt x="706" y="762"/>
                      <a:pt x="713" y="762"/>
                    </a:cubicBezTo>
                    <a:cubicBezTo>
                      <a:pt x="719" y="762"/>
                      <a:pt x="725" y="757"/>
                      <a:pt x="725" y="750"/>
                    </a:cubicBezTo>
                    <a:cubicBezTo>
                      <a:pt x="725" y="743"/>
                      <a:pt x="719" y="738"/>
                      <a:pt x="713" y="738"/>
                    </a:cubicBezTo>
                    <a:close/>
                    <a:moveTo>
                      <a:pt x="713" y="676"/>
                    </a:moveTo>
                    <a:cubicBezTo>
                      <a:pt x="706" y="676"/>
                      <a:pt x="700" y="682"/>
                      <a:pt x="700" y="689"/>
                    </a:cubicBezTo>
                    <a:cubicBezTo>
                      <a:pt x="700" y="695"/>
                      <a:pt x="706" y="701"/>
                      <a:pt x="713" y="701"/>
                    </a:cubicBezTo>
                    <a:cubicBezTo>
                      <a:pt x="719" y="701"/>
                      <a:pt x="725" y="695"/>
                      <a:pt x="725" y="689"/>
                    </a:cubicBezTo>
                    <a:cubicBezTo>
                      <a:pt x="725" y="682"/>
                      <a:pt x="719" y="676"/>
                      <a:pt x="713" y="676"/>
                    </a:cubicBezTo>
                    <a:close/>
                    <a:moveTo>
                      <a:pt x="713" y="769"/>
                    </a:moveTo>
                    <a:cubicBezTo>
                      <a:pt x="706" y="769"/>
                      <a:pt x="700" y="774"/>
                      <a:pt x="700" y="781"/>
                    </a:cubicBezTo>
                    <a:cubicBezTo>
                      <a:pt x="700" y="787"/>
                      <a:pt x="706" y="793"/>
                      <a:pt x="713" y="793"/>
                    </a:cubicBezTo>
                    <a:cubicBezTo>
                      <a:pt x="719" y="793"/>
                      <a:pt x="725" y="787"/>
                      <a:pt x="725" y="781"/>
                    </a:cubicBezTo>
                    <a:cubicBezTo>
                      <a:pt x="725" y="774"/>
                      <a:pt x="719" y="769"/>
                      <a:pt x="713" y="769"/>
                    </a:cubicBezTo>
                    <a:close/>
                    <a:moveTo>
                      <a:pt x="748" y="676"/>
                    </a:moveTo>
                    <a:cubicBezTo>
                      <a:pt x="741" y="676"/>
                      <a:pt x="735" y="682"/>
                      <a:pt x="735" y="689"/>
                    </a:cubicBezTo>
                    <a:cubicBezTo>
                      <a:pt x="735" y="695"/>
                      <a:pt x="741" y="701"/>
                      <a:pt x="748" y="701"/>
                    </a:cubicBezTo>
                    <a:cubicBezTo>
                      <a:pt x="754" y="701"/>
                      <a:pt x="760" y="695"/>
                      <a:pt x="760" y="689"/>
                    </a:cubicBezTo>
                    <a:cubicBezTo>
                      <a:pt x="760" y="682"/>
                      <a:pt x="754" y="676"/>
                      <a:pt x="748" y="676"/>
                    </a:cubicBezTo>
                    <a:close/>
                    <a:moveTo>
                      <a:pt x="713" y="799"/>
                    </a:moveTo>
                    <a:cubicBezTo>
                      <a:pt x="706" y="799"/>
                      <a:pt x="700" y="805"/>
                      <a:pt x="700" y="812"/>
                    </a:cubicBezTo>
                    <a:cubicBezTo>
                      <a:pt x="700" y="818"/>
                      <a:pt x="706" y="824"/>
                      <a:pt x="713" y="824"/>
                    </a:cubicBezTo>
                    <a:cubicBezTo>
                      <a:pt x="719" y="824"/>
                      <a:pt x="725" y="818"/>
                      <a:pt x="725" y="812"/>
                    </a:cubicBezTo>
                    <a:cubicBezTo>
                      <a:pt x="725" y="805"/>
                      <a:pt x="719" y="799"/>
                      <a:pt x="713" y="799"/>
                    </a:cubicBezTo>
                    <a:close/>
                    <a:moveTo>
                      <a:pt x="713" y="892"/>
                    </a:moveTo>
                    <a:cubicBezTo>
                      <a:pt x="706" y="892"/>
                      <a:pt x="700" y="897"/>
                      <a:pt x="700" y="904"/>
                    </a:cubicBezTo>
                    <a:cubicBezTo>
                      <a:pt x="700" y="910"/>
                      <a:pt x="706" y="916"/>
                      <a:pt x="713" y="916"/>
                    </a:cubicBezTo>
                    <a:cubicBezTo>
                      <a:pt x="719" y="916"/>
                      <a:pt x="725" y="910"/>
                      <a:pt x="725" y="904"/>
                    </a:cubicBezTo>
                    <a:cubicBezTo>
                      <a:pt x="725" y="897"/>
                      <a:pt x="719" y="892"/>
                      <a:pt x="713" y="892"/>
                    </a:cubicBezTo>
                    <a:close/>
                    <a:moveTo>
                      <a:pt x="713" y="922"/>
                    </a:moveTo>
                    <a:cubicBezTo>
                      <a:pt x="706" y="922"/>
                      <a:pt x="700" y="928"/>
                      <a:pt x="700" y="934"/>
                    </a:cubicBezTo>
                    <a:cubicBezTo>
                      <a:pt x="700" y="941"/>
                      <a:pt x="706" y="947"/>
                      <a:pt x="713" y="947"/>
                    </a:cubicBezTo>
                    <a:cubicBezTo>
                      <a:pt x="719" y="947"/>
                      <a:pt x="725" y="941"/>
                      <a:pt x="725" y="934"/>
                    </a:cubicBezTo>
                    <a:cubicBezTo>
                      <a:pt x="725" y="928"/>
                      <a:pt x="719" y="922"/>
                      <a:pt x="713" y="922"/>
                    </a:cubicBezTo>
                    <a:close/>
                    <a:moveTo>
                      <a:pt x="713" y="861"/>
                    </a:moveTo>
                    <a:cubicBezTo>
                      <a:pt x="706" y="861"/>
                      <a:pt x="700" y="866"/>
                      <a:pt x="700" y="873"/>
                    </a:cubicBezTo>
                    <a:cubicBezTo>
                      <a:pt x="700" y="880"/>
                      <a:pt x="706" y="885"/>
                      <a:pt x="713" y="885"/>
                    </a:cubicBezTo>
                    <a:cubicBezTo>
                      <a:pt x="719" y="885"/>
                      <a:pt x="725" y="880"/>
                      <a:pt x="725" y="873"/>
                    </a:cubicBezTo>
                    <a:cubicBezTo>
                      <a:pt x="725" y="866"/>
                      <a:pt x="719" y="861"/>
                      <a:pt x="713" y="861"/>
                    </a:cubicBezTo>
                    <a:close/>
                    <a:moveTo>
                      <a:pt x="713" y="830"/>
                    </a:moveTo>
                    <a:cubicBezTo>
                      <a:pt x="706" y="830"/>
                      <a:pt x="700" y="836"/>
                      <a:pt x="700" y="842"/>
                    </a:cubicBezTo>
                    <a:cubicBezTo>
                      <a:pt x="700" y="849"/>
                      <a:pt x="706" y="854"/>
                      <a:pt x="713" y="854"/>
                    </a:cubicBezTo>
                    <a:cubicBezTo>
                      <a:pt x="719" y="854"/>
                      <a:pt x="725" y="849"/>
                      <a:pt x="725" y="842"/>
                    </a:cubicBezTo>
                    <a:cubicBezTo>
                      <a:pt x="725" y="836"/>
                      <a:pt x="719" y="830"/>
                      <a:pt x="713" y="830"/>
                    </a:cubicBezTo>
                    <a:close/>
                  </a:path>
                </a:pathLst>
              </a:custGeom>
              <a:solidFill>
                <a:srgbClr val="FFFFFF"/>
              </a:solidFill>
              <a:ln>
                <a:noFill/>
              </a:ln>
              <a:extLst/>
            </p:spPr>
            <p:txBody>
              <a:bodyPr/>
              <a:lstStyle/>
              <a:p>
                <a:pPr>
                  <a:spcBef>
                    <a:spcPct val="50000"/>
                  </a:spcBef>
                  <a:defRPr/>
                </a:pPr>
                <a:endParaRPr lang="en-US">
                  <a:solidFill>
                    <a:srgbClr val="00A9D4"/>
                  </a:solidFill>
                  <a:latin typeface="Arial" charset="0"/>
                  <a:cs typeface="Arial" pitchFamily="34" charset="0"/>
                </a:endParaRPr>
              </a:p>
            </p:txBody>
          </p:sp>
          <p:sp>
            <p:nvSpPr>
              <p:cNvPr id="48" name="Freeform 11"/>
              <p:cNvSpPr>
                <a:spLocks noChangeAspect="1" noEditPoints="1"/>
              </p:cNvSpPr>
              <p:nvPr/>
            </p:nvSpPr>
            <p:spPr bwMode="auto">
              <a:xfrm>
                <a:off x="307975" y="1719263"/>
                <a:ext cx="2824163" cy="1592262"/>
              </a:xfrm>
              <a:custGeom>
                <a:avLst/>
                <a:gdLst>
                  <a:gd name="T0" fmla="*/ 2147483647 w 1461"/>
                  <a:gd name="T1" fmla="*/ 2147483647 h 824"/>
                  <a:gd name="T2" fmla="*/ 2147483647 w 1461"/>
                  <a:gd name="T3" fmla="*/ 2147483647 h 824"/>
                  <a:gd name="T4" fmla="*/ 2147483647 w 1461"/>
                  <a:gd name="T5" fmla="*/ 2147483647 h 824"/>
                  <a:gd name="T6" fmla="*/ 2147483647 w 1461"/>
                  <a:gd name="T7" fmla="*/ 2147483647 h 824"/>
                  <a:gd name="T8" fmla="*/ 2147483647 w 1461"/>
                  <a:gd name="T9" fmla="*/ 2147483647 h 824"/>
                  <a:gd name="T10" fmla="*/ 2147483647 w 1461"/>
                  <a:gd name="T11" fmla="*/ 2147483647 h 824"/>
                  <a:gd name="T12" fmla="*/ 2147483647 w 1461"/>
                  <a:gd name="T13" fmla="*/ 2147483647 h 824"/>
                  <a:gd name="T14" fmla="*/ 2147483647 w 1461"/>
                  <a:gd name="T15" fmla="*/ 2147483647 h 824"/>
                  <a:gd name="T16" fmla="*/ 2147483647 w 1461"/>
                  <a:gd name="T17" fmla="*/ 2147483647 h 824"/>
                  <a:gd name="T18" fmla="*/ 2147483647 w 1461"/>
                  <a:gd name="T19" fmla="*/ 2147483647 h 824"/>
                  <a:gd name="T20" fmla="*/ 2147483647 w 1461"/>
                  <a:gd name="T21" fmla="*/ 2147483647 h 824"/>
                  <a:gd name="T22" fmla="*/ 2147483647 w 1461"/>
                  <a:gd name="T23" fmla="*/ 2147483647 h 824"/>
                  <a:gd name="T24" fmla="*/ 2147483647 w 1461"/>
                  <a:gd name="T25" fmla="*/ 2147483647 h 824"/>
                  <a:gd name="T26" fmla="*/ 2147483647 w 1461"/>
                  <a:gd name="T27" fmla="*/ 2147483647 h 824"/>
                  <a:gd name="T28" fmla="*/ 2147483647 w 1461"/>
                  <a:gd name="T29" fmla="*/ 2147483647 h 824"/>
                  <a:gd name="T30" fmla="*/ 2147483647 w 1461"/>
                  <a:gd name="T31" fmla="*/ 2147483647 h 824"/>
                  <a:gd name="T32" fmla="*/ 2147483647 w 1461"/>
                  <a:gd name="T33" fmla="*/ 2147483647 h 824"/>
                  <a:gd name="T34" fmla="*/ 2147483647 w 1461"/>
                  <a:gd name="T35" fmla="*/ 2147483647 h 824"/>
                  <a:gd name="T36" fmla="*/ 2147483647 w 1461"/>
                  <a:gd name="T37" fmla="*/ 2147483647 h 824"/>
                  <a:gd name="T38" fmla="*/ 2147483647 w 1461"/>
                  <a:gd name="T39" fmla="*/ 2147483647 h 824"/>
                  <a:gd name="T40" fmla="*/ 2147483647 w 1461"/>
                  <a:gd name="T41" fmla="*/ 2147483647 h 824"/>
                  <a:gd name="T42" fmla="*/ 2147483647 w 1461"/>
                  <a:gd name="T43" fmla="*/ 2147483647 h 824"/>
                  <a:gd name="T44" fmla="*/ 2147483647 w 1461"/>
                  <a:gd name="T45" fmla="*/ 2147483647 h 824"/>
                  <a:gd name="T46" fmla="*/ 2147483647 w 1461"/>
                  <a:gd name="T47" fmla="*/ 2147483647 h 824"/>
                  <a:gd name="T48" fmla="*/ 2147483647 w 1461"/>
                  <a:gd name="T49" fmla="*/ 2147483647 h 824"/>
                  <a:gd name="T50" fmla="*/ 2147483647 w 1461"/>
                  <a:gd name="T51" fmla="*/ 2147483647 h 824"/>
                  <a:gd name="T52" fmla="*/ 2147483647 w 1461"/>
                  <a:gd name="T53" fmla="*/ 2147483647 h 824"/>
                  <a:gd name="T54" fmla="*/ 2147483647 w 1461"/>
                  <a:gd name="T55" fmla="*/ 2147483647 h 824"/>
                  <a:gd name="T56" fmla="*/ 2147483647 w 1461"/>
                  <a:gd name="T57" fmla="*/ 2147483647 h 824"/>
                  <a:gd name="T58" fmla="*/ 2147483647 w 1461"/>
                  <a:gd name="T59" fmla="*/ 2147483647 h 824"/>
                  <a:gd name="T60" fmla="*/ 2147483647 w 1461"/>
                  <a:gd name="T61" fmla="*/ 2147483647 h 824"/>
                  <a:gd name="T62" fmla="*/ 2147483647 w 1461"/>
                  <a:gd name="T63" fmla="*/ 2147483647 h 824"/>
                  <a:gd name="T64" fmla="*/ 2147483647 w 1461"/>
                  <a:gd name="T65" fmla="*/ 2147483647 h 824"/>
                  <a:gd name="T66" fmla="*/ 2147483647 w 1461"/>
                  <a:gd name="T67" fmla="*/ 2147483647 h 824"/>
                  <a:gd name="T68" fmla="*/ 2147483647 w 1461"/>
                  <a:gd name="T69" fmla="*/ 2147483647 h 824"/>
                  <a:gd name="T70" fmla="*/ 2147483647 w 1461"/>
                  <a:gd name="T71" fmla="*/ 2147483647 h 824"/>
                  <a:gd name="T72" fmla="*/ 2147483647 w 1461"/>
                  <a:gd name="T73" fmla="*/ 2147483647 h 824"/>
                  <a:gd name="T74" fmla="*/ 2147483647 w 1461"/>
                  <a:gd name="T75" fmla="*/ 2147483647 h 824"/>
                  <a:gd name="T76" fmla="*/ 2147483647 w 1461"/>
                  <a:gd name="T77" fmla="*/ 2147483647 h 824"/>
                  <a:gd name="T78" fmla="*/ 2147483647 w 1461"/>
                  <a:gd name="T79" fmla="*/ 2147483647 h 824"/>
                  <a:gd name="T80" fmla="*/ 2147483647 w 1461"/>
                  <a:gd name="T81" fmla="*/ 2147483647 h 824"/>
                  <a:gd name="T82" fmla="*/ 2147483647 w 1461"/>
                  <a:gd name="T83" fmla="*/ 2147483647 h 824"/>
                  <a:gd name="T84" fmla="*/ 2147483647 w 1461"/>
                  <a:gd name="T85" fmla="*/ 2147483647 h 824"/>
                  <a:gd name="T86" fmla="*/ 2147483647 w 1461"/>
                  <a:gd name="T87" fmla="*/ 2147483647 h 824"/>
                  <a:gd name="T88" fmla="*/ 2147483647 w 1461"/>
                  <a:gd name="T89" fmla="*/ 2147483647 h 824"/>
                  <a:gd name="T90" fmla="*/ 2147483647 w 1461"/>
                  <a:gd name="T91" fmla="*/ 2147483647 h 824"/>
                  <a:gd name="T92" fmla="*/ 2147483647 w 1461"/>
                  <a:gd name="T93" fmla="*/ 2147483647 h 824"/>
                  <a:gd name="T94" fmla="*/ 2147483647 w 1461"/>
                  <a:gd name="T95" fmla="*/ 2147483647 h 824"/>
                  <a:gd name="T96" fmla="*/ 2147483647 w 1461"/>
                  <a:gd name="T97" fmla="*/ 2147483647 h 824"/>
                  <a:gd name="T98" fmla="*/ 2147483647 w 1461"/>
                  <a:gd name="T99" fmla="*/ 2147483647 h 824"/>
                  <a:gd name="T100" fmla="*/ 2147483647 w 1461"/>
                  <a:gd name="T101" fmla="*/ 2147483647 h 824"/>
                  <a:gd name="T102" fmla="*/ 2147483647 w 1461"/>
                  <a:gd name="T103" fmla="*/ 2147483647 h 824"/>
                  <a:gd name="T104" fmla="*/ 2147483647 w 1461"/>
                  <a:gd name="T105" fmla="*/ 2147483647 h 824"/>
                  <a:gd name="T106" fmla="*/ 2147483647 w 1461"/>
                  <a:gd name="T107" fmla="*/ 2147483647 h 824"/>
                  <a:gd name="T108" fmla="*/ 2147483647 w 1461"/>
                  <a:gd name="T109" fmla="*/ 2147483647 h 824"/>
                  <a:gd name="T110" fmla="*/ 2147483647 w 1461"/>
                  <a:gd name="T111" fmla="*/ 2147483647 h 824"/>
                  <a:gd name="T112" fmla="*/ 2147483647 w 1461"/>
                  <a:gd name="T113" fmla="*/ 2147483647 h 824"/>
                  <a:gd name="T114" fmla="*/ 2147483647 w 1461"/>
                  <a:gd name="T115" fmla="*/ 2147483647 h 824"/>
                  <a:gd name="T116" fmla="*/ 2147483647 w 1461"/>
                  <a:gd name="T117" fmla="*/ 2147483647 h 824"/>
                  <a:gd name="T118" fmla="*/ 2147483647 w 1461"/>
                  <a:gd name="T119" fmla="*/ 2147483647 h 824"/>
                  <a:gd name="T120" fmla="*/ 2147483647 w 1461"/>
                  <a:gd name="T121" fmla="*/ 2147483647 h 824"/>
                  <a:gd name="T122" fmla="*/ 2147483647 w 1461"/>
                  <a:gd name="T123" fmla="*/ 2147483647 h 82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461" h="824">
                    <a:moveTo>
                      <a:pt x="1379" y="431"/>
                    </a:moveTo>
                    <a:cubicBezTo>
                      <a:pt x="1372" y="431"/>
                      <a:pt x="1366" y="436"/>
                      <a:pt x="1366" y="443"/>
                    </a:cubicBezTo>
                    <a:cubicBezTo>
                      <a:pt x="1366" y="449"/>
                      <a:pt x="1372" y="455"/>
                      <a:pt x="1379" y="455"/>
                    </a:cubicBezTo>
                    <a:cubicBezTo>
                      <a:pt x="1385" y="455"/>
                      <a:pt x="1391" y="449"/>
                      <a:pt x="1391" y="443"/>
                    </a:cubicBezTo>
                    <a:cubicBezTo>
                      <a:pt x="1391" y="436"/>
                      <a:pt x="1385" y="431"/>
                      <a:pt x="1379" y="431"/>
                    </a:cubicBezTo>
                    <a:close/>
                    <a:moveTo>
                      <a:pt x="1379" y="338"/>
                    </a:moveTo>
                    <a:cubicBezTo>
                      <a:pt x="1372" y="338"/>
                      <a:pt x="1366" y="344"/>
                      <a:pt x="1366" y="351"/>
                    </a:cubicBezTo>
                    <a:cubicBezTo>
                      <a:pt x="1366" y="357"/>
                      <a:pt x="1372" y="363"/>
                      <a:pt x="1379" y="363"/>
                    </a:cubicBezTo>
                    <a:cubicBezTo>
                      <a:pt x="1385" y="363"/>
                      <a:pt x="1391" y="357"/>
                      <a:pt x="1391" y="351"/>
                    </a:cubicBezTo>
                    <a:cubicBezTo>
                      <a:pt x="1391" y="344"/>
                      <a:pt x="1385" y="338"/>
                      <a:pt x="1379" y="338"/>
                    </a:cubicBezTo>
                    <a:close/>
                    <a:moveTo>
                      <a:pt x="1379" y="369"/>
                    </a:moveTo>
                    <a:cubicBezTo>
                      <a:pt x="1372" y="369"/>
                      <a:pt x="1366" y="375"/>
                      <a:pt x="1366" y="381"/>
                    </a:cubicBezTo>
                    <a:cubicBezTo>
                      <a:pt x="1366" y="388"/>
                      <a:pt x="1372" y="393"/>
                      <a:pt x="1379" y="393"/>
                    </a:cubicBezTo>
                    <a:cubicBezTo>
                      <a:pt x="1385" y="393"/>
                      <a:pt x="1391" y="388"/>
                      <a:pt x="1391" y="381"/>
                    </a:cubicBezTo>
                    <a:cubicBezTo>
                      <a:pt x="1391" y="375"/>
                      <a:pt x="1385" y="369"/>
                      <a:pt x="1379" y="369"/>
                    </a:cubicBezTo>
                    <a:close/>
                    <a:moveTo>
                      <a:pt x="1308" y="461"/>
                    </a:moveTo>
                    <a:cubicBezTo>
                      <a:pt x="1302" y="461"/>
                      <a:pt x="1296" y="467"/>
                      <a:pt x="1296" y="474"/>
                    </a:cubicBezTo>
                    <a:cubicBezTo>
                      <a:pt x="1296" y="480"/>
                      <a:pt x="1302" y="486"/>
                      <a:pt x="1308" y="486"/>
                    </a:cubicBezTo>
                    <a:cubicBezTo>
                      <a:pt x="1315" y="486"/>
                      <a:pt x="1321" y="480"/>
                      <a:pt x="1321" y="474"/>
                    </a:cubicBezTo>
                    <a:cubicBezTo>
                      <a:pt x="1321" y="467"/>
                      <a:pt x="1315" y="461"/>
                      <a:pt x="1308" y="461"/>
                    </a:cubicBezTo>
                    <a:close/>
                    <a:moveTo>
                      <a:pt x="1308" y="400"/>
                    </a:moveTo>
                    <a:cubicBezTo>
                      <a:pt x="1302" y="400"/>
                      <a:pt x="1296" y="405"/>
                      <a:pt x="1296" y="412"/>
                    </a:cubicBezTo>
                    <a:cubicBezTo>
                      <a:pt x="1296" y="419"/>
                      <a:pt x="1302" y="424"/>
                      <a:pt x="1308" y="424"/>
                    </a:cubicBezTo>
                    <a:cubicBezTo>
                      <a:pt x="1315" y="424"/>
                      <a:pt x="1321" y="419"/>
                      <a:pt x="1321" y="412"/>
                    </a:cubicBezTo>
                    <a:cubicBezTo>
                      <a:pt x="1321" y="405"/>
                      <a:pt x="1315" y="400"/>
                      <a:pt x="1308" y="400"/>
                    </a:cubicBezTo>
                    <a:close/>
                    <a:moveTo>
                      <a:pt x="1308" y="369"/>
                    </a:moveTo>
                    <a:cubicBezTo>
                      <a:pt x="1302" y="369"/>
                      <a:pt x="1296" y="375"/>
                      <a:pt x="1296" y="381"/>
                    </a:cubicBezTo>
                    <a:cubicBezTo>
                      <a:pt x="1296" y="388"/>
                      <a:pt x="1302" y="393"/>
                      <a:pt x="1308" y="393"/>
                    </a:cubicBezTo>
                    <a:cubicBezTo>
                      <a:pt x="1315" y="393"/>
                      <a:pt x="1321" y="388"/>
                      <a:pt x="1321" y="381"/>
                    </a:cubicBezTo>
                    <a:cubicBezTo>
                      <a:pt x="1321" y="375"/>
                      <a:pt x="1315" y="369"/>
                      <a:pt x="1308" y="369"/>
                    </a:cubicBezTo>
                    <a:close/>
                    <a:moveTo>
                      <a:pt x="1308" y="338"/>
                    </a:moveTo>
                    <a:cubicBezTo>
                      <a:pt x="1302" y="338"/>
                      <a:pt x="1296" y="344"/>
                      <a:pt x="1296" y="351"/>
                    </a:cubicBezTo>
                    <a:cubicBezTo>
                      <a:pt x="1296" y="357"/>
                      <a:pt x="1302" y="363"/>
                      <a:pt x="1308" y="363"/>
                    </a:cubicBezTo>
                    <a:cubicBezTo>
                      <a:pt x="1315" y="363"/>
                      <a:pt x="1321" y="357"/>
                      <a:pt x="1321" y="351"/>
                    </a:cubicBezTo>
                    <a:cubicBezTo>
                      <a:pt x="1321" y="344"/>
                      <a:pt x="1315" y="338"/>
                      <a:pt x="1308" y="338"/>
                    </a:cubicBezTo>
                    <a:close/>
                    <a:moveTo>
                      <a:pt x="1308" y="277"/>
                    </a:moveTo>
                    <a:cubicBezTo>
                      <a:pt x="1302" y="277"/>
                      <a:pt x="1296" y="282"/>
                      <a:pt x="1296" y="289"/>
                    </a:cubicBezTo>
                    <a:cubicBezTo>
                      <a:pt x="1296" y="296"/>
                      <a:pt x="1302" y="301"/>
                      <a:pt x="1308" y="301"/>
                    </a:cubicBezTo>
                    <a:cubicBezTo>
                      <a:pt x="1315" y="301"/>
                      <a:pt x="1321" y="296"/>
                      <a:pt x="1321" y="289"/>
                    </a:cubicBezTo>
                    <a:cubicBezTo>
                      <a:pt x="1321" y="282"/>
                      <a:pt x="1315" y="277"/>
                      <a:pt x="1308" y="277"/>
                    </a:cubicBezTo>
                    <a:close/>
                    <a:moveTo>
                      <a:pt x="1308" y="154"/>
                    </a:moveTo>
                    <a:cubicBezTo>
                      <a:pt x="1302" y="154"/>
                      <a:pt x="1296" y="159"/>
                      <a:pt x="1296" y="166"/>
                    </a:cubicBezTo>
                    <a:cubicBezTo>
                      <a:pt x="1296" y="173"/>
                      <a:pt x="1302" y="178"/>
                      <a:pt x="1308" y="178"/>
                    </a:cubicBezTo>
                    <a:cubicBezTo>
                      <a:pt x="1315" y="178"/>
                      <a:pt x="1321" y="173"/>
                      <a:pt x="1321" y="166"/>
                    </a:cubicBezTo>
                    <a:cubicBezTo>
                      <a:pt x="1321" y="159"/>
                      <a:pt x="1315" y="154"/>
                      <a:pt x="1308" y="154"/>
                    </a:cubicBezTo>
                    <a:close/>
                    <a:moveTo>
                      <a:pt x="1308" y="308"/>
                    </a:moveTo>
                    <a:cubicBezTo>
                      <a:pt x="1302" y="308"/>
                      <a:pt x="1296" y="313"/>
                      <a:pt x="1296" y="320"/>
                    </a:cubicBezTo>
                    <a:cubicBezTo>
                      <a:pt x="1296" y="327"/>
                      <a:pt x="1302" y="332"/>
                      <a:pt x="1308" y="332"/>
                    </a:cubicBezTo>
                    <a:cubicBezTo>
                      <a:pt x="1315" y="332"/>
                      <a:pt x="1321" y="327"/>
                      <a:pt x="1321" y="320"/>
                    </a:cubicBezTo>
                    <a:cubicBezTo>
                      <a:pt x="1321" y="313"/>
                      <a:pt x="1315" y="308"/>
                      <a:pt x="1308" y="308"/>
                    </a:cubicBezTo>
                    <a:close/>
                    <a:moveTo>
                      <a:pt x="1343" y="369"/>
                    </a:moveTo>
                    <a:cubicBezTo>
                      <a:pt x="1337" y="369"/>
                      <a:pt x="1331" y="375"/>
                      <a:pt x="1331" y="381"/>
                    </a:cubicBezTo>
                    <a:cubicBezTo>
                      <a:pt x="1331" y="388"/>
                      <a:pt x="1337" y="393"/>
                      <a:pt x="1343" y="393"/>
                    </a:cubicBezTo>
                    <a:cubicBezTo>
                      <a:pt x="1350" y="393"/>
                      <a:pt x="1356" y="388"/>
                      <a:pt x="1356" y="381"/>
                    </a:cubicBezTo>
                    <a:cubicBezTo>
                      <a:pt x="1356" y="375"/>
                      <a:pt x="1350" y="369"/>
                      <a:pt x="1343" y="369"/>
                    </a:cubicBezTo>
                    <a:close/>
                    <a:moveTo>
                      <a:pt x="1343" y="338"/>
                    </a:moveTo>
                    <a:cubicBezTo>
                      <a:pt x="1337" y="338"/>
                      <a:pt x="1331" y="344"/>
                      <a:pt x="1331" y="351"/>
                    </a:cubicBezTo>
                    <a:cubicBezTo>
                      <a:pt x="1331" y="357"/>
                      <a:pt x="1337" y="363"/>
                      <a:pt x="1343" y="363"/>
                    </a:cubicBezTo>
                    <a:cubicBezTo>
                      <a:pt x="1350" y="363"/>
                      <a:pt x="1356" y="357"/>
                      <a:pt x="1356" y="351"/>
                    </a:cubicBezTo>
                    <a:cubicBezTo>
                      <a:pt x="1356" y="344"/>
                      <a:pt x="1350" y="338"/>
                      <a:pt x="1343" y="338"/>
                    </a:cubicBezTo>
                    <a:close/>
                    <a:moveTo>
                      <a:pt x="1343" y="308"/>
                    </a:moveTo>
                    <a:cubicBezTo>
                      <a:pt x="1337" y="308"/>
                      <a:pt x="1331" y="313"/>
                      <a:pt x="1331" y="320"/>
                    </a:cubicBezTo>
                    <a:cubicBezTo>
                      <a:pt x="1331" y="327"/>
                      <a:pt x="1337" y="332"/>
                      <a:pt x="1343" y="332"/>
                    </a:cubicBezTo>
                    <a:cubicBezTo>
                      <a:pt x="1350" y="332"/>
                      <a:pt x="1356" y="327"/>
                      <a:pt x="1356" y="320"/>
                    </a:cubicBezTo>
                    <a:cubicBezTo>
                      <a:pt x="1356" y="313"/>
                      <a:pt x="1350" y="308"/>
                      <a:pt x="1343" y="308"/>
                    </a:cubicBezTo>
                    <a:close/>
                    <a:moveTo>
                      <a:pt x="1414" y="431"/>
                    </a:moveTo>
                    <a:cubicBezTo>
                      <a:pt x="1407" y="431"/>
                      <a:pt x="1401" y="436"/>
                      <a:pt x="1401" y="443"/>
                    </a:cubicBezTo>
                    <a:cubicBezTo>
                      <a:pt x="1401" y="449"/>
                      <a:pt x="1407" y="455"/>
                      <a:pt x="1414" y="455"/>
                    </a:cubicBezTo>
                    <a:cubicBezTo>
                      <a:pt x="1420" y="455"/>
                      <a:pt x="1426" y="449"/>
                      <a:pt x="1426" y="443"/>
                    </a:cubicBezTo>
                    <a:cubicBezTo>
                      <a:pt x="1426" y="436"/>
                      <a:pt x="1420" y="431"/>
                      <a:pt x="1414" y="431"/>
                    </a:cubicBezTo>
                    <a:close/>
                    <a:moveTo>
                      <a:pt x="1449" y="431"/>
                    </a:moveTo>
                    <a:cubicBezTo>
                      <a:pt x="1442" y="431"/>
                      <a:pt x="1436" y="436"/>
                      <a:pt x="1436" y="443"/>
                    </a:cubicBezTo>
                    <a:cubicBezTo>
                      <a:pt x="1436" y="449"/>
                      <a:pt x="1442" y="455"/>
                      <a:pt x="1449" y="455"/>
                    </a:cubicBezTo>
                    <a:cubicBezTo>
                      <a:pt x="1455" y="455"/>
                      <a:pt x="1461" y="449"/>
                      <a:pt x="1461" y="443"/>
                    </a:cubicBezTo>
                    <a:cubicBezTo>
                      <a:pt x="1461" y="436"/>
                      <a:pt x="1455" y="431"/>
                      <a:pt x="1449" y="431"/>
                    </a:cubicBezTo>
                    <a:close/>
                    <a:moveTo>
                      <a:pt x="748" y="554"/>
                    </a:moveTo>
                    <a:cubicBezTo>
                      <a:pt x="741" y="554"/>
                      <a:pt x="736" y="559"/>
                      <a:pt x="736" y="566"/>
                    </a:cubicBezTo>
                    <a:cubicBezTo>
                      <a:pt x="736" y="572"/>
                      <a:pt x="741" y="578"/>
                      <a:pt x="748" y="578"/>
                    </a:cubicBezTo>
                    <a:cubicBezTo>
                      <a:pt x="755" y="578"/>
                      <a:pt x="760" y="572"/>
                      <a:pt x="760" y="566"/>
                    </a:cubicBezTo>
                    <a:cubicBezTo>
                      <a:pt x="760" y="559"/>
                      <a:pt x="755" y="554"/>
                      <a:pt x="748" y="554"/>
                    </a:cubicBezTo>
                    <a:close/>
                    <a:moveTo>
                      <a:pt x="748" y="707"/>
                    </a:moveTo>
                    <a:cubicBezTo>
                      <a:pt x="741" y="707"/>
                      <a:pt x="736" y="713"/>
                      <a:pt x="736" y="719"/>
                    </a:cubicBezTo>
                    <a:cubicBezTo>
                      <a:pt x="736" y="726"/>
                      <a:pt x="741" y="732"/>
                      <a:pt x="748" y="732"/>
                    </a:cubicBezTo>
                    <a:cubicBezTo>
                      <a:pt x="755" y="732"/>
                      <a:pt x="760" y="726"/>
                      <a:pt x="760" y="719"/>
                    </a:cubicBezTo>
                    <a:cubicBezTo>
                      <a:pt x="760" y="713"/>
                      <a:pt x="755" y="707"/>
                      <a:pt x="748" y="707"/>
                    </a:cubicBezTo>
                    <a:close/>
                    <a:moveTo>
                      <a:pt x="748" y="738"/>
                    </a:moveTo>
                    <a:cubicBezTo>
                      <a:pt x="741" y="738"/>
                      <a:pt x="736" y="743"/>
                      <a:pt x="736" y="750"/>
                    </a:cubicBezTo>
                    <a:cubicBezTo>
                      <a:pt x="736" y="757"/>
                      <a:pt x="741" y="762"/>
                      <a:pt x="748" y="762"/>
                    </a:cubicBezTo>
                    <a:cubicBezTo>
                      <a:pt x="755" y="762"/>
                      <a:pt x="760" y="757"/>
                      <a:pt x="760" y="750"/>
                    </a:cubicBezTo>
                    <a:cubicBezTo>
                      <a:pt x="760" y="743"/>
                      <a:pt x="755" y="738"/>
                      <a:pt x="748" y="738"/>
                    </a:cubicBezTo>
                    <a:close/>
                    <a:moveTo>
                      <a:pt x="748" y="584"/>
                    </a:moveTo>
                    <a:cubicBezTo>
                      <a:pt x="741" y="584"/>
                      <a:pt x="736" y="590"/>
                      <a:pt x="736" y="596"/>
                    </a:cubicBezTo>
                    <a:cubicBezTo>
                      <a:pt x="736" y="603"/>
                      <a:pt x="741" y="609"/>
                      <a:pt x="748" y="609"/>
                    </a:cubicBezTo>
                    <a:cubicBezTo>
                      <a:pt x="755" y="609"/>
                      <a:pt x="760" y="603"/>
                      <a:pt x="760" y="596"/>
                    </a:cubicBezTo>
                    <a:cubicBezTo>
                      <a:pt x="760" y="590"/>
                      <a:pt x="755" y="584"/>
                      <a:pt x="748" y="584"/>
                    </a:cubicBezTo>
                    <a:close/>
                    <a:moveTo>
                      <a:pt x="748" y="615"/>
                    </a:moveTo>
                    <a:cubicBezTo>
                      <a:pt x="741" y="615"/>
                      <a:pt x="736" y="620"/>
                      <a:pt x="736" y="627"/>
                    </a:cubicBezTo>
                    <a:cubicBezTo>
                      <a:pt x="736" y="634"/>
                      <a:pt x="741" y="639"/>
                      <a:pt x="748" y="639"/>
                    </a:cubicBezTo>
                    <a:cubicBezTo>
                      <a:pt x="755" y="639"/>
                      <a:pt x="760" y="634"/>
                      <a:pt x="760" y="627"/>
                    </a:cubicBezTo>
                    <a:cubicBezTo>
                      <a:pt x="760" y="620"/>
                      <a:pt x="755" y="615"/>
                      <a:pt x="748" y="615"/>
                    </a:cubicBezTo>
                    <a:close/>
                    <a:moveTo>
                      <a:pt x="748" y="677"/>
                    </a:moveTo>
                    <a:cubicBezTo>
                      <a:pt x="741" y="677"/>
                      <a:pt x="736" y="682"/>
                      <a:pt x="736" y="689"/>
                    </a:cubicBezTo>
                    <a:cubicBezTo>
                      <a:pt x="736" y="695"/>
                      <a:pt x="741" y="701"/>
                      <a:pt x="748" y="701"/>
                    </a:cubicBezTo>
                    <a:cubicBezTo>
                      <a:pt x="755" y="701"/>
                      <a:pt x="760" y="695"/>
                      <a:pt x="760" y="689"/>
                    </a:cubicBezTo>
                    <a:cubicBezTo>
                      <a:pt x="760" y="682"/>
                      <a:pt x="755" y="677"/>
                      <a:pt x="748" y="677"/>
                    </a:cubicBezTo>
                    <a:close/>
                    <a:moveTo>
                      <a:pt x="748" y="646"/>
                    </a:moveTo>
                    <a:cubicBezTo>
                      <a:pt x="741" y="646"/>
                      <a:pt x="736" y="651"/>
                      <a:pt x="736" y="658"/>
                    </a:cubicBezTo>
                    <a:cubicBezTo>
                      <a:pt x="736" y="665"/>
                      <a:pt x="741" y="670"/>
                      <a:pt x="748" y="670"/>
                    </a:cubicBezTo>
                    <a:cubicBezTo>
                      <a:pt x="755" y="670"/>
                      <a:pt x="760" y="665"/>
                      <a:pt x="760" y="658"/>
                    </a:cubicBezTo>
                    <a:cubicBezTo>
                      <a:pt x="760" y="651"/>
                      <a:pt x="755" y="646"/>
                      <a:pt x="748" y="646"/>
                    </a:cubicBezTo>
                    <a:close/>
                    <a:moveTo>
                      <a:pt x="713" y="0"/>
                    </a:moveTo>
                    <a:cubicBezTo>
                      <a:pt x="706" y="0"/>
                      <a:pt x="701" y="6"/>
                      <a:pt x="701" y="12"/>
                    </a:cubicBezTo>
                    <a:cubicBezTo>
                      <a:pt x="701" y="19"/>
                      <a:pt x="706" y="25"/>
                      <a:pt x="713" y="25"/>
                    </a:cubicBezTo>
                    <a:cubicBezTo>
                      <a:pt x="719" y="25"/>
                      <a:pt x="725" y="19"/>
                      <a:pt x="725" y="12"/>
                    </a:cubicBezTo>
                    <a:cubicBezTo>
                      <a:pt x="725" y="6"/>
                      <a:pt x="719" y="0"/>
                      <a:pt x="713" y="0"/>
                    </a:cubicBezTo>
                    <a:close/>
                    <a:moveTo>
                      <a:pt x="713" y="215"/>
                    </a:moveTo>
                    <a:cubicBezTo>
                      <a:pt x="706" y="215"/>
                      <a:pt x="701" y="221"/>
                      <a:pt x="701" y="228"/>
                    </a:cubicBezTo>
                    <a:cubicBezTo>
                      <a:pt x="701" y="234"/>
                      <a:pt x="706" y="240"/>
                      <a:pt x="713" y="240"/>
                    </a:cubicBezTo>
                    <a:cubicBezTo>
                      <a:pt x="719" y="240"/>
                      <a:pt x="725" y="234"/>
                      <a:pt x="725" y="228"/>
                    </a:cubicBezTo>
                    <a:cubicBezTo>
                      <a:pt x="725" y="221"/>
                      <a:pt x="719" y="215"/>
                      <a:pt x="713" y="215"/>
                    </a:cubicBezTo>
                    <a:close/>
                    <a:moveTo>
                      <a:pt x="713" y="185"/>
                    </a:moveTo>
                    <a:cubicBezTo>
                      <a:pt x="706" y="185"/>
                      <a:pt x="701" y="190"/>
                      <a:pt x="701" y="197"/>
                    </a:cubicBezTo>
                    <a:cubicBezTo>
                      <a:pt x="701" y="204"/>
                      <a:pt x="706" y="209"/>
                      <a:pt x="713" y="209"/>
                    </a:cubicBezTo>
                    <a:cubicBezTo>
                      <a:pt x="719" y="209"/>
                      <a:pt x="725" y="204"/>
                      <a:pt x="725" y="197"/>
                    </a:cubicBezTo>
                    <a:cubicBezTo>
                      <a:pt x="725" y="190"/>
                      <a:pt x="719" y="185"/>
                      <a:pt x="713" y="185"/>
                    </a:cubicBezTo>
                    <a:close/>
                    <a:moveTo>
                      <a:pt x="713" y="31"/>
                    </a:moveTo>
                    <a:cubicBezTo>
                      <a:pt x="706" y="31"/>
                      <a:pt x="701" y="36"/>
                      <a:pt x="701" y="43"/>
                    </a:cubicBezTo>
                    <a:cubicBezTo>
                      <a:pt x="701" y="50"/>
                      <a:pt x="706" y="55"/>
                      <a:pt x="713" y="55"/>
                    </a:cubicBezTo>
                    <a:cubicBezTo>
                      <a:pt x="719" y="55"/>
                      <a:pt x="725" y="50"/>
                      <a:pt x="725" y="43"/>
                    </a:cubicBezTo>
                    <a:cubicBezTo>
                      <a:pt x="725" y="36"/>
                      <a:pt x="719" y="31"/>
                      <a:pt x="713" y="31"/>
                    </a:cubicBezTo>
                    <a:close/>
                    <a:moveTo>
                      <a:pt x="713" y="308"/>
                    </a:moveTo>
                    <a:cubicBezTo>
                      <a:pt x="706" y="308"/>
                      <a:pt x="701" y="313"/>
                      <a:pt x="701" y="320"/>
                    </a:cubicBezTo>
                    <a:cubicBezTo>
                      <a:pt x="701" y="327"/>
                      <a:pt x="706" y="332"/>
                      <a:pt x="713" y="332"/>
                    </a:cubicBezTo>
                    <a:cubicBezTo>
                      <a:pt x="719" y="332"/>
                      <a:pt x="725" y="327"/>
                      <a:pt x="725" y="320"/>
                    </a:cubicBezTo>
                    <a:cubicBezTo>
                      <a:pt x="725" y="313"/>
                      <a:pt x="719" y="308"/>
                      <a:pt x="713" y="308"/>
                    </a:cubicBezTo>
                    <a:close/>
                    <a:moveTo>
                      <a:pt x="713" y="277"/>
                    </a:moveTo>
                    <a:cubicBezTo>
                      <a:pt x="706" y="277"/>
                      <a:pt x="701" y="282"/>
                      <a:pt x="701" y="289"/>
                    </a:cubicBezTo>
                    <a:cubicBezTo>
                      <a:pt x="701" y="296"/>
                      <a:pt x="706" y="301"/>
                      <a:pt x="713" y="301"/>
                    </a:cubicBezTo>
                    <a:cubicBezTo>
                      <a:pt x="719" y="301"/>
                      <a:pt x="725" y="296"/>
                      <a:pt x="725" y="289"/>
                    </a:cubicBezTo>
                    <a:cubicBezTo>
                      <a:pt x="725" y="282"/>
                      <a:pt x="719" y="277"/>
                      <a:pt x="713" y="277"/>
                    </a:cubicBezTo>
                    <a:close/>
                    <a:moveTo>
                      <a:pt x="713" y="246"/>
                    </a:moveTo>
                    <a:cubicBezTo>
                      <a:pt x="706" y="246"/>
                      <a:pt x="701" y="252"/>
                      <a:pt x="701" y="258"/>
                    </a:cubicBezTo>
                    <a:cubicBezTo>
                      <a:pt x="701" y="265"/>
                      <a:pt x="706" y="270"/>
                      <a:pt x="713" y="270"/>
                    </a:cubicBezTo>
                    <a:cubicBezTo>
                      <a:pt x="719" y="270"/>
                      <a:pt x="725" y="265"/>
                      <a:pt x="725" y="258"/>
                    </a:cubicBezTo>
                    <a:cubicBezTo>
                      <a:pt x="725" y="252"/>
                      <a:pt x="719" y="246"/>
                      <a:pt x="713" y="246"/>
                    </a:cubicBezTo>
                    <a:close/>
                    <a:moveTo>
                      <a:pt x="713" y="92"/>
                    </a:moveTo>
                    <a:cubicBezTo>
                      <a:pt x="706" y="92"/>
                      <a:pt x="701" y="98"/>
                      <a:pt x="701" y="105"/>
                    </a:cubicBezTo>
                    <a:cubicBezTo>
                      <a:pt x="701" y="111"/>
                      <a:pt x="706" y="117"/>
                      <a:pt x="713" y="117"/>
                    </a:cubicBezTo>
                    <a:cubicBezTo>
                      <a:pt x="719" y="117"/>
                      <a:pt x="725" y="111"/>
                      <a:pt x="725" y="105"/>
                    </a:cubicBezTo>
                    <a:cubicBezTo>
                      <a:pt x="725" y="98"/>
                      <a:pt x="719" y="92"/>
                      <a:pt x="713" y="92"/>
                    </a:cubicBezTo>
                    <a:close/>
                    <a:moveTo>
                      <a:pt x="713" y="62"/>
                    </a:moveTo>
                    <a:cubicBezTo>
                      <a:pt x="706" y="62"/>
                      <a:pt x="701" y="67"/>
                      <a:pt x="701" y="74"/>
                    </a:cubicBezTo>
                    <a:cubicBezTo>
                      <a:pt x="701" y="81"/>
                      <a:pt x="706" y="86"/>
                      <a:pt x="713" y="86"/>
                    </a:cubicBezTo>
                    <a:cubicBezTo>
                      <a:pt x="719" y="86"/>
                      <a:pt x="725" y="81"/>
                      <a:pt x="725" y="74"/>
                    </a:cubicBezTo>
                    <a:cubicBezTo>
                      <a:pt x="725" y="67"/>
                      <a:pt x="719" y="62"/>
                      <a:pt x="713" y="62"/>
                    </a:cubicBezTo>
                    <a:close/>
                    <a:moveTo>
                      <a:pt x="713" y="154"/>
                    </a:moveTo>
                    <a:cubicBezTo>
                      <a:pt x="706" y="154"/>
                      <a:pt x="701" y="159"/>
                      <a:pt x="701" y="166"/>
                    </a:cubicBezTo>
                    <a:cubicBezTo>
                      <a:pt x="701" y="173"/>
                      <a:pt x="706" y="178"/>
                      <a:pt x="713" y="178"/>
                    </a:cubicBezTo>
                    <a:cubicBezTo>
                      <a:pt x="719" y="178"/>
                      <a:pt x="725" y="173"/>
                      <a:pt x="725" y="166"/>
                    </a:cubicBezTo>
                    <a:cubicBezTo>
                      <a:pt x="725" y="159"/>
                      <a:pt x="719" y="154"/>
                      <a:pt x="713" y="154"/>
                    </a:cubicBezTo>
                    <a:close/>
                    <a:moveTo>
                      <a:pt x="713" y="123"/>
                    </a:moveTo>
                    <a:cubicBezTo>
                      <a:pt x="706" y="123"/>
                      <a:pt x="701" y="129"/>
                      <a:pt x="701" y="135"/>
                    </a:cubicBezTo>
                    <a:cubicBezTo>
                      <a:pt x="701" y="142"/>
                      <a:pt x="706" y="148"/>
                      <a:pt x="713" y="148"/>
                    </a:cubicBezTo>
                    <a:cubicBezTo>
                      <a:pt x="719" y="148"/>
                      <a:pt x="725" y="142"/>
                      <a:pt x="725" y="135"/>
                    </a:cubicBezTo>
                    <a:cubicBezTo>
                      <a:pt x="725" y="129"/>
                      <a:pt x="719" y="123"/>
                      <a:pt x="713" y="123"/>
                    </a:cubicBezTo>
                    <a:close/>
                    <a:moveTo>
                      <a:pt x="748" y="308"/>
                    </a:moveTo>
                    <a:cubicBezTo>
                      <a:pt x="741" y="308"/>
                      <a:pt x="736" y="313"/>
                      <a:pt x="736" y="320"/>
                    </a:cubicBezTo>
                    <a:cubicBezTo>
                      <a:pt x="736" y="327"/>
                      <a:pt x="741" y="332"/>
                      <a:pt x="748" y="332"/>
                    </a:cubicBezTo>
                    <a:cubicBezTo>
                      <a:pt x="755" y="332"/>
                      <a:pt x="760" y="327"/>
                      <a:pt x="760" y="320"/>
                    </a:cubicBezTo>
                    <a:cubicBezTo>
                      <a:pt x="760" y="313"/>
                      <a:pt x="755" y="308"/>
                      <a:pt x="748" y="308"/>
                    </a:cubicBezTo>
                    <a:close/>
                    <a:moveTo>
                      <a:pt x="748" y="123"/>
                    </a:moveTo>
                    <a:cubicBezTo>
                      <a:pt x="741" y="123"/>
                      <a:pt x="736" y="129"/>
                      <a:pt x="736" y="135"/>
                    </a:cubicBezTo>
                    <a:cubicBezTo>
                      <a:pt x="736" y="142"/>
                      <a:pt x="741" y="148"/>
                      <a:pt x="748" y="148"/>
                    </a:cubicBezTo>
                    <a:cubicBezTo>
                      <a:pt x="755" y="148"/>
                      <a:pt x="760" y="142"/>
                      <a:pt x="760" y="135"/>
                    </a:cubicBezTo>
                    <a:cubicBezTo>
                      <a:pt x="760" y="129"/>
                      <a:pt x="755" y="123"/>
                      <a:pt x="748" y="123"/>
                    </a:cubicBezTo>
                    <a:close/>
                    <a:moveTo>
                      <a:pt x="748" y="92"/>
                    </a:moveTo>
                    <a:cubicBezTo>
                      <a:pt x="741" y="92"/>
                      <a:pt x="736" y="98"/>
                      <a:pt x="736" y="105"/>
                    </a:cubicBezTo>
                    <a:cubicBezTo>
                      <a:pt x="736" y="111"/>
                      <a:pt x="741" y="117"/>
                      <a:pt x="748" y="117"/>
                    </a:cubicBezTo>
                    <a:cubicBezTo>
                      <a:pt x="755" y="117"/>
                      <a:pt x="760" y="111"/>
                      <a:pt x="760" y="105"/>
                    </a:cubicBezTo>
                    <a:cubicBezTo>
                      <a:pt x="760" y="98"/>
                      <a:pt x="755" y="92"/>
                      <a:pt x="748" y="92"/>
                    </a:cubicBezTo>
                    <a:close/>
                    <a:moveTo>
                      <a:pt x="748" y="154"/>
                    </a:moveTo>
                    <a:cubicBezTo>
                      <a:pt x="741" y="154"/>
                      <a:pt x="736" y="159"/>
                      <a:pt x="736" y="166"/>
                    </a:cubicBezTo>
                    <a:cubicBezTo>
                      <a:pt x="736" y="173"/>
                      <a:pt x="741" y="178"/>
                      <a:pt x="748" y="178"/>
                    </a:cubicBezTo>
                    <a:cubicBezTo>
                      <a:pt x="755" y="178"/>
                      <a:pt x="760" y="173"/>
                      <a:pt x="760" y="166"/>
                    </a:cubicBezTo>
                    <a:cubicBezTo>
                      <a:pt x="760" y="159"/>
                      <a:pt x="755" y="154"/>
                      <a:pt x="748" y="154"/>
                    </a:cubicBezTo>
                    <a:close/>
                    <a:moveTo>
                      <a:pt x="748" y="185"/>
                    </a:moveTo>
                    <a:cubicBezTo>
                      <a:pt x="741" y="185"/>
                      <a:pt x="736" y="190"/>
                      <a:pt x="736" y="197"/>
                    </a:cubicBezTo>
                    <a:cubicBezTo>
                      <a:pt x="736" y="204"/>
                      <a:pt x="741" y="209"/>
                      <a:pt x="748" y="209"/>
                    </a:cubicBezTo>
                    <a:cubicBezTo>
                      <a:pt x="755" y="209"/>
                      <a:pt x="760" y="204"/>
                      <a:pt x="760" y="197"/>
                    </a:cubicBezTo>
                    <a:cubicBezTo>
                      <a:pt x="760" y="190"/>
                      <a:pt x="755" y="185"/>
                      <a:pt x="748" y="185"/>
                    </a:cubicBezTo>
                    <a:close/>
                    <a:moveTo>
                      <a:pt x="748" y="62"/>
                    </a:moveTo>
                    <a:cubicBezTo>
                      <a:pt x="741" y="62"/>
                      <a:pt x="736" y="67"/>
                      <a:pt x="736" y="74"/>
                    </a:cubicBezTo>
                    <a:cubicBezTo>
                      <a:pt x="736" y="81"/>
                      <a:pt x="741" y="86"/>
                      <a:pt x="748" y="86"/>
                    </a:cubicBezTo>
                    <a:cubicBezTo>
                      <a:pt x="755" y="86"/>
                      <a:pt x="760" y="81"/>
                      <a:pt x="760" y="74"/>
                    </a:cubicBezTo>
                    <a:cubicBezTo>
                      <a:pt x="760" y="67"/>
                      <a:pt x="755" y="62"/>
                      <a:pt x="748" y="62"/>
                    </a:cubicBezTo>
                    <a:close/>
                    <a:moveTo>
                      <a:pt x="748" y="31"/>
                    </a:moveTo>
                    <a:cubicBezTo>
                      <a:pt x="741" y="31"/>
                      <a:pt x="736" y="36"/>
                      <a:pt x="736" y="43"/>
                    </a:cubicBezTo>
                    <a:cubicBezTo>
                      <a:pt x="736" y="50"/>
                      <a:pt x="741" y="55"/>
                      <a:pt x="748" y="55"/>
                    </a:cubicBezTo>
                    <a:cubicBezTo>
                      <a:pt x="755" y="55"/>
                      <a:pt x="760" y="50"/>
                      <a:pt x="760" y="43"/>
                    </a:cubicBezTo>
                    <a:cubicBezTo>
                      <a:pt x="760" y="36"/>
                      <a:pt x="755" y="31"/>
                      <a:pt x="748" y="31"/>
                    </a:cubicBezTo>
                    <a:close/>
                    <a:moveTo>
                      <a:pt x="748" y="215"/>
                    </a:moveTo>
                    <a:cubicBezTo>
                      <a:pt x="741" y="215"/>
                      <a:pt x="736" y="221"/>
                      <a:pt x="736" y="228"/>
                    </a:cubicBezTo>
                    <a:cubicBezTo>
                      <a:pt x="736" y="234"/>
                      <a:pt x="741" y="240"/>
                      <a:pt x="748" y="240"/>
                    </a:cubicBezTo>
                    <a:cubicBezTo>
                      <a:pt x="755" y="240"/>
                      <a:pt x="760" y="234"/>
                      <a:pt x="760" y="228"/>
                    </a:cubicBezTo>
                    <a:cubicBezTo>
                      <a:pt x="760" y="221"/>
                      <a:pt x="755" y="215"/>
                      <a:pt x="748" y="215"/>
                    </a:cubicBezTo>
                    <a:close/>
                    <a:moveTo>
                      <a:pt x="748" y="0"/>
                    </a:moveTo>
                    <a:cubicBezTo>
                      <a:pt x="741" y="0"/>
                      <a:pt x="736" y="6"/>
                      <a:pt x="736" y="12"/>
                    </a:cubicBezTo>
                    <a:cubicBezTo>
                      <a:pt x="736" y="19"/>
                      <a:pt x="741" y="25"/>
                      <a:pt x="748" y="25"/>
                    </a:cubicBezTo>
                    <a:cubicBezTo>
                      <a:pt x="755" y="25"/>
                      <a:pt x="760" y="19"/>
                      <a:pt x="760" y="12"/>
                    </a:cubicBezTo>
                    <a:cubicBezTo>
                      <a:pt x="760" y="6"/>
                      <a:pt x="755" y="0"/>
                      <a:pt x="748" y="0"/>
                    </a:cubicBezTo>
                    <a:close/>
                    <a:moveTo>
                      <a:pt x="748" y="492"/>
                    </a:moveTo>
                    <a:cubicBezTo>
                      <a:pt x="741" y="492"/>
                      <a:pt x="736" y="498"/>
                      <a:pt x="736" y="504"/>
                    </a:cubicBezTo>
                    <a:cubicBezTo>
                      <a:pt x="736" y="511"/>
                      <a:pt x="741" y="516"/>
                      <a:pt x="748" y="516"/>
                    </a:cubicBezTo>
                    <a:cubicBezTo>
                      <a:pt x="755" y="516"/>
                      <a:pt x="760" y="511"/>
                      <a:pt x="760" y="504"/>
                    </a:cubicBezTo>
                    <a:cubicBezTo>
                      <a:pt x="760" y="498"/>
                      <a:pt x="755" y="492"/>
                      <a:pt x="748" y="492"/>
                    </a:cubicBezTo>
                    <a:close/>
                    <a:moveTo>
                      <a:pt x="748" y="461"/>
                    </a:moveTo>
                    <a:cubicBezTo>
                      <a:pt x="741" y="461"/>
                      <a:pt x="736" y="467"/>
                      <a:pt x="736" y="474"/>
                    </a:cubicBezTo>
                    <a:cubicBezTo>
                      <a:pt x="736" y="480"/>
                      <a:pt x="741" y="486"/>
                      <a:pt x="748" y="486"/>
                    </a:cubicBezTo>
                    <a:cubicBezTo>
                      <a:pt x="755" y="486"/>
                      <a:pt x="760" y="480"/>
                      <a:pt x="760" y="474"/>
                    </a:cubicBezTo>
                    <a:cubicBezTo>
                      <a:pt x="760" y="467"/>
                      <a:pt x="755" y="461"/>
                      <a:pt x="748" y="461"/>
                    </a:cubicBezTo>
                    <a:close/>
                    <a:moveTo>
                      <a:pt x="748" y="431"/>
                    </a:moveTo>
                    <a:cubicBezTo>
                      <a:pt x="741" y="431"/>
                      <a:pt x="736" y="436"/>
                      <a:pt x="736" y="443"/>
                    </a:cubicBezTo>
                    <a:cubicBezTo>
                      <a:pt x="736" y="449"/>
                      <a:pt x="741" y="455"/>
                      <a:pt x="748" y="455"/>
                    </a:cubicBezTo>
                    <a:cubicBezTo>
                      <a:pt x="755" y="455"/>
                      <a:pt x="760" y="449"/>
                      <a:pt x="760" y="443"/>
                    </a:cubicBezTo>
                    <a:cubicBezTo>
                      <a:pt x="760" y="436"/>
                      <a:pt x="755" y="431"/>
                      <a:pt x="748" y="431"/>
                    </a:cubicBezTo>
                    <a:close/>
                    <a:moveTo>
                      <a:pt x="748" y="400"/>
                    </a:moveTo>
                    <a:cubicBezTo>
                      <a:pt x="741" y="400"/>
                      <a:pt x="736" y="405"/>
                      <a:pt x="736" y="412"/>
                    </a:cubicBezTo>
                    <a:cubicBezTo>
                      <a:pt x="736" y="419"/>
                      <a:pt x="741" y="424"/>
                      <a:pt x="748" y="424"/>
                    </a:cubicBezTo>
                    <a:cubicBezTo>
                      <a:pt x="755" y="424"/>
                      <a:pt x="760" y="419"/>
                      <a:pt x="760" y="412"/>
                    </a:cubicBezTo>
                    <a:cubicBezTo>
                      <a:pt x="760" y="405"/>
                      <a:pt x="755" y="400"/>
                      <a:pt x="748" y="400"/>
                    </a:cubicBezTo>
                    <a:close/>
                    <a:moveTo>
                      <a:pt x="748" y="523"/>
                    </a:moveTo>
                    <a:cubicBezTo>
                      <a:pt x="741" y="523"/>
                      <a:pt x="736" y="528"/>
                      <a:pt x="736" y="535"/>
                    </a:cubicBezTo>
                    <a:cubicBezTo>
                      <a:pt x="736" y="542"/>
                      <a:pt x="741" y="547"/>
                      <a:pt x="748" y="547"/>
                    </a:cubicBezTo>
                    <a:cubicBezTo>
                      <a:pt x="755" y="547"/>
                      <a:pt x="760" y="542"/>
                      <a:pt x="760" y="535"/>
                    </a:cubicBezTo>
                    <a:cubicBezTo>
                      <a:pt x="760" y="528"/>
                      <a:pt x="755" y="523"/>
                      <a:pt x="748" y="523"/>
                    </a:cubicBezTo>
                    <a:close/>
                    <a:moveTo>
                      <a:pt x="713" y="338"/>
                    </a:moveTo>
                    <a:cubicBezTo>
                      <a:pt x="706" y="338"/>
                      <a:pt x="701" y="344"/>
                      <a:pt x="701" y="351"/>
                    </a:cubicBezTo>
                    <a:cubicBezTo>
                      <a:pt x="701" y="357"/>
                      <a:pt x="706" y="363"/>
                      <a:pt x="713" y="363"/>
                    </a:cubicBezTo>
                    <a:cubicBezTo>
                      <a:pt x="719" y="363"/>
                      <a:pt x="725" y="357"/>
                      <a:pt x="725" y="351"/>
                    </a:cubicBezTo>
                    <a:cubicBezTo>
                      <a:pt x="725" y="344"/>
                      <a:pt x="719" y="338"/>
                      <a:pt x="713" y="338"/>
                    </a:cubicBezTo>
                    <a:close/>
                    <a:moveTo>
                      <a:pt x="748" y="369"/>
                    </a:moveTo>
                    <a:cubicBezTo>
                      <a:pt x="741" y="369"/>
                      <a:pt x="736" y="375"/>
                      <a:pt x="736" y="381"/>
                    </a:cubicBezTo>
                    <a:cubicBezTo>
                      <a:pt x="736" y="388"/>
                      <a:pt x="741" y="393"/>
                      <a:pt x="748" y="393"/>
                    </a:cubicBezTo>
                    <a:cubicBezTo>
                      <a:pt x="755" y="393"/>
                      <a:pt x="760" y="388"/>
                      <a:pt x="760" y="381"/>
                    </a:cubicBezTo>
                    <a:cubicBezTo>
                      <a:pt x="760" y="375"/>
                      <a:pt x="755" y="369"/>
                      <a:pt x="748" y="369"/>
                    </a:cubicBezTo>
                    <a:close/>
                    <a:moveTo>
                      <a:pt x="748" y="277"/>
                    </a:moveTo>
                    <a:cubicBezTo>
                      <a:pt x="741" y="277"/>
                      <a:pt x="736" y="282"/>
                      <a:pt x="736" y="289"/>
                    </a:cubicBezTo>
                    <a:cubicBezTo>
                      <a:pt x="736" y="296"/>
                      <a:pt x="741" y="301"/>
                      <a:pt x="748" y="301"/>
                    </a:cubicBezTo>
                    <a:cubicBezTo>
                      <a:pt x="755" y="301"/>
                      <a:pt x="760" y="296"/>
                      <a:pt x="760" y="289"/>
                    </a:cubicBezTo>
                    <a:cubicBezTo>
                      <a:pt x="760" y="282"/>
                      <a:pt x="755" y="277"/>
                      <a:pt x="748" y="277"/>
                    </a:cubicBezTo>
                    <a:close/>
                    <a:moveTo>
                      <a:pt x="748" y="246"/>
                    </a:moveTo>
                    <a:cubicBezTo>
                      <a:pt x="741" y="246"/>
                      <a:pt x="736" y="252"/>
                      <a:pt x="736" y="258"/>
                    </a:cubicBezTo>
                    <a:cubicBezTo>
                      <a:pt x="736" y="265"/>
                      <a:pt x="741" y="270"/>
                      <a:pt x="748" y="270"/>
                    </a:cubicBezTo>
                    <a:cubicBezTo>
                      <a:pt x="755" y="270"/>
                      <a:pt x="760" y="265"/>
                      <a:pt x="760" y="258"/>
                    </a:cubicBezTo>
                    <a:cubicBezTo>
                      <a:pt x="760" y="252"/>
                      <a:pt x="755" y="246"/>
                      <a:pt x="748" y="246"/>
                    </a:cubicBezTo>
                    <a:close/>
                    <a:moveTo>
                      <a:pt x="748" y="338"/>
                    </a:moveTo>
                    <a:cubicBezTo>
                      <a:pt x="741" y="338"/>
                      <a:pt x="736" y="344"/>
                      <a:pt x="736" y="351"/>
                    </a:cubicBezTo>
                    <a:cubicBezTo>
                      <a:pt x="736" y="357"/>
                      <a:pt x="741" y="363"/>
                      <a:pt x="748" y="363"/>
                    </a:cubicBezTo>
                    <a:cubicBezTo>
                      <a:pt x="755" y="363"/>
                      <a:pt x="760" y="357"/>
                      <a:pt x="760" y="351"/>
                    </a:cubicBezTo>
                    <a:cubicBezTo>
                      <a:pt x="760" y="344"/>
                      <a:pt x="755" y="338"/>
                      <a:pt x="748" y="338"/>
                    </a:cubicBezTo>
                    <a:close/>
                    <a:moveTo>
                      <a:pt x="678" y="400"/>
                    </a:moveTo>
                    <a:cubicBezTo>
                      <a:pt x="671" y="400"/>
                      <a:pt x="666" y="405"/>
                      <a:pt x="666" y="412"/>
                    </a:cubicBezTo>
                    <a:cubicBezTo>
                      <a:pt x="666" y="419"/>
                      <a:pt x="671" y="424"/>
                      <a:pt x="678" y="424"/>
                    </a:cubicBezTo>
                    <a:cubicBezTo>
                      <a:pt x="684" y="424"/>
                      <a:pt x="690" y="419"/>
                      <a:pt x="690" y="412"/>
                    </a:cubicBezTo>
                    <a:cubicBezTo>
                      <a:pt x="690" y="405"/>
                      <a:pt x="684" y="400"/>
                      <a:pt x="678" y="400"/>
                    </a:cubicBezTo>
                    <a:close/>
                    <a:moveTo>
                      <a:pt x="678" y="523"/>
                    </a:moveTo>
                    <a:cubicBezTo>
                      <a:pt x="671" y="523"/>
                      <a:pt x="666" y="528"/>
                      <a:pt x="666" y="535"/>
                    </a:cubicBezTo>
                    <a:cubicBezTo>
                      <a:pt x="666" y="542"/>
                      <a:pt x="671" y="547"/>
                      <a:pt x="678" y="547"/>
                    </a:cubicBezTo>
                    <a:cubicBezTo>
                      <a:pt x="684" y="547"/>
                      <a:pt x="690" y="542"/>
                      <a:pt x="690" y="535"/>
                    </a:cubicBezTo>
                    <a:cubicBezTo>
                      <a:pt x="690" y="528"/>
                      <a:pt x="684" y="523"/>
                      <a:pt x="678" y="523"/>
                    </a:cubicBezTo>
                    <a:close/>
                    <a:moveTo>
                      <a:pt x="678" y="431"/>
                    </a:moveTo>
                    <a:cubicBezTo>
                      <a:pt x="671" y="431"/>
                      <a:pt x="666" y="436"/>
                      <a:pt x="666" y="443"/>
                    </a:cubicBezTo>
                    <a:cubicBezTo>
                      <a:pt x="666" y="449"/>
                      <a:pt x="671" y="455"/>
                      <a:pt x="678" y="455"/>
                    </a:cubicBezTo>
                    <a:cubicBezTo>
                      <a:pt x="684" y="455"/>
                      <a:pt x="690" y="449"/>
                      <a:pt x="690" y="443"/>
                    </a:cubicBezTo>
                    <a:cubicBezTo>
                      <a:pt x="690" y="436"/>
                      <a:pt x="684" y="431"/>
                      <a:pt x="678" y="431"/>
                    </a:cubicBezTo>
                    <a:close/>
                    <a:moveTo>
                      <a:pt x="678" y="369"/>
                    </a:moveTo>
                    <a:cubicBezTo>
                      <a:pt x="671" y="369"/>
                      <a:pt x="666" y="375"/>
                      <a:pt x="666" y="381"/>
                    </a:cubicBezTo>
                    <a:cubicBezTo>
                      <a:pt x="666" y="388"/>
                      <a:pt x="671" y="393"/>
                      <a:pt x="678" y="393"/>
                    </a:cubicBezTo>
                    <a:cubicBezTo>
                      <a:pt x="684" y="393"/>
                      <a:pt x="690" y="388"/>
                      <a:pt x="690" y="381"/>
                    </a:cubicBezTo>
                    <a:cubicBezTo>
                      <a:pt x="690" y="375"/>
                      <a:pt x="684" y="369"/>
                      <a:pt x="678" y="369"/>
                    </a:cubicBezTo>
                    <a:close/>
                    <a:moveTo>
                      <a:pt x="678" y="215"/>
                    </a:moveTo>
                    <a:cubicBezTo>
                      <a:pt x="671" y="215"/>
                      <a:pt x="666" y="221"/>
                      <a:pt x="666" y="228"/>
                    </a:cubicBezTo>
                    <a:cubicBezTo>
                      <a:pt x="666" y="234"/>
                      <a:pt x="671" y="240"/>
                      <a:pt x="678" y="240"/>
                    </a:cubicBezTo>
                    <a:cubicBezTo>
                      <a:pt x="684" y="240"/>
                      <a:pt x="690" y="234"/>
                      <a:pt x="690" y="228"/>
                    </a:cubicBezTo>
                    <a:cubicBezTo>
                      <a:pt x="690" y="221"/>
                      <a:pt x="684" y="215"/>
                      <a:pt x="678" y="215"/>
                    </a:cubicBezTo>
                    <a:close/>
                    <a:moveTo>
                      <a:pt x="678" y="492"/>
                    </a:moveTo>
                    <a:cubicBezTo>
                      <a:pt x="671" y="492"/>
                      <a:pt x="666" y="498"/>
                      <a:pt x="666" y="504"/>
                    </a:cubicBezTo>
                    <a:cubicBezTo>
                      <a:pt x="666" y="511"/>
                      <a:pt x="671" y="516"/>
                      <a:pt x="678" y="516"/>
                    </a:cubicBezTo>
                    <a:cubicBezTo>
                      <a:pt x="684" y="516"/>
                      <a:pt x="690" y="511"/>
                      <a:pt x="690" y="504"/>
                    </a:cubicBezTo>
                    <a:cubicBezTo>
                      <a:pt x="690" y="498"/>
                      <a:pt x="684" y="492"/>
                      <a:pt x="678" y="492"/>
                    </a:cubicBezTo>
                    <a:close/>
                    <a:moveTo>
                      <a:pt x="678" y="277"/>
                    </a:moveTo>
                    <a:cubicBezTo>
                      <a:pt x="671" y="277"/>
                      <a:pt x="666" y="282"/>
                      <a:pt x="666" y="289"/>
                    </a:cubicBezTo>
                    <a:cubicBezTo>
                      <a:pt x="666" y="296"/>
                      <a:pt x="671" y="301"/>
                      <a:pt x="678" y="301"/>
                    </a:cubicBezTo>
                    <a:cubicBezTo>
                      <a:pt x="684" y="301"/>
                      <a:pt x="690" y="296"/>
                      <a:pt x="690" y="289"/>
                    </a:cubicBezTo>
                    <a:cubicBezTo>
                      <a:pt x="690" y="282"/>
                      <a:pt x="684" y="277"/>
                      <a:pt x="678" y="277"/>
                    </a:cubicBezTo>
                    <a:close/>
                    <a:moveTo>
                      <a:pt x="678" y="246"/>
                    </a:moveTo>
                    <a:cubicBezTo>
                      <a:pt x="671" y="246"/>
                      <a:pt x="666" y="252"/>
                      <a:pt x="666" y="258"/>
                    </a:cubicBezTo>
                    <a:cubicBezTo>
                      <a:pt x="666" y="265"/>
                      <a:pt x="671" y="270"/>
                      <a:pt x="678" y="270"/>
                    </a:cubicBezTo>
                    <a:cubicBezTo>
                      <a:pt x="684" y="270"/>
                      <a:pt x="690" y="265"/>
                      <a:pt x="690" y="258"/>
                    </a:cubicBezTo>
                    <a:cubicBezTo>
                      <a:pt x="690" y="252"/>
                      <a:pt x="684" y="246"/>
                      <a:pt x="678" y="246"/>
                    </a:cubicBezTo>
                    <a:close/>
                    <a:moveTo>
                      <a:pt x="678" y="308"/>
                    </a:moveTo>
                    <a:cubicBezTo>
                      <a:pt x="671" y="308"/>
                      <a:pt x="666" y="313"/>
                      <a:pt x="666" y="320"/>
                    </a:cubicBezTo>
                    <a:cubicBezTo>
                      <a:pt x="666" y="327"/>
                      <a:pt x="671" y="332"/>
                      <a:pt x="678" y="332"/>
                    </a:cubicBezTo>
                    <a:cubicBezTo>
                      <a:pt x="684" y="332"/>
                      <a:pt x="690" y="327"/>
                      <a:pt x="690" y="320"/>
                    </a:cubicBezTo>
                    <a:cubicBezTo>
                      <a:pt x="690" y="313"/>
                      <a:pt x="684" y="308"/>
                      <a:pt x="678" y="308"/>
                    </a:cubicBezTo>
                    <a:close/>
                    <a:moveTo>
                      <a:pt x="678" y="338"/>
                    </a:moveTo>
                    <a:cubicBezTo>
                      <a:pt x="671" y="338"/>
                      <a:pt x="666" y="344"/>
                      <a:pt x="666" y="351"/>
                    </a:cubicBezTo>
                    <a:cubicBezTo>
                      <a:pt x="666" y="357"/>
                      <a:pt x="671" y="363"/>
                      <a:pt x="678" y="363"/>
                    </a:cubicBezTo>
                    <a:cubicBezTo>
                      <a:pt x="684" y="363"/>
                      <a:pt x="690" y="357"/>
                      <a:pt x="690" y="351"/>
                    </a:cubicBezTo>
                    <a:cubicBezTo>
                      <a:pt x="690" y="344"/>
                      <a:pt x="684" y="338"/>
                      <a:pt x="678" y="338"/>
                    </a:cubicBezTo>
                    <a:close/>
                    <a:moveTo>
                      <a:pt x="678" y="461"/>
                    </a:moveTo>
                    <a:cubicBezTo>
                      <a:pt x="671" y="461"/>
                      <a:pt x="666" y="467"/>
                      <a:pt x="666" y="474"/>
                    </a:cubicBezTo>
                    <a:cubicBezTo>
                      <a:pt x="666" y="480"/>
                      <a:pt x="671" y="486"/>
                      <a:pt x="678" y="486"/>
                    </a:cubicBezTo>
                    <a:cubicBezTo>
                      <a:pt x="684" y="486"/>
                      <a:pt x="690" y="480"/>
                      <a:pt x="690" y="474"/>
                    </a:cubicBezTo>
                    <a:cubicBezTo>
                      <a:pt x="690" y="467"/>
                      <a:pt x="684" y="461"/>
                      <a:pt x="678" y="461"/>
                    </a:cubicBezTo>
                    <a:close/>
                    <a:moveTo>
                      <a:pt x="678" y="738"/>
                    </a:moveTo>
                    <a:cubicBezTo>
                      <a:pt x="671" y="738"/>
                      <a:pt x="666" y="743"/>
                      <a:pt x="666" y="750"/>
                    </a:cubicBezTo>
                    <a:cubicBezTo>
                      <a:pt x="666" y="757"/>
                      <a:pt x="671" y="762"/>
                      <a:pt x="678" y="762"/>
                    </a:cubicBezTo>
                    <a:cubicBezTo>
                      <a:pt x="684" y="762"/>
                      <a:pt x="690" y="757"/>
                      <a:pt x="690" y="750"/>
                    </a:cubicBezTo>
                    <a:cubicBezTo>
                      <a:pt x="690" y="743"/>
                      <a:pt x="684" y="738"/>
                      <a:pt x="678" y="738"/>
                    </a:cubicBezTo>
                    <a:close/>
                    <a:moveTo>
                      <a:pt x="643" y="0"/>
                    </a:moveTo>
                    <a:cubicBezTo>
                      <a:pt x="636" y="0"/>
                      <a:pt x="630" y="6"/>
                      <a:pt x="630" y="12"/>
                    </a:cubicBezTo>
                    <a:cubicBezTo>
                      <a:pt x="630" y="19"/>
                      <a:pt x="636" y="25"/>
                      <a:pt x="643" y="25"/>
                    </a:cubicBezTo>
                    <a:cubicBezTo>
                      <a:pt x="649" y="25"/>
                      <a:pt x="655" y="19"/>
                      <a:pt x="655" y="12"/>
                    </a:cubicBezTo>
                    <a:cubicBezTo>
                      <a:pt x="655" y="6"/>
                      <a:pt x="649" y="0"/>
                      <a:pt x="643" y="0"/>
                    </a:cubicBezTo>
                    <a:close/>
                    <a:moveTo>
                      <a:pt x="678" y="707"/>
                    </a:moveTo>
                    <a:cubicBezTo>
                      <a:pt x="671" y="707"/>
                      <a:pt x="666" y="713"/>
                      <a:pt x="666" y="719"/>
                    </a:cubicBezTo>
                    <a:cubicBezTo>
                      <a:pt x="666" y="726"/>
                      <a:pt x="671" y="732"/>
                      <a:pt x="678" y="732"/>
                    </a:cubicBezTo>
                    <a:cubicBezTo>
                      <a:pt x="684" y="732"/>
                      <a:pt x="690" y="726"/>
                      <a:pt x="690" y="719"/>
                    </a:cubicBezTo>
                    <a:cubicBezTo>
                      <a:pt x="690" y="713"/>
                      <a:pt x="684" y="707"/>
                      <a:pt x="678" y="707"/>
                    </a:cubicBezTo>
                    <a:close/>
                    <a:moveTo>
                      <a:pt x="678" y="677"/>
                    </a:moveTo>
                    <a:cubicBezTo>
                      <a:pt x="671" y="677"/>
                      <a:pt x="666" y="682"/>
                      <a:pt x="666" y="689"/>
                    </a:cubicBezTo>
                    <a:cubicBezTo>
                      <a:pt x="666" y="695"/>
                      <a:pt x="671" y="701"/>
                      <a:pt x="678" y="701"/>
                    </a:cubicBezTo>
                    <a:cubicBezTo>
                      <a:pt x="684" y="701"/>
                      <a:pt x="690" y="695"/>
                      <a:pt x="690" y="689"/>
                    </a:cubicBezTo>
                    <a:cubicBezTo>
                      <a:pt x="690" y="682"/>
                      <a:pt x="684" y="677"/>
                      <a:pt x="678" y="677"/>
                    </a:cubicBezTo>
                    <a:close/>
                    <a:moveTo>
                      <a:pt x="678" y="584"/>
                    </a:moveTo>
                    <a:cubicBezTo>
                      <a:pt x="671" y="584"/>
                      <a:pt x="666" y="590"/>
                      <a:pt x="666" y="596"/>
                    </a:cubicBezTo>
                    <a:cubicBezTo>
                      <a:pt x="666" y="603"/>
                      <a:pt x="671" y="609"/>
                      <a:pt x="678" y="609"/>
                    </a:cubicBezTo>
                    <a:cubicBezTo>
                      <a:pt x="684" y="609"/>
                      <a:pt x="690" y="603"/>
                      <a:pt x="690" y="596"/>
                    </a:cubicBezTo>
                    <a:cubicBezTo>
                      <a:pt x="690" y="590"/>
                      <a:pt x="684" y="584"/>
                      <a:pt x="678" y="584"/>
                    </a:cubicBezTo>
                    <a:close/>
                    <a:moveTo>
                      <a:pt x="713" y="369"/>
                    </a:moveTo>
                    <a:cubicBezTo>
                      <a:pt x="706" y="369"/>
                      <a:pt x="701" y="375"/>
                      <a:pt x="701" y="381"/>
                    </a:cubicBezTo>
                    <a:cubicBezTo>
                      <a:pt x="701" y="388"/>
                      <a:pt x="706" y="393"/>
                      <a:pt x="713" y="393"/>
                    </a:cubicBezTo>
                    <a:cubicBezTo>
                      <a:pt x="719" y="393"/>
                      <a:pt x="725" y="388"/>
                      <a:pt x="725" y="381"/>
                    </a:cubicBezTo>
                    <a:cubicBezTo>
                      <a:pt x="725" y="375"/>
                      <a:pt x="719" y="369"/>
                      <a:pt x="713" y="369"/>
                    </a:cubicBezTo>
                    <a:close/>
                    <a:moveTo>
                      <a:pt x="678" y="646"/>
                    </a:moveTo>
                    <a:cubicBezTo>
                      <a:pt x="671" y="646"/>
                      <a:pt x="666" y="651"/>
                      <a:pt x="666" y="658"/>
                    </a:cubicBezTo>
                    <a:cubicBezTo>
                      <a:pt x="666" y="665"/>
                      <a:pt x="671" y="670"/>
                      <a:pt x="678" y="670"/>
                    </a:cubicBezTo>
                    <a:cubicBezTo>
                      <a:pt x="684" y="670"/>
                      <a:pt x="690" y="665"/>
                      <a:pt x="690" y="658"/>
                    </a:cubicBezTo>
                    <a:cubicBezTo>
                      <a:pt x="690" y="651"/>
                      <a:pt x="684" y="646"/>
                      <a:pt x="678" y="646"/>
                    </a:cubicBezTo>
                    <a:close/>
                    <a:moveTo>
                      <a:pt x="678" y="554"/>
                    </a:moveTo>
                    <a:cubicBezTo>
                      <a:pt x="671" y="554"/>
                      <a:pt x="666" y="559"/>
                      <a:pt x="666" y="566"/>
                    </a:cubicBezTo>
                    <a:cubicBezTo>
                      <a:pt x="666" y="572"/>
                      <a:pt x="671" y="578"/>
                      <a:pt x="678" y="578"/>
                    </a:cubicBezTo>
                    <a:cubicBezTo>
                      <a:pt x="684" y="578"/>
                      <a:pt x="690" y="572"/>
                      <a:pt x="690" y="566"/>
                    </a:cubicBezTo>
                    <a:cubicBezTo>
                      <a:pt x="690" y="559"/>
                      <a:pt x="684" y="554"/>
                      <a:pt x="678" y="554"/>
                    </a:cubicBezTo>
                    <a:close/>
                    <a:moveTo>
                      <a:pt x="678" y="615"/>
                    </a:moveTo>
                    <a:cubicBezTo>
                      <a:pt x="671" y="615"/>
                      <a:pt x="666" y="620"/>
                      <a:pt x="666" y="627"/>
                    </a:cubicBezTo>
                    <a:cubicBezTo>
                      <a:pt x="666" y="634"/>
                      <a:pt x="671" y="639"/>
                      <a:pt x="678" y="639"/>
                    </a:cubicBezTo>
                    <a:cubicBezTo>
                      <a:pt x="684" y="639"/>
                      <a:pt x="690" y="634"/>
                      <a:pt x="690" y="627"/>
                    </a:cubicBezTo>
                    <a:cubicBezTo>
                      <a:pt x="690" y="620"/>
                      <a:pt x="684" y="615"/>
                      <a:pt x="678" y="615"/>
                    </a:cubicBezTo>
                    <a:close/>
                    <a:moveTo>
                      <a:pt x="713" y="584"/>
                    </a:moveTo>
                    <a:cubicBezTo>
                      <a:pt x="706" y="584"/>
                      <a:pt x="701" y="590"/>
                      <a:pt x="701" y="596"/>
                    </a:cubicBezTo>
                    <a:cubicBezTo>
                      <a:pt x="701" y="603"/>
                      <a:pt x="706" y="609"/>
                      <a:pt x="713" y="609"/>
                    </a:cubicBezTo>
                    <a:cubicBezTo>
                      <a:pt x="719" y="609"/>
                      <a:pt x="725" y="603"/>
                      <a:pt x="725" y="596"/>
                    </a:cubicBezTo>
                    <a:cubicBezTo>
                      <a:pt x="725" y="590"/>
                      <a:pt x="719" y="584"/>
                      <a:pt x="713" y="584"/>
                    </a:cubicBezTo>
                    <a:close/>
                    <a:moveTo>
                      <a:pt x="713" y="554"/>
                    </a:moveTo>
                    <a:cubicBezTo>
                      <a:pt x="706" y="554"/>
                      <a:pt x="701" y="559"/>
                      <a:pt x="701" y="566"/>
                    </a:cubicBezTo>
                    <a:cubicBezTo>
                      <a:pt x="701" y="572"/>
                      <a:pt x="706" y="578"/>
                      <a:pt x="713" y="578"/>
                    </a:cubicBezTo>
                    <a:cubicBezTo>
                      <a:pt x="719" y="578"/>
                      <a:pt x="725" y="572"/>
                      <a:pt x="725" y="566"/>
                    </a:cubicBezTo>
                    <a:cubicBezTo>
                      <a:pt x="725" y="559"/>
                      <a:pt x="719" y="554"/>
                      <a:pt x="713" y="554"/>
                    </a:cubicBezTo>
                    <a:close/>
                    <a:moveTo>
                      <a:pt x="713" y="646"/>
                    </a:moveTo>
                    <a:cubicBezTo>
                      <a:pt x="706" y="646"/>
                      <a:pt x="701" y="651"/>
                      <a:pt x="701" y="658"/>
                    </a:cubicBezTo>
                    <a:cubicBezTo>
                      <a:pt x="701" y="665"/>
                      <a:pt x="706" y="670"/>
                      <a:pt x="713" y="670"/>
                    </a:cubicBezTo>
                    <a:cubicBezTo>
                      <a:pt x="719" y="670"/>
                      <a:pt x="725" y="665"/>
                      <a:pt x="725" y="658"/>
                    </a:cubicBezTo>
                    <a:cubicBezTo>
                      <a:pt x="725" y="651"/>
                      <a:pt x="719" y="646"/>
                      <a:pt x="713" y="646"/>
                    </a:cubicBezTo>
                    <a:close/>
                    <a:moveTo>
                      <a:pt x="713" y="615"/>
                    </a:moveTo>
                    <a:cubicBezTo>
                      <a:pt x="706" y="615"/>
                      <a:pt x="701" y="620"/>
                      <a:pt x="701" y="627"/>
                    </a:cubicBezTo>
                    <a:cubicBezTo>
                      <a:pt x="701" y="634"/>
                      <a:pt x="706" y="639"/>
                      <a:pt x="713" y="639"/>
                    </a:cubicBezTo>
                    <a:cubicBezTo>
                      <a:pt x="719" y="639"/>
                      <a:pt x="725" y="634"/>
                      <a:pt x="725" y="627"/>
                    </a:cubicBezTo>
                    <a:cubicBezTo>
                      <a:pt x="725" y="620"/>
                      <a:pt x="719" y="615"/>
                      <a:pt x="713" y="615"/>
                    </a:cubicBezTo>
                    <a:close/>
                    <a:moveTo>
                      <a:pt x="713" y="677"/>
                    </a:moveTo>
                    <a:cubicBezTo>
                      <a:pt x="706" y="677"/>
                      <a:pt x="701" y="682"/>
                      <a:pt x="701" y="689"/>
                    </a:cubicBezTo>
                    <a:cubicBezTo>
                      <a:pt x="701" y="695"/>
                      <a:pt x="706" y="701"/>
                      <a:pt x="713" y="701"/>
                    </a:cubicBezTo>
                    <a:cubicBezTo>
                      <a:pt x="719" y="701"/>
                      <a:pt x="725" y="695"/>
                      <a:pt x="725" y="689"/>
                    </a:cubicBezTo>
                    <a:cubicBezTo>
                      <a:pt x="725" y="682"/>
                      <a:pt x="719" y="677"/>
                      <a:pt x="713" y="677"/>
                    </a:cubicBezTo>
                    <a:close/>
                    <a:moveTo>
                      <a:pt x="713" y="523"/>
                    </a:moveTo>
                    <a:cubicBezTo>
                      <a:pt x="706" y="523"/>
                      <a:pt x="701" y="528"/>
                      <a:pt x="701" y="535"/>
                    </a:cubicBezTo>
                    <a:cubicBezTo>
                      <a:pt x="701" y="542"/>
                      <a:pt x="706" y="547"/>
                      <a:pt x="713" y="547"/>
                    </a:cubicBezTo>
                    <a:cubicBezTo>
                      <a:pt x="719" y="547"/>
                      <a:pt x="725" y="542"/>
                      <a:pt x="725" y="535"/>
                    </a:cubicBezTo>
                    <a:cubicBezTo>
                      <a:pt x="725" y="528"/>
                      <a:pt x="719" y="523"/>
                      <a:pt x="713" y="523"/>
                    </a:cubicBezTo>
                    <a:close/>
                    <a:moveTo>
                      <a:pt x="713" y="400"/>
                    </a:moveTo>
                    <a:cubicBezTo>
                      <a:pt x="706" y="400"/>
                      <a:pt x="701" y="405"/>
                      <a:pt x="701" y="412"/>
                    </a:cubicBezTo>
                    <a:cubicBezTo>
                      <a:pt x="701" y="419"/>
                      <a:pt x="706" y="424"/>
                      <a:pt x="713" y="424"/>
                    </a:cubicBezTo>
                    <a:cubicBezTo>
                      <a:pt x="719" y="424"/>
                      <a:pt x="725" y="419"/>
                      <a:pt x="725" y="412"/>
                    </a:cubicBezTo>
                    <a:cubicBezTo>
                      <a:pt x="725" y="405"/>
                      <a:pt x="719" y="400"/>
                      <a:pt x="713" y="400"/>
                    </a:cubicBezTo>
                    <a:close/>
                    <a:moveTo>
                      <a:pt x="713" y="492"/>
                    </a:moveTo>
                    <a:cubicBezTo>
                      <a:pt x="706" y="492"/>
                      <a:pt x="701" y="498"/>
                      <a:pt x="701" y="504"/>
                    </a:cubicBezTo>
                    <a:cubicBezTo>
                      <a:pt x="701" y="511"/>
                      <a:pt x="706" y="516"/>
                      <a:pt x="713" y="516"/>
                    </a:cubicBezTo>
                    <a:cubicBezTo>
                      <a:pt x="719" y="516"/>
                      <a:pt x="725" y="511"/>
                      <a:pt x="725" y="504"/>
                    </a:cubicBezTo>
                    <a:cubicBezTo>
                      <a:pt x="725" y="498"/>
                      <a:pt x="719" y="492"/>
                      <a:pt x="713" y="492"/>
                    </a:cubicBezTo>
                    <a:close/>
                    <a:moveTo>
                      <a:pt x="678" y="185"/>
                    </a:moveTo>
                    <a:cubicBezTo>
                      <a:pt x="671" y="185"/>
                      <a:pt x="666" y="190"/>
                      <a:pt x="666" y="197"/>
                    </a:cubicBezTo>
                    <a:cubicBezTo>
                      <a:pt x="666" y="204"/>
                      <a:pt x="671" y="209"/>
                      <a:pt x="678" y="209"/>
                    </a:cubicBezTo>
                    <a:cubicBezTo>
                      <a:pt x="684" y="209"/>
                      <a:pt x="690" y="204"/>
                      <a:pt x="690" y="197"/>
                    </a:cubicBezTo>
                    <a:cubicBezTo>
                      <a:pt x="690" y="190"/>
                      <a:pt x="684" y="185"/>
                      <a:pt x="678" y="185"/>
                    </a:cubicBezTo>
                    <a:close/>
                    <a:moveTo>
                      <a:pt x="713" y="461"/>
                    </a:moveTo>
                    <a:cubicBezTo>
                      <a:pt x="706" y="461"/>
                      <a:pt x="701" y="467"/>
                      <a:pt x="701" y="474"/>
                    </a:cubicBezTo>
                    <a:cubicBezTo>
                      <a:pt x="701" y="480"/>
                      <a:pt x="706" y="486"/>
                      <a:pt x="713" y="486"/>
                    </a:cubicBezTo>
                    <a:cubicBezTo>
                      <a:pt x="719" y="486"/>
                      <a:pt x="725" y="480"/>
                      <a:pt x="725" y="474"/>
                    </a:cubicBezTo>
                    <a:cubicBezTo>
                      <a:pt x="725" y="467"/>
                      <a:pt x="719" y="461"/>
                      <a:pt x="713" y="461"/>
                    </a:cubicBezTo>
                    <a:close/>
                    <a:moveTo>
                      <a:pt x="713" y="431"/>
                    </a:moveTo>
                    <a:cubicBezTo>
                      <a:pt x="706" y="431"/>
                      <a:pt x="701" y="436"/>
                      <a:pt x="701" y="443"/>
                    </a:cubicBezTo>
                    <a:cubicBezTo>
                      <a:pt x="701" y="449"/>
                      <a:pt x="706" y="455"/>
                      <a:pt x="713" y="455"/>
                    </a:cubicBezTo>
                    <a:cubicBezTo>
                      <a:pt x="719" y="455"/>
                      <a:pt x="725" y="449"/>
                      <a:pt x="725" y="443"/>
                    </a:cubicBezTo>
                    <a:cubicBezTo>
                      <a:pt x="725" y="436"/>
                      <a:pt x="719" y="431"/>
                      <a:pt x="713" y="431"/>
                    </a:cubicBezTo>
                    <a:close/>
                    <a:moveTo>
                      <a:pt x="678" y="123"/>
                    </a:moveTo>
                    <a:cubicBezTo>
                      <a:pt x="671" y="123"/>
                      <a:pt x="666" y="129"/>
                      <a:pt x="666" y="135"/>
                    </a:cubicBezTo>
                    <a:cubicBezTo>
                      <a:pt x="666" y="142"/>
                      <a:pt x="671" y="148"/>
                      <a:pt x="678" y="148"/>
                    </a:cubicBezTo>
                    <a:cubicBezTo>
                      <a:pt x="684" y="148"/>
                      <a:pt x="690" y="142"/>
                      <a:pt x="690" y="135"/>
                    </a:cubicBezTo>
                    <a:cubicBezTo>
                      <a:pt x="690" y="129"/>
                      <a:pt x="684" y="123"/>
                      <a:pt x="678" y="123"/>
                    </a:cubicBezTo>
                    <a:close/>
                    <a:moveTo>
                      <a:pt x="678" y="92"/>
                    </a:moveTo>
                    <a:cubicBezTo>
                      <a:pt x="671" y="92"/>
                      <a:pt x="666" y="98"/>
                      <a:pt x="666" y="105"/>
                    </a:cubicBezTo>
                    <a:cubicBezTo>
                      <a:pt x="666" y="111"/>
                      <a:pt x="671" y="117"/>
                      <a:pt x="678" y="117"/>
                    </a:cubicBezTo>
                    <a:cubicBezTo>
                      <a:pt x="684" y="117"/>
                      <a:pt x="690" y="111"/>
                      <a:pt x="690" y="105"/>
                    </a:cubicBezTo>
                    <a:cubicBezTo>
                      <a:pt x="690" y="98"/>
                      <a:pt x="684" y="92"/>
                      <a:pt x="678" y="92"/>
                    </a:cubicBezTo>
                    <a:close/>
                    <a:moveTo>
                      <a:pt x="678" y="154"/>
                    </a:moveTo>
                    <a:cubicBezTo>
                      <a:pt x="671" y="154"/>
                      <a:pt x="666" y="159"/>
                      <a:pt x="666" y="166"/>
                    </a:cubicBezTo>
                    <a:cubicBezTo>
                      <a:pt x="666" y="173"/>
                      <a:pt x="671" y="178"/>
                      <a:pt x="678" y="178"/>
                    </a:cubicBezTo>
                    <a:cubicBezTo>
                      <a:pt x="684" y="178"/>
                      <a:pt x="690" y="173"/>
                      <a:pt x="690" y="166"/>
                    </a:cubicBezTo>
                    <a:cubicBezTo>
                      <a:pt x="690" y="159"/>
                      <a:pt x="684" y="154"/>
                      <a:pt x="678" y="154"/>
                    </a:cubicBezTo>
                    <a:close/>
                    <a:moveTo>
                      <a:pt x="678" y="62"/>
                    </a:moveTo>
                    <a:cubicBezTo>
                      <a:pt x="671" y="62"/>
                      <a:pt x="666" y="67"/>
                      <a:pt x="666" y="74"/>
                    </a:cubicBezTo>
                    <a:cubicBezTo>
                      <a:pt x="666" y="81"/>
                      <a:pt x="671" y="86"/>
                      <a:pt x="678" y="86"/>
                    </a:cubicBezTo>
                    <a:cubicBezTo>
                      <a:pt x="684" y="86"/>
                      <a:pt x="690" y="81"/>
                      <a:pt x="690" y="74"/>
                    </a:cubicBezTo>
                    <a:cubicBezTo>
                      <a:pt x="690" y="67"/>
                      <a:pt x="684" y="62"/>
                      <a:pt x="678" y="62"/>
                    </a:cubicBezTo>
                    <a:close/>
                    <a:moveTo>
                      <a:pt x="888" y="554"/>
                    </a:moveTo>
                    <a:cubicBezTo>
                      <a:pt x="881" y="554"/>
                      <a:pt x="876" y="559"/>
                      <a:pt x="876" y="566"/>
                    </a:cubicBezTo>
                    <a:cubicBezTo>
                      <a:pt x="876" y="572"/>
                      <a:pt x="881" y="578"/>
                      <a:pt x="888" y="578"/>
                    </a:cubicBezTo>
                    <a:cubicBezTo>
                      <a:pt x="895" y="578"/>
                      <a:pt x="900" y="572"/>
                      <a:pt x="900" y="566"/>
                    </a:cubicBezTo>
                    <a:cubicBezTo>
                      <a:pt x="900" y="559"/>
                      <a:pt x="895" y="554"/>
                      <a:pt x="888" y="554"/>
                    </a:cubicBezTo>
                    <a:close/>
                    <a:moveTo>
                      <a:pt x="678" y="31"/>
                    </a:moveTo>
                    <a:cubicBezTo>
                      <a:pt x="671" y="31"/>
                      <a:pt x="666" y="36"/>
                      <a:pt x="666" y="43"/>
                    </a:cubicBezTo>
                    <a:cubicBezTo>
                      <a:pt x="666" y="50"/>
                      <a:pt x="671" y="55"/>
                      <a:pt x="678" y="55"/>
                    </a:cubicBezTo>
                    <a:cubicBezTo>
                      <a:pt x="684" y="55"/>
                      <a:pt x="690" y="50"/>
                      <a:pt x="690" y="43"/>
                    </a:cubicBezTo>
                    <a:cubicBezTo>
                      <a:pt x="690" y="36"/>
                      <a:pt x="684" y="31"/>
                      <a:pt x="678" y="31"/>
                    </a:cubicBezTo>
                    <a:close/>
                    <a:moveTo>
                      <a:pt x="713" y="707"/>
                    </a:moveTo>
                    <a:cubicBezTo>
                      <a:pt x="706" y="707"/>
                      <a:pt x="701" y="713"/>
                      <a:pt x="701" y="719"/>
                    </a:cubicBezTo>
                    <a:cubicBezTo>
                      <a:pt x="701" y="726"/>
                      <a:pt x="706" y="732"/>
                      <a:pt x="713" y="732"/>
                    </a:cubicBezTo>
                    <a:cubicBezTo>
                      <a:pt x="719" y="732"/>
                      <a:pt x="725" y="726"/>
                      <a:pt x="725" y="719"/>
                    </a:cubicBezTo>
                    <a:cubicBezTo>
                      <a:pt x="725" y="713"/>
                      <a:pt x="719" y="707"/>
                      <a:pt x="713" y="707"/>
                    </a:cubicBezTo>
                    <a:close/>
                    <a:moveTo>
                      <a:pt x="818" y="154"/>
                    </a:moveTo>
                    <a:cubicBezTo>
                      <a:pt x="811" y="154"/>
                      <a:pt x="806" y="159"/>
                      <a:pt x="806" y="166"/>
                    </a:cubicBezTo>
                    <a:cubicBezTo>
                      <a:pt x="806" y="173"/>
                      <a:pt x="811" y="178"/>
                      <a:pt x="818" y="178"/>
                    </a:cubicBezTo>
                    <a:cubicBezTo>
                      <a:pt x="825" y="178"/>
                      <a:pt x="830" y="173"/>
                      <a:pt x="830" y="166"/>
                    </a:cubicBezTo>
                    <a:cubicBezTo>
                      <a:pt x="830" y="159"/>
                      <a:pt x="825" y="154"/>
                      <a:pt x="818" y="154"/>
                    </a:cubicBezTo>
                    <a:close/>
                    <a:moveTo>
                      <a:pt x="853" y="646"/>
                    </a:moveTo>
                    <a:cubicBezTo>
                      <a:pt x="846" y="646"/>
                      <a:pt x="841" y="651"/>
                      <a:pt x="841" y="658"/>
                    </a:cubicBezTo>
                    <a:cubicBezTo>
                      <a:pt x="841" y="665"/>
                      <a:pt x="846" y="670"/>
                      <a:pt x="853" y="670"/>
                    </a:cubicBezTo>
                    <a:cubicBezTo>
                      <a:pt x="860" y="670"/>
                      <a:pt x="865" y="665"/>
                      <a:pt x="865" y="658"/>
                    </a:cubicBezTo>
                    <a:cubicBezTo>
                      <a:pt x="865" y="651"/>
                      <a:pt x="860" y="646"/>
                      <a:pt x="853" y="646"/>
                    </a:cubicBezTo>
                    <a:close/>
                    <a:moveTo>
                      <a:pt x="853" y="800"/>
                    </a:moveTo>
                    <a:cubicBezTo>
                      <a:pt x="846" y="800"/>
                      <a:pt x="841" y="805"/>
                      <a:pt x="841" y="812"/>
                    </a:cubicBezTo>
                    <a:cubicBezTo>
                      <a:pt x="841" y="818"/>
                      <a:pt x="846" y="824"/>
                      <a:pt x="853" y="824"/>
                    </a:cubicBezTo>
                    <a:cubicBezTo>
                      <a:pt x="860" y="824"/>
                      <a:pt x="865" y="818"/>
                      <a:pt x="865" y="812"/>
                    </a:cubicBezTo>
                    <a:cubicBezTo>
                      <a:pt x="865" y="805"/>
                      <a:pt x="860" y="800"/>
                      <a:pt x="853" y="800"/>
                    </a:cubicBezTo>
                    <a:close/>
                    <a:moveTo>
                      <a:pt x="853" y="677"/>
                    </a:moveTo>
                    <a:cubicBezTo>
                      <a:pt x="846" y="677"/>
                      <a:pt x="841" y="682"/>
                      <a:pt x="841" y="689"/>
                    </a:cubicBezTo>
                    <a:cubicBezTo>
                      <a:pt x="841" y="695"/>
                      <a:pt x="846" y="701"/>
                      <a:pt x="853" y="701"/>
                    </a:cubicBezTo>
                    <a:cubicBezTo>
                      <a:pt x="860" y="701"/>
                      <a:pt x="865" y="695"/>
                      <a:pt x="865" y="689"/>
                    </a:cubicBezTo>
                    <a:cubicBezTo>
                      <a:pt x="865" y="682"/>
                      <a:pt x="860" y="677"/>
                      <a:pt x="853" y="677"/>
                    </a:cubicBezTo>
                    <a:close/>
                    <a:moveTo>
                      <a:pt x="853" y="738"/>
                    </a:moveTo>
                    <a:cubicBezTo>
                      <a:pt x="846" y="738"/>
                      <a:pt x="841" y="743"/>
                      <a:pt x="841" y="750"/>
                    </a:cubicBezTo>
                    <a:cubicBezTo>
                      <a:pt x="841" y="757"/>
                      <a:pt x="846" y="762"/>
                      <a:pt x="853" y="762"/>
                    </a:cubicBezTo>
                    <a:cubicBezTo>
                      <a:pt x="860" y="762"/>
                      <a:pt x="865" y="757"/>
                      <a:pt x="865" y="750"/>
                    </a:cubicBezTo>
                    <a:cubicBezTo>
                      <a:pt x="865" y="743"/>
                      <a:pt x="860" y="738"/>
                      <a:pt x="853" y="738"/>
                    </a:cubicBezTo>
                    <a:close/>
                    <a:moveTo>
                      <a:pt x="853" y="769"/>
                    </a:moveTo>
                    <a:cubicBezTo>
                      <a:pt x="846" y="769"/>
                      <a:pt x="841" y="774"/>
                      <a:pt x="841" y="781"/>
                    </a:cubicBezTo>
                    <a:cubicBezTo>
                      <a:pt x="841" y="788"/>
                      <a:pt x="846" y="793"/>
                      <a:pt x="853" y="793"/>
                    </a:cubicBezTo>
                    <a:cubicBezTo>
                      <a:pt x="860" y="793"/>
                      <a:pt x="865" y="788"/>
                      <a:pt x="865" y="781"/>
                    </a:cubicBezTo>
                    <a:cubicBezTo>
                      <a:pt x="865" y="774"/>
                      <a:pt x="860" y="769"/>
                      <a:pt x="853" y="769"/>
                    </a:cubicBezTo>
                    <a:close/>
                    <a:moveTo>
                      <a:pt x="853" y="707"/>
                    </a:moveTo>
                    <a:cubicBezTo>
                      <a:pt x="846" y="707"/>
                      <a:pt x="841" y="713"/>
                      <a:pt x="841" y="719"/>
                    </a:cubicBezTo>
                    <a:cubicBezTo>
                      <a:pt x="841" y="726"/>
                      <a:pt x="846" y="732"/>
                      <a:pt x="853" y="732"/>
                    </a:cubicBezTo>
                    <a:cubicBezTo>
                      <a:pt x="860" y="732"/>
                      <a:pt x="865" y="726"/>
                      <a:pt x="865" y="719"/>
                    </a:cubicBezTo>
                    <a:cubicBezTo>
                      <a:pt x="865" y="713"/>
                      <a:pt x="860" y="707"/>
                      <a:pt x="853" y="707"/>
                    </a:cubicBezTo>
                    <a:close/>
                    <a:moveTo>
                      <a:pt x="853" y="523"/>
                    </a:moveTo>
                    <a:cubicBezTo>
                      <a:pt x="846" y="523"/>
                      <a:pt x="841" y="528"/>
                      <a:pt x="841" y="535"/>
                    </a:cubicBezTo>
                    <a:cubicBezTo>
                      <a:pt x="841" y="542"/>
                      <a:pt x="846" y="547"/>
                      <a:pt x="853" y="547"/>
                    </a:cubicBezTo>
                    <a:cubicBezTo>
                      <a:pt x="860" y="547"/>
                      <a:pt x="865" y="542"/>
                      <a:pt x="865" y="535"/>
                    </a:cubicBezTo>
                    <a:cubicBezTo>
                      <a:pt x="865" y="528"/>
                      <a:pt x="860" y="523"/>
                      <a:pt x="853" y="523"/>
                    </a:cubicBezTo>
                    <a:close/>
                    <a:moveTo>
                      <a:pt x="853" y="615"/>
                    </a:moveTo>
                    <a:cubicBezTo>
                      <a:pt x="846" y="615"/>
                      <a:pt x="841" y="620"/>
                      <a:pt x="841" y="627"/>
                    </a:cubicBezTo>
                    <a:cubicBezTo>
                      <a:pt x="841" y="634"/>
                      <a:pt x="846" y="639"/>
                      <a:pt x="853" y="639"/>
                    </a:cubicBezTo>
                    <a:cubicBezTo>
                      <a:pt x="860" y="639"/>
                      <a:pt x="865" y="634"/>
                      <a:pt x="865" y="627"/>
                    </a:cubicBezTo>
                    <a:cubicBezTo>
                      <a:pt x="865" y="620"/>
                      <a:pt x="860" y="615"/>
                      <a:pt x="853" y="615"/>
                    </a:cubicBezTo>
                    <a:close/>
                    <a:moveTo>
                      <a:pt x="853" y="554"/>
                    </a:moveTo>
                    <a:cubicBezTo>
                      <a:pt x="846" y="554"/>
                      <a:pt x="841" y="559"/>
                      <a:pt x="841" y="566"/>
                    </a:cubicBezTo>
                    <a:cubicBezTo>
                      <a:pt x="841" y="572"/>
                      <a:pt x="846" y="578"/>
                      <a:pt x="853" y="578"/>
                    </a:cubicBezTo>
                    <a:cubicBezTo>
                      <a:pt x="860" y="578"/>
                      <a:pt x="865" y="572"/>
                      <a:pt x="865" y="566"/>
                    </a:cubicBezTo>
                    <a:cubicBezTo>
                      <a:pt x="865" y="559"/>
                      <a:pt x="860" y="554"/>
                      <a:pt x="853" y="554"/>
                    </a:cubicBezTo>
                    <a:close/>
                    <a:moveTo>
                      <a:pt x="853" y="584"/>
                    </a:moveTo>
                    <a:cubicBezTo>
                      <a:pt x="846" y="584"/>
                      <a:pt x="841" y="590"/>
                      <a:pt x="841" y="596"/>
                    </a:cubicBezTo>
                    <a:cubicBezTo>
                      <a:pt x="841" y="603"/>
                      <a:pt x="846" y="609"/>
                      <a:pt x="853" y="609"/>
                    </a:cubicBezTo>
                    <a:cubicBezTo>
                      <a:pt x="860" y="609"/>
                      <a:pt x="865" y="603"/>
                      <a:pt x="865" y="596"/>
                    </a:cubicBezTo>
                    <a:cubicBezTo>
                      <a:pt x="865" y="590"/>
                      <a:pt x="860" y="584"/>
                      <a:pt x="853" y="584"/>
                    </a:cubicBezTo>
                    <a:close/>
                    <a:moveTo>
                      <a:pt x="818" y="185"/>
                    </a:moveTo>
                    <a:cubicBezTo>
                      <a:pt x="811" y="185"/>
                      <a:pt x="806" y="190"/>
                      <a:pt x="806" y="197"/>
                    </a:cubicBezTo>
                    <a:cubicBezTo>
                      <a:pt x="806" y="204"/>
                      <a:pt x="811" y="209"/>
                      <a:pt x="818" y="209"/>
                    </a:cubicBezTo>
                    <a:cubicBezTo>
                      <a:pt x="825" y="209"/>
                      <a:pt x="830" y="204"/>
                      <a:pt x="830" y="197"/>
                    </a:cubicBezTo>
                    <a:cubicBezTo>
                      <a:pt x="830" y="190"/>
                      <a:pt x="825" y="185"/>
                      <a:pt x="818" y="185"/>
                    </a:cubicBezTo>
                    <a:close/>
                    <a:moveTo>
                      <a:pt x="853" y="492"/>
                    </a:moveTo>
                    <a:cubicBezTo>
                      <a:pt x="846" y="492"/>
                      <a:pt x="841" y="498"/>
                      <a:pt x="841" y="504"/>
                    </a:cubicBezTo>
                    <a:cubicBezTo>
                      <a:pt x="841" y="511"/>
                      <a:pt x="846" y="516"/>
                      <a:pt x="853" y="516"/>
                    </a:cubicBezTo>
                    <a:cubicBezTo>
                      <a:pt x="860" y="516"/>
                      <a:pt x="865" y="511"/>
                      <a:pt x="865" y="504"/>
                    </a:cubicBezTo>
                    <a:cubicBezTo>
                      <a:pt x="865" y="498"/>
                      <a:pt x="860" y="492"/>
                      <a:pt x="853" y="492"/>
                    </a:cubicBezTo>
                    <a:close/>
                    <a:moveTo>
                      <a:pt x="818" y="215"/>
                    </a:moveTo>
                    <a:cubicBezTo>
                      <a:pt x="811" y="215"/>
                      <a:pt x="806" y="221"/>
                      <a:pt x="806" y="228"/>
                    </a:cubicBezTo>
                    <a:cubicBezTo>
                      <a:pt x="806" y="234"/>
                      <a:pt x="811" y="240"/>
                      <a:pt x="818" y="240"/>
                    </a:cubicBezTo>
                    <a:cubicBezTo>
                      <a:pt x="825" y="240"/>
                      <a:pt x="830" y="234"/>
                      <a:pt x="830" y="228"/>
                    </a:cubicBezTo>
                    <a:cubicBezTo>
                      <a:pt x="830" y="221"/>
                      <a:pt x="825" y="215"/>
                      <a:pt x="818" y="215"/>
                    </a:cubicBezTo>
                    <a:close/>
                    <a:moveTo>
                      <a:pt x="818" y="277"/>
                    </a:moveTo>
                    <a:cubicBezTo>
                      <a:pt x="811" y="277"/>
                      <a:pt x="806" y="282"/>
                      <a:pt x="806" y="289"/>
                    </a:cubicBezTo>
                    <a:cubicBezTo>
                      <a:pt x="806" y="296"/>
                      <a:pt x="811" y="301"/>
                      <a:pt x="818" y="301"/>
                    </a:cubicBezTo>
                    <a:cubicBezTo>
                      <a:pt x="825" y="301"/>
                      <a:pt x="830" y="296"/>
                      <a:pt x="830" y="289"/>
                    </a:cubicBezTo>
                    <a:cubicBezTo>
                      <a:pt x="830" y="282"/>
                      <a:pt x="825" y="277"/>
                      <a:pt x="818" y="277"/>
                    </a:cubicBezTo>
                    <a:close/>
                    <a:moveTo>
                      <a:pt x="643" y="31"/>
                    </a:moveTo>
                    <a:cubicBezTo>
                      <a:pt x="636" y="31"/>
                      <a:pt x="630" y="36"/>
                      <a:pt x="630" y="43"/>
                    </a:cubicBezTo>
                    <a:cubicBezTo>
                      <a:pt x="630" y="50"/>
                      <a:pt x="636" y="55"/>
                      <a:pt x="643" y="55"/>
                    </a:cubicBezTo>
                    <a:cubicBezTo>
                      <a:pt x="649" y="55"/>
                      <a:pt x="655" y="50"/>
                      <a:pt x="655" y="43"/>
                    </a:cubicBezTo>
                    <a:cubicBezTo>
                      <a:pt x="655" y="36"/>
                      <a:pt x="649" y="31"/>
                      <a:pt x="643" y="31"/>
                    </a:cubicBezTo>
                    <a:close/>
                    <a:moveTo>
                      <a:pt x="818" y="246"/>
                    </a:moveTo>
                    <a:cubicBezTo>
                      <a:pt x="811" y="246"/>
                      <a:pt x="806" y="252"/>
                      <a:pt x="806" y="258"/>
                    </a:cubicBezTo>
                    <a:cubicBezTo>
                      <a:pt x="806" y="265"/>
                      <a:pt x="811" y="270"/>
                      <a:pt x="818" y="270"/>
                    </a:cubicBezTo>
                    <a:cubicBezTo>
                      <a:pt x="825" y="270"/>
                      <a:pt x="830" y="265"/>
                      <a:pt x="830" y="258"/>
                    </a:cubicBezTo>
                    <a:cubicBezTo>
                      <a:pt x="830" y="252"/>
                      <a:pt x="825" y="246"/>
                      <a:pt x="818" y="246"/>
                    </a:cubicBezTo>
                    <a:close/>
                    <a:moveTo>
                      <a:pt x="818" y="92"/>
                    </a:moveTo>
                    <a:cubicBezTo>
                      <a:pt x="811" y="92"/>
                      <a:pt x="806" y="98"/>
                      <a:pt x="806" y="105"/>
                    </a:cubicBezTo>
                    <a:cubicBezTo>
                      <a:pt x="806" y="111"/>
                      <a:pt x="811" y="117"/>
                      <a:pt x="818" y="117"/>
                    </a:cubicBezTo>
                    <a:cubicBezTo>
                      <a:pt x="825" y="117"/>
                      <a:pt x="830" y="111"/>
                      <a:pt x="830" y="105"/>
                    </a:cubicBezTo>
                    <a:cubicBezTo>
                      <a:pt x="830" y="98"/>
                      <a:pt x="825" y="92"/>
                      <a:pt x="818" y="92"/>
                    </a:cubicBezTo>
                    <a:close/>
                    <a:moveTo>
                      <a:pt x="888" y="584"/>
                    </a:moveTo>
                    <a:cubicBezTo>
                      <a:pt x="881" y="584"/>
                      <a:pt x="876" y="590"/>
                      <a:pt x="876" y="596"/>
                    </a:cubicBezTo>
                    <a:cubicBezTo>
                      <a:pt x="876" y="603"/>
                      <a:pt x="881" y="609"/>
                      <a:pt x="888" y="609"/>
                    </a:cubicBezTo>
                    <a:cubicBezTo>
                      <a:pt x="895" y="609"/>
                      <a:pt x="900" y="603"/>
                      <a:pt x="900" y="596"/>
                    </a:cubicBezTo>
                    <a:cubicBezTo>
                      <a:pt x="900" y="590"/>
                      <a:pt x="895" y="584"/>
                      <a:pt x="888" y="584"/>
                    </a:cubicBezTo>
                    <a:close/>
                    <a:moveTo>
                      <a:pt x="888" y="738"/>
                    </a:moveTo>
                    <a:cubicBezTo>
                      <a:pt x="881" y="738"/>
                      <a:pt x="876" y="743"/>
                      <a:pt x="876" y="750"/>
                    </a:cubicBezTo>
                    <a:cubicBezTo>
                      <a:pt x="876" y="757"/>
                      <a:pt x="881" y="762"/>
                      <a:pt x="888" y="762"/>
                    </a:cubicBezTo>
                    <a:cubicBezTo>
                      <a:pt x="895" y="762"/>
                      <a:pt x="900" y="757"/>
                      <a:pt x="900" y="750"/>
                    </a:cubicBezTo>
                    <a:cubicBezTo>
                      <a:pt x="900" y="743"/>
                      <a:pt x="895" y="738"/>
                      <a:pt x="888" y="738"/>
                    </a:cubicBezTo>
                    <a:close/>
                    <a:moveTo>
                      <a:pt x="888" y="707"/>
                    </a:moveTo>
                    <a:cubicBezTo>
                      <a:pt x="881" y="707"/>
                      <a:pt x="876" y="713"/>
                      <a:pt x="876" y="719"/>
                    </a:cubicBezTo>
                    <a:cubicBezTo>
                      <a:pt x="876" y="726"/>
                      <a:pt x="881" y="732"/>
                      <a:pt x="888" y="732"/>
                    </a:cubicBezTo>
                    <a:cubicBezTo>
                      <a:pt x="895" y="732"/>
                      <a:pt x="900" y="726"/>
                      <a:pt x="900" y="719"/>
                    </a:cubicBezTo>
                    <a:cubicBezTo>
                      <a:pt x="900" y="713"/>
                      <a:pt x="895" y="707"/>
                      <a:pt x="888" y="707"/>
                    </a:cubicBezTo>
                    <a:close/>
                    <a:moveTo>
                      <a:pt x="888" y="615"/>
                    </a:moveTo>
                    <a:cubicBezTo>
                      <a:pt x="881" y="615"/>
                      <a:pt x="876" y="620"/>
                      <a:pt x="876" y="627"/>
                    </a:cubicBezTo>
                    <a:cubicBezTo>
                      <a:pt x="876" y="634"/>
                      <a:pt x="881" y="639"/>
                      <a:pt x="888" y="639"/>
                    </a:cubicBezTo>
                    <a:cubicBezTo>
                      <a:pt x="895" y="639"/>
                      <a:pt x="900" y="634"/>
                      <a:pt x="900" y="627"/>
                    </a:cubicBezTo>
                    <a:cubicBezTo>
                      <a:pt x="900" y="620"/>
                      <a:pt x="895" y="615"/>
                      <a:pt x="888" y="615"/>
                    </a:cubicBezTo>
                    <a:close/>
                    <a:moveTo>
                      <a:pt x="818" y="308"/>
                    </a:moveTo>
                    <a:cubicBezTo>
                      <a:pt x="811" y="308"/>
                      <a:pt x="806" y="313"/>
                      <a:pt x="806" y="320"/>
                    </a:cubicBezTo>
                    <a:cubicBezTo>
                      <a:pt x="806" y="327"/>
                      <a:pt x="811" y="332"/>
                      <a:pt x="818" y="332"/>
                    </a:cubicBezTo>
                    <a:cubicBezTo>
                      <a:pt x="825" y="332"/>
                      <a:pt x="830" y="327"/>
                      <a:pt x="830" y="320"/>
                    </a:cubicBezTo>
                    <a:cubicBezTo>
                      <a:pt x="830" y="313"/>
                      <a:pt x="825" y="308"/>
                      <a:pt x="818" y="308"/>
                    </a:cubicBezTo>
                    <a:close/>
                    <a:moveTo>
                      <a:pt x="853" y="154"/>
                    </a:moveTo>
                    <a:cubicBezTo>
                      <a:pt x="846" y="154"/>
                      <a:pt x="841" y="159"/>
                      <a:pt x="841" y="166"/>
                    </a:cubicBezTo>
                    <a:cubicBezTo>
                      <a:pt x="841" y="173"/>
                      <a:pt x="846" y="178"/>
                      <a:pt x="853" y="178"/>
                    </a:cubicBezTo>
                    <a:cubicBezTo>
                      <a:pt x="860" y="178"/>
                      <a:pt x="865" y="173"/>
                      <a:pt x="865" y="166"/>
                    </a:cubicBezTo>
                    <a:cubicBezTo>
                      <a:pt x="865" y="159"/>
                      <a:pt x="860" y="154"/>
                      <a:pt x="853" y="154"/>
                    </a:cubicBezTo>
                    <a:close/>
                    <a:moveTo>
                      <a:pt x="888" y="677"/>
                    </a:moveTo>
                    <a:cubicBezTo>
                      <a:pt x="881" y="677"/>
                      <a:pt x="876" y="682"/>
                      <a:pt x="876" y="689"/>
                    </a:cubicBezTo>
                    <a:cubicBezTo>
                      <a:pt x="876" y="695"/>
                      <a:pt x="881" y="701"/>
                      <a:pt x="888" y="701"/>
                    </a:cubicBezTo>
                    <a:cubicBezTo>
                      <a:pt x="895" y="701"/>
                      <a:pt x="900" y="695"/>
                      <a:pt x="900" y="689"/>
                    </a:cubicBezTo>
                    <a:cubicBezTo>
                      <a:pt x="900" y="682"/>
                      <a:pt x="895" y="677"/>
                      <a:pt x="888" y="677"/>
                    </a:cubicBezTo>
                    <a:close/>
                    <a:moveTo>
                      <a:pt x="888" y="646"/>
                    </a:moveTo>
                    <a:cubicBezTo>
                      <a:pt x="881" y="646"/>
                      <a:pt x="876" y="651"/>
                      <a:pt x="876" y="658"/>
                    </a:cubicBezTo>
                    <a:cubicBezTo>
                      <a:pt x="876" y="665"/>
                      <a:pt x="881" y="670"/>
                      <a:pt x="888" y="670"/>
                    </a:cubicBezTo>
                    <a:cubicBezTo>
                      <a:pt x="895" y="670"/>
                      <a:pt x="900" y="665"/>
                      <a:pt x="900" y="658"/>
                    </a:cubicBezTo>
                    <a:cubicBezTo>
                      <a:pt x="900" y="651"/>
                      <a:pt x="895" y="646"/>
                      <a:pt x="888" y="646"/>
                    </a:cubicBezTo>
                    <a:close/>
                    <a:moveTo>
                      <a:pt x="853" y="215"/>
                    </a:moveTo>
                    <a:cubicBezTo>
                      <a:pt x="846" y="215"/>
                      <a:pt x="841" y="221"/>
                      <a:pt x="841" y="228"/>
                    </a:cubicBezTo>
                    <a:cubicBezTo>
                      <a:pt x="841" y="234"/>
                      <a:pt x="846" y="240"/>
                      <a:pt x="853" y="240"/>
                    </a:cubicBezTo>
                    <a:cubicBezTo>
                      <a:pt x="860" y="240"/>
                      <a:pt x="865" y="234"/>
                      <a:pt x="865" y="228"/>
                    </a:cubicBezTo>
                    <a:cubicBezTo>
                      <a:pt x="865" y="221"/>
                      <a:pt x="860" y="215"/>
                      <a:pt x="853" y="215"/>
                    </a:cubicBezTo>
                    <a:close/>
                    <a:moveTo>
                      <a:pt x="853" y="338"/>
                    </a:moveTo>
                    <a:cubicBezTo>
                      <a:pt x="846" y="338"/>
                      <a:pt x="841" y="344"/>
                      <a:pt x="841" y="351"/>
                    </a:cubicBezTo>
                    <a:cubicBezTo>
                      <a:pt x="841" y="357"/>
                      <a:pt x="846" y="363"/>
                      <a:pt x="853" y="363"/>
                    </a:cubicBezTo>
                    <a:cubicBezTo>
                      <a:pt x="860" y="363"/>
                      <a:pt x="865" y="357"/>
                      <a:pt x="865" y="351"/>
                    </a:cubicBezTo>
                    <a:cubicBezTo>
                      <a:pt x="865" y="344"/>
                      <a:pt x="860" y="338"/>
                      <a:pt x="853" y="338"/>
                    </a:cubicBezTo>
                    <a:close/>
                    <a:moveTo>
                      <a:pt x="853" y="400"/>
                    </a:moveTo>
                    <a:cubicBezTo>
                      <a:pt x="846" y="400"/>
                      <a:pt x="841" y="405"/>
                      <a:pt x="841" y="412"/>
                    </a:cubicBezTo>
                    <a:cubicBezTo>
                      <a:pt x="841" y="419"/>
                      <a:pt x="846" y="424"/>
                      <a:pt x="853" y="424"/>
                    </a:cubicBezTo>
                    <a:cubicBezTo>
                      <a:pt x="860" y="424"/>
                      <a:pt x="865" y="419"/>
                      <a:pt x="865" y="412"/>
                    </a:cubicBezTo>
                    <a:cubicBezTo>
                      <a:pt x="865" y="405"/>
                      <a:pt x="860" y="400"/>
                      <a:pt x="853" y="400"/>
                    </a:cubicBezTo>
                    <a:close/>
                    <a:moveTo>
                      <a:pt x="853" y="185"/>
                    </a:moveTo>
                    <a:cubicBezTo>
                      <a:pt x="846" y="185"/>
                      <a:pt x="841" y="190"/>
                      <a:pt x="841" y="197"/>
                    </a:cubicBezTo>
                    <a:cubicBezTo>
                      <a:pt x="841" y="204"/>
                      <a:pt x="846" y="209"/>
                      <a:pt x="853" y="209"/>
                    </a:cubicBezTo>
                    <a:cubicBezTo>
                      <a:pt x="860" y="209"/>
                      <a:pt x="865" y="204"/>
                      <a:pt x="865" y="197"/>
                    </a:cubicBezTo>
                    <a:cubicBezTo>
                      <a:pt x="865" y="190"/>
                      <a:pt x="860" y="185"/>
                      <a:pt x="853" y="185"/>
                    </a:cubicBezTo>
                    <a:close/>
                    <a:moveTo>
                      <a:pt x="853" y="431"/>
                    </a:moveTo>
                    <a:cubicBezTo>
                      <a:pt x="846" y="431"/>
                      <a:pt x="841" y="436"/>
                      <a:pt x="841" y="443"/>
                    </a:cubicBezTo>
                    <a:cubicBezTo>
                      <a:pt x="841" y="449"/>
                      <a:pt x="846" y="455"/>
                      <a:pt x="853" y="455"/>
                    </a:cubicBezTo>
                    <a:cubicBezTo>
                      <a:pt x="860" y="455"/>
                      <a:pt x="865" y="449"/>
                      <a:pt x="865" y="443"/>
                    </a:cubicBezTo>
                    <a:cubicBezTo>
                      <a:pt x="865" y="436"/>
                      <a:pt x="860" y="431"/>
                      <a:pt x="853" y="431"/>
                    </a:cubicBezTo>
                    <a:close/>
                    <a:moveTo>
                      <a:pt x="853" y="369"/>
                    </a:moveTo>
                    <a:cubicBezTo>
                      <a:pt x="846" y="369"/>
                      <a:pt x="841" y="375"/>
                      <a:pt x="841" y="381"/>
                    </a:cubicBezTo>
                    <a:cubicBezTo>
                      <a:pt x="841" y="388"/>
                      <a:pt x="846" y="393"/>
                      <a:pt x="853" y="393"/>
                    </a:cubicBezTo>
                    <a:cubicBezTo>
                      <a:pt x="860" y="393"/>
                      <a:pt x="865" y="388"/>
                      <a:pt x="865" y="381"/>
                    </a:cubicBezTo>
                    <a:cubicBezTo>
                      <a:pt x="865" y="375"/>
                      <a:pt x="860" y="369"/>
                      <a:pt x="853" y="369"/>
                    </a:cubicBezTo>
                    <a:close/>
                    <a:moveTo>
                      <a:pt x="853" y="308"/>
                    </a:moveTo>
                    <a:cubicBezTo>
                      <a:pt x="846" y="308"/>
                      <a:pt x="841" y="313"/>
                      <a:pt x="841" y="320"/>
                    </a:cubicBezTo>
                    <a:cubicBezTo>
                      <a:pt x="841" y="327"/>
                      <a:pt x="846" y="332"/>
                      <a:pt x="853" y="332"/>
                    </a:cubicBezTo>
                    <a:cubicBezTo>
                      <a:pt x="860" y="332"/>
                      <a:pt x="865" y="327"/>
                      <a:pt x="865" y="320"/>
                    </a:cubicBezTo>
                    <a:cubicBezTo>
                      <a:pt x="865" y="313"/>
                      <a:pt x="860" y="308"/>
                      <a:pt x="853" y="308"/>
                    </a:cubicBezTo>
                    <a:close/>
                    <a:moveTo>
                      <a:pt x="853" y="461"/>
                    </a:moveTo>
                    <a:cubicBezTo>
                      <a:pt x="846" y="461"/>
                      <a:pt x="841" y="467"/>
                      <a:pt x="841" y="474"/>
                    </a:cubicBezTo>
                    <a:cubicBezTo>
                      <a:pt x="841" y="480"/>
                      <a:pt x="846" y="486"/>
                      <a:pt x="853" y="486"/>
                    </a:cubicBezTo>
                    <a:cubicBezTo>
                      <a:pt x="860" y="486"/>
                      <a:pt x="865" y="480"/>
                      <a:pt x="865" y="474"/>
                    </a:cubicBezTo>
                    <a:cubicBezTo>
                      <a:pt x="865" y="467"/>
                      <a:pt x="860" y="461"/>
                      <a:pt x="853" y="461"/>
                    </a:cubicBezTo>
                    <a:close/>
                    <a:moveTo>
                      <a:pt x="853" y="246"/>
                    </a:moveTo>
                    <a:cubicBezTo>
                      <a:pt x="846" y="246"/>
                      <a:pt x="841" y="252"/>
                      <a:pt x="841" y="258"/>
                    </a:cubicBezTo>
                    <a:cubicBezTo>
                      <a:pt x="841" y="265"/>
                      <a:pt x="846" y="270"/>
                      <a:pt x="853" y="270"/>
                    </a:cubicBezTo>
                    <a:cubicBezTo>
                      <a:pt x="860" y="270"/>
                      <a:pt x="865" y="265"/>
                      <a:pt x="865" y="258"/>
                    </a:cubicBezTo>
                    <a:cubicBezTo>
                      <a:pt x="865" y="252"/>
                      <a:pt x="860" y="246"/>
                      <a:pt x="853" y="246"/>
                    </a:cubicBezTo>
                    <a:close/>
                    <a:moveTo>
                      <a:pt x="853" y="277"/>
                    </a:moveTo>
                    <a:cubicBezTo>
                      <a:pt x="846" y="277"/>
                      <a:pt x="841" y="282"/>
                      <a:pt x="841" y="289"/>
                    </a:cubicBezTo>
                    <a:cubicBezTo>
                      <a:pt x="841" y="296"/>
                      <a:pt x="846" y="301"/>
                      <a:pt x="853" y="301"/>
                    </a:cubicBezTo>
                    <a:cubicBezTo>
                      <a:pt x="860" y="301"/>
                      <a:pt x="865" y="296"/>
                      <a:pt x="865" y="289"/>
                    </a:cubicBezTo>
                    <a:cubicBezTo>
                      <a:pt x="865" y="282"/>
                      <a:pt x="860" y="277"/>
                      <a:pt x="853" y="277"/>
                    </a:cubicBezTo>
                    <a:close/>
                    <a:moveTo>
                      <a:pt x="818" y="707"/>
                    </a:moveTo>
                    <a:cubicBezTo>
                      <a:pt x="811" y="707"/>
                      <a:pt x="806" y="713"/>
                      <a:pt x="806" y="719"/>
                    </a:cubicBezTo>
                    <a:cubicBezTo>
                      <a:pt x="806" y="726"/>
                      <a:pt x="811" y="732"/>
                      <a:pt x="818" y="732"/>
                    </a:cubicBezTo>
                    <a:cubicBezTo>
                      <a:pt x="825" y="732"/>
                      <a:pt x="830" y="726"/>
                      <a:pt x="830" y="719"/>
                    </a:cubicBezTo>
                    <a:cubicBezTo>
                      <a:pt x="830" y="713"/>
                      <a:pt x="825" y="707"/>
                      <a:pt x="818" y="707"/>
                    </a:cubicBezTo>
                    <a:close/>
                    <a:moveTo>
                      <a:pt x="783" y="338"/>
                    </a:moveTo>
                    <a:cubicBezTo>
                      <a:pt x="776" y="338"/>
                      <a:pt x="771" y="344"/>
                      <a:pt x="771" y="351"/>
                    </a:cubicBezTo>
                    <a:cubicBezTo>
                      <a:pt x="771" y="357"/>
                      <a:pt x="776" y="363"/>
                      <a:pt x="783" y="363"/>
                    </a:cubicBezTo>
                    <a:cubicBezTo>
                      <a:pt x="790" y="363"/>
                      <a:pt x="795" y="357"/>
                      <a:pt x="795" y="351"/>
                    </a:cubicBezTo>
                    <a:cubicBezTo>
                      <a:pt x="795" y="344"/>
                      <a:pt x="790" y="338"/>
                      <a:pt x="783" y="338"/>
                    </a:cubicBezTo>
                    <a:close/>
                    <a:moveTo>
                      <a:pt x="783" y="369"/>
                    </a:moveTo>
                    <a:cubicBezTo>
                      <a:pt x="776" y="369"/>
                      <a:pt x="771" y="375"/>
                      <a:pt x="771" y="381"/>
                    </a:cubicBezTo>
                    <a:cubicBezTo>
                      <a:pt x="771" y="388"/>
                      <a:pt x="776" y="393"/>
                      <a:pt x="783" y="393"/>
                    </a:cubicBezTo>
                    <a:cubicBezTo>
                      <a:pt x="790" y="393"/>
                      <a:pt x="795" y="388"/>
                      <a:pt x="795" y="381"/>
                    </a:cubicBezTo>
                    <a:cubicBezTo>
                      <a:pt x="795" y="375"/>
                      <a:pt x="790" y="369"/>
                      <a:pt x="783" y="369"/>
                    </a:cubicBezTo>
                    <a:close/>
                    <a:moveTo>
                      <a:pt x="783" y="308"/>
                    </a:moveTo>
                    <a:cubicBezTo>
                      <a:pt x="776" y="308"/>
                      <a:pt x="771" y="313"/>
                      <a:pt x="771" y="320"/>
                    </a:cubicBezTo>
                    <a:cubicBezTo>
                      <a:pt x="771" y="327"/>
                      <a:pt x="776" y="332"/>
                      <a:pt x="783" y="332"/>
                    </a:cubicBezTo>
                    <a:cubicBezTo>
                      <a:pt x="790" y="332"/>
                      <a:pt x="795" y="327"/>
                      <a:pt x="795" y="320"/>
                    </a:cubicBezTo>
                    <a:cubicBezTo>
                      <a:pt x="795" y="313"/>
                      <a:pt x="790" y="308"/>
                      <a:pt x="783" y="308"/>
                    </a:cubicBezTo>
                    <a:close/>
                    <a:moveTo>
                      <a:pt x="783" y="461"/>
                    </a:moveTo>
                    <a:cubicBezTo>
                      <a:pt x="776" y="461"/>
                      <a:pt x="771" y="467"/>
                      <a:pt x="771" y="474"/>
                    </a:cubicBezTo>
                    <a:cubicBezTo>
                      <a:pt x="771" y="480"/>
                      <a:pt x="776" y="486"/>
                      <a:pt x="783" y="486"/>
                    </a:cubicBezTo>
                    <a:cubicBezTo>
                      <a:pt x="790" y="486"/>
                      <a:pt x="795" y="480"/>
                      <a:pt x="795" y="474"/>
                    </a:cubicBezTo>
                    <a:cubicBezTo>
                      <a:pt x="795" y="467"/>
                      <a:pt x="790" y="461"/>
                      <a:pt x="783" y="461"/>
                    </a:cubicBezTo>
                    <a:close/>
                    <a:moveTo>
                      <a:pt x="783" y="431"/>
                    </a:moveTo>
                    <a:cubicBezTo>
                      <a:pt x="776" y="431"/>
                      <a:pt x="771" y="436"/>
                      <a:pt x="771" y="443"/>
                    </a:cubicBezTo>
                    <a:cubicBezTo>
                      <a:pt x="771" y="449"/>
                      <a:pt x="776" y="455"/>
                      <a:pt x="783" y="455"/>
                    </a:cubicBezTo>
                    <a:cubicBezTo>
                      <a:pt x="790" y="455"/>
                      <a:pt x="795" y="449"/>
                      <a:pt x="795" y="443"/>
                    </a:cubicBezTo>
                    <a:cubicBezTo>
                      <a:pt x="795" y="436"/>
                      <a:pt x="790" y="431"/>
                      <a:pt x="783" y="431"/>
                    </a:cubicBezTo>
                    <a:close/>
                    <a:moveTo>
                      <a:pt x="783" y="400"/>
                    </a:moveTo>
                    <a:cubicBezTo>
                      <a:pt x="776" y="400"/>
                      <a:pt x="771" y="405"/>
                      <a:pt x="771" y="412"/>
                    </a:cubicBezTo>
                    <a:cubicBezTo>
                      <a:pt x="771" y="419"/>
                      <a:pt x="776" y="424"/>
                      <a:pt x="783" y="424"/>
                    </a:cubicBezTo>
                    <a:cubicBezTo>
                      <a:pt x="790" y="424"/>
                      <a:pt x="795" y="419"/>
                      <a:pt x="795" y="412"/>
                    </a:cubicBezTo>
                    <a:cubicBezTo>
                      <a:pt x="795" y="405"/>
                      <a:pt x="790" y="400"/>
                      <a:pt x="783" y="400"/>
                    </a:cubicBezTo>
                    <a:close/>
                    <a:moveTo>
                      <a:pt x="783" y="215"/>
                    </a:moveTo>
                    <a:cubicBezTo>
                      <a:pt x="776" y="215"/>
                      <a:pt x="771" y="221"/>
                      <a:pt x="771" y="228"/>
                    </a:cubicBezTo>
                    <a:cubicBezTo>
                      <a:pt x="771" y="234"/>
                      <a:pt x="776" y="240"/>
                      <a:pt x="783" y="240"/>
                    </a:cubicBezTo>
                    <a:cubicBezTo>
                      <a:pt x="790" y="240"/>
                      <a:pt x="795" y="234"/>
                      <a:pt x="795" y="228"/>
                    </a:cubicBezTo>
                    <a:cubicBezTo>
                      <a:pt x="795" y="221"/>
                      <a:pt x="790" y="215"/>
                      <a:pt x="783" y="215"/>
                    </a:cubicBezTo>
                    <a:close/>
                    <a:moveTo>
                      <a:pt x="783" y="185"/>
                    </a:moveTo>
                    <a:cubicBezTo>
                      <a:pt x="776" y="185"/>
                      <a:pt x="771" y="190"/>
                      <a:pt x="771" y="197"/>
                    </a:cubicBezTo>
                    <a:cubicBezTo>
                      <a:pt x="771" y="204"/>
                      <a:pt x="776" y="209"/>
                      <a:pt x="783" y="209"/>
                    </a:cubicBezTo>
                    <a:cubicBezTo>
                      <a:pt x="790" y="209"/>
                      <a:pt x="795" y="204"/>
                      <a:pt x="795" y="197"/>
                    </a:cubicBezTo>
                    <a:cubicBezTo>
                      <a:pt x="795" y="190"/>
                      <a:pt x="790" y="185"/>
                      <a:pt x="783" y="185"/>
                    </a:cubicBezTo>
                    <a:close/>
                    <a:moveTo>
                      <a:pt x="783" y="246"/>
                    </a:moveTo>
                    <a:cubicBezTo>
                      <a:pt x="776" y="246"/>
                      <a:pt x="771" y="252"/>
                      <a:pt x="771" y="258"/>
                    </a:cubicBezTo>
                    <a:cubicBezTo>
                      <a:pt x="771" y="265"/>
                      <a:pt x="776" y="270"/>
                      <a:pt x="783" y="270"/>
                    </a:cubicBezTo>
                    <a:cubicBezTo>
                      <a:pt x="790" y="270"/>
                      <a:pt x="795" y="265"/>
                      <a:pt x="795" y="258"/>
                    </a:cubicBezTo>
                    <a:cubicBezTo>
                      <a:pt x="795" y="252"/>
                      <a:pt x="790" y="246"/>
                      <a:pt x="783" y="246"/>
                    </a:cubicBezTo>
                    <a:close/>
                    <a:moveTo>
                      <a:pt x="783" y="277"/>
                    </a:moveTo>
                    <a:cubicBezTo>
                      <a:pt x="776" y="277"/>
                      <a:pt x="771" y="282"/>
                      <a:pt x="771" y="289"/>
                    </a:cubicBezTo>
                    <a:cubicBezTo>
                      <a:pt x="771" y="296"/>
                      <a:pt x="776" y="301"/>
                      <a:pt x="783" y="301"/>
                    </a:cubicBezTo>
                    <a:cubicBezTo>
                      <a:pt x="790" y="301"/>
                      <a:pt x="795" y="296"/>
                      <a:pt x="795" y="289"/>
                    </a:cubicBezTo>
                    <a:cubicBezTo>
                      <a:pt x="795" y="282"/>
                      <a:pt x="790" y="277"/>
                      <a:pt x="783" y="277"/>
                    </a:cubicBezTo>
                    <a:close/>
                    <a:moveTo>
                      <a:pt x="783" y="523"/>
                    </a:moveTo>
                    <a:cubicBezTo>
                      <a:pt x="776" y="523"/>
                      <a:pt x="771" y="528"/>
                      <a:pt x="771" y="535"/>
                    </a:cubicBezTo>
                    <a:cubicBezTo>
                      <a:pt x="771" y="542"/>
                      <a:pt x="776" y="547"/>
                      <a:pt x="783" y="547"/>
                    </a:cubicBezTo>
                    <a:cubicBezTo>
                      <a:pt x="790" y="547"/>
                      <a:pt x="795" y="542"/>
                      <a:pt x="795" y="535"/>
                    </a:cubicBezTo>
                    <a:cubicBezTo>
                      <a:pt x="795" y="528"/>
                      <a:pt x="790" y="523"/>
                      <a:pt x="783" y="523"/>
                    </a:cubicBezTo>
                    <a:close/>
                    <a:moveTo>
                      <a:pt x="783" y="646"/>
                    </a:moveTo>
                    <a:cubicBezTo>
                      <a:pt x="776" y="646"/>
                      <a:pt x="771" y="651"/>
                      <a:pt x="771" y="658"/>
                    </a:cubicBezTo>
                    <a:cubicBezTo>
                      <a:pt x="771" y="665"/>
                      <a:pt x="776" y="670"/>
                      <a:pt x="783" y="670"/>
                    </a:cubicBezTo>
                    <a:cubicBezTo>
                      <a:pt x="790" y="670"/>
                      <a:pt x="795" y="665"/>
                      <a:pt x="795" y="658"/>
                    </a:cubicBezTo>
                    <a:cubicBezTo>
                      <a:pt x="795" y="651"/>
                      <a:pt x="790" y="646"/>
                      <a:pt x="783" y="646"/>
                    </a:cubicBezTo>
                    <a:close/>
                    <a:moveTo>
                      <a:pt x="783" y="677"/>
                    </a:moveTo>
                    <a:cubicBezTo>
                      <a:pt x="776" y="677"/>
                      <a:pt x="771" y="682"/>
                      <a:pt x="771" y="689"/>
                    </a:cubicBezTo>
                    <a:cubicBezTo>
                      <a:pt x="771" y="695"/>
                      <a:pt x="776" y="701"/>
                      <a:pt x="783" y="701"/>
                    </a:cubicBezTo>
                    <a:cubicBezTo>
                      <a:pt x="790" y="701"/>
                      <a:pt x="795" y="695"/>
                      <a:pt x="795" y="689"/>
                    </a:cubicBezTo>
                    <a:cubicBezTo>
                      <a:pt x="795" y="682"/>
                      <a:pt x="790" y="677"/>
                      <a:pt x="783" y="677"/>
                    </a:cubicBezTo>
                    <a:close/>
                    <a:moveTo>
                      <a:pt x="783" y="492"/>
                    </a:moveTo>
                    <a:cubicBezTo>
                      <a:pt x="776" y="492"/>
                      <a:pt x="771" y="498"/>
                      <a:pt x="771" y="504"/>
                    </a:cubicBezTo>
                    <a:cubicBezTo>
                      <a:pt x="771" y="511"/>
                      <a:pt x="776" y="516"/>
                      <a:pt x="783" y="516"/>
                    </a:cubicBezTo>
                    <a:cubicBezTo>
                      <a:pt x="790" y="516"/>
                      <a:pt x="795" y="511"/>
                      <a:pt x="795" y="504"/>
                    </a:cubicBezTo>
                    <a:cubicBezTo>
                      <a:pt x="795" y="498"/>
                      <a:pt x="790" y="492"/>
                      <a:pt x="783" y="492"/>
                    </a:cubicBezTo>
                    <a:close/>
                    <a:moveTo>
                      <a:pt x="783" y="738"/>
                    </a:moveTo>
                    <a:cubicBezTo>
                      <a:pt x="776" y="738"/>
                      <a:pt x="771" y="743"/>
                      <a:pt x="771" y="750"/>
                    </a:cubicBezTo>
                    <a:cubicBezTo>
                      <a:pt x="771" y="757"/>
                      <a:pt x="776" y="762"/>
                      <a:pt x="783" y="762"/>
                    </a:cubicBezTo>
                    <a:cubicBezTo>
                      <a:pt x="790" y="762"/>
                      <a:pt x="795" y="757"/>
                      <a:pt x="795" y="750"/>
                    </a:cubicBezTo>
                    <a:cubicBezTo>
                      <a:pt x="795" y="743"/>
                      <a:pt x="790" y="738"/>
                      <a:pt x="783" y="738"/>
                    </a:cubicBezTo>
                    <a:close/>
                    <a:moveTo>
                      <a:pt x="783" y="707"/>
                    </a:moveTo>
                    <a:cubicBezTo>
                      <a:pt x="776" y="707"/>
                      <a:pt x="771" y="713"/>
                      <a:pt x="771" y="719"/>
                    </a:cubicBezTo>
                    <a:cubicBezTo>
                      <a:pt x="771" y="726"/>
                      <a:pt x="776" y="732"/>
                      <a:pt x="783" y="732"/>
                    </a:cubicBezTo>
                    <a:cubicBezTo>
                      <a:pt x="790" y="732"/>
                      <a:pt x="795" y="726"/>
                      <a:pt x="795" y="719"/>
                    </a:cubicBezTo>
                    <a:cubicBezTo>
                      <a:pt x="795" y="713"/>
                      <a:pt x="790" y="707"/>
                      <a:pt x="783" y="707"/>
                    </a:cubicBezTo>
                    <a:close/>
                    <a:moveTo>
                      <a:pt x="818" y="338"/>
                    </a:moveTo>
                    <a:cubicBezTo>
                      <a:pt x="811" y="338"/>
                      <a:pt x="806" y="344"/>
                      <a:pt x="806" y="351"/>
                    </a:cubicBezTo>
                    <a:cubicBezTo>
                      <a:pt x="806" y="357"/>
                      <a:pt x="811" y="363"/>
                      <a:pt x="818" y="363"/>
                    </a:cubicBezTo>
                    <a:cubicBezTo>
                      <a:pt x="825" y="363"/>
                      <a:pt x="830" y="357"/>
                      <a:pt x="830" y="351"/>
                    </a:cubicBezTo>
                    <a:cubicBezTo>
                      <a:pt x="830" y="344"/>
                      <a:pt x="825" y="338"/>
                      <a:pt x="818" y="338"/>
                    </a:cubicBezTo>
                    <a:close/>
                    <a:moveTo>
                      <a:pt x="783" y="554"/>
                    </a:moveTo>
                    <a:cubicBezTo>
                      <a:pt x="776" y="554"/>
                      <a:pt x="771" y="559"/>
                      <a:pt x="771" y="566"/>
                    </a:cubicBezTo>
                    <a:cubicBezTo>
                      <a:pt x="771" y="572"/>
                      <a:pt x="776" y="578"/>
                      <a:pt x="783" y="578"/>
                    </a:cubicBezTo>
                    <a:cubicBezTo>
                      <a:pt x="790" y="578"/>
                      <a:pt x="795" y="572"/>
                      <a:pt x="795" y="566"/>
                    </a:cubicBezTo>
                    <a:cubicBezTo>
                      <a:pt x="795" y="559"/>
                      <a:pt x="790" y="554"/>
                      <a:pt x="783" y="554"/>
                    </a:cubicBezTo>
                    <a:close/>
                    <a:moveTo>
                      <a:pt x="783" y="584"/>
                    </a:moveTo>
                    <a:cubicBezTo>
                      <a:pt x="776" y="584"/>
                      <a:pt x="771" y="590"/>
                      <a:pt x="771" y="596"/>
                    </a:cubicBezTo>
                    <a:cubicBezTo>
                      <a:pt x="771" y="603"/>
                      <a:pt x="776" y="609"/>
                      <a:pt x="783" y="609"/>
                    </a:cubicBezTo>
                    <a:cubicBezTo>
                      <a:pt x="790" y="609"/>
                      <a:pt x="795" y="603"/>
                      <a:pt x="795" y="596"/>
                    </a:cubicBezTo>
                    <a:cubicBezTo>
                      <a:pt x="795" y="590"/>
                      <a:pt x="790" y="584"/>
                      <a:pt x="783" y="584"/>
                    </a:cubicBezTo>
                    <a:close/>
                    <a:moveTo>
                      <a:pt x="783" y="615"/>
                    </a:moveTo>
                    <a:cubicBezTo>
                      <a:pt x="776" y="615"/>
                      <a:pt x="771" y="620"/>
                      <a:pt x="771" y="627"/>
                    </a:cubicBezTo>
                    <a:cubicBezTo>
                      <a:pt x="771" y="634"/>
                      <a:pt x="776" y="639"/>
                      <a:pt x="783" y="639"/>
                    </a:cubicBezTo>
                    <a:cubicBezTo>
                      <a:pt x="790" y="639"/>
                      <a:pt x="795" y="634"/>
                      <a:pt x="795" y="627"/>
                    </a:cubicBezTo>
                    <a:cubicBezTo>
                      <a:pt x="795" y="620"/>
                      <a:pt x="790" y="615"/>
                      <a:pt x="783" y="615"/>
                    </a:cubicBezTo>
                    <a:close/>
                    <a:moveTo>
                      <a:pt x="783" y="154"/>
                    </a:moveTo>
                    <a:cubicBezTo>
                      <a:pt x="776" y="154"/>
                      <a:pt x="771" y="159"/>
                      <a:pt x="771" y="166"/>
                    </a:cubicBezTo>
                    <a:cubicBezTo>
                      <a:pt x="771" y="173"/>
                      <a:pt x="776" y="178"/>
                      <a:pt x="783" y="178"/>
                    </a:cubicBezTo>
                    <a:cubicBezTo>
                      <a:pt x="790" y="178"/>
                      <a:pt x="795" y="173"/>
                      <a:pt x="795" y="166"/>
                    </a:cubicBezTo>
                    <a:cubicBezTo>
                      <a:pt x="795" y="159"/>
                      <a:pt x="790" y="154"/>
                      <a:pt x="783" y="154"/>
                    </a:cubicBezTo>
                    <a:close/>
                    <a:moveTo>
                      <a:pt x="818" y="646"/>
                    </a:moveTo>
                    <a:cubicBezTo>
                      <a:pt x="811" y="646"/>
                      <a:pt x="806" y="651"/>
                      <a:pt x="806" y="658"/>
                    </a:cubicBezTo>
                    <a:cubicBezTo>
                      <a:pt x="806" y="665"/>
                      <a:pt x="811" y="670"/>
                      <a:pt x="818" y="670"/>
                    </a:cubicBezTo>
                    <a:cubicBezTo>
                      <a:pt x="825" y="670"/>
                      <a:pt x="830" y="665"/>
                      <a:pt x="830" y="658"/>
                    </a:cubicBezTo>
                    <a:cubicBezTo>
                      <a:pt x="830" y="651"/>
                      <a:pt x="825" y="646"/>
                      <a:pt x="818" y="646"/>
                    </a:cubicBezTo>
                    <a:close/>
                    <a:moveTo>
                      <a:pt x="818" y="523"/>
                    </a:moveTo>
                    <a:cubicBezTo>
                      <a:pt x="811" y="523"/>
                      <a:pt x="806" y="528"/>
                      <a:pt x="806" y="535"/>
                    </a:cubicBezTo>
                    <a:cubicBezTo>
                      <a:pt x="806" y="542"/>
                      <a:pt x="811" y="547"/>
                      <a:pt x="818" y="547"/>
                    </a:cubicBezTo>
                    <a:cubicBezTo>
                      <a:pt x="825" y="547"/>
                      <a:pt x="830" y="542"/>
                      <a:pt x="830" y="535"/>
                    </a:cubicBezTo>
                    <a:cubicBezTo>
                      <a:pt x="830" y="528"/>
                      <a:pt x="825" y="523"/>
                      <a:pt x="818" y="523"/>
                    </a:cubicBezTo>
                    <a:close/>
                    <a:moveTo>
                      <a:pt x="818" y="554"/>
                    </a:moveTo>
                    <a:cubicBezTo>
                      <a:pt x="811" y="554"/>
                      <a:pt x="806" y="559"/>
                      <a:pt x="806" y="566"/>
                    </a:cubicBezTo>
                    <a:cubicBezTo>
                      <a:pt x="806" y="572"/>
                      <a:pt x="811" y="578"/>
                      <a:pt x="818" y="578"/>
                    </a:cubicBezTo>
                    <a:cubicBezTo>
                      <a:pt x="825" y="578"/>
                      <a:pt x="830" y="572"/>
                      <a:pt x="830" y="566"/>
                    </a:cubicBezTo>
                    <a:cubicBezTo>
                      <a:pt x="830" y="559"/>
                      <a:pt x="825" y="554"/>
                      <a:pt x="818" y="554"/>
                    </a:cubicBezTo>
                    <a:close/>
                    <a:moveTo>
                      <a:pt x="818" y="584"/>
                    </a:moveTo>
                    <a:cubicBezTo>
                      <a:pt x="811" y="584"/>
                      <a:pt x="806" y="590"/>
                      <a:pt x="806" y="596"/>
                    </a:cubicBezTo>
                    <a:cubicBezTo>
                      <a:pt x="806" y="603"/>
                      <a:pt x="811" y="609"/>
                      <a:pt x="818" y="609"/>
                    </a:cubicBezTo>
                    <a:cubicBezTo>
                      <a:pt x="825" y="609"/>
                      <a:pt x="830" y="603"/>
                      <a:pt x="830" y="596"/>
                    </a:cubicBezTo>
                    <a:cubicBezTo>
                      <a:pt x="830" y="590"/>
                      <a:pt x="825" y="584"/>
                      <a:pt x="818" y="584"/>
                    </a:cubicBezTo>
                    <a:close/>
                    <a:moveTo>
                      <a:pt x="818" y="615"/>
                    </a:moveTo>
                    <a:cubicBezTo>
                      <a:pt x="811" y="615"/>
                      <a:pt x="806" y="620"/>
                      <a:pt x="806" y="627"/>
                    </a:cubicBezTo>
                    <a:cubicBezTo>
                      <a:pt x="806" y="634"/>
                      <a:pt x="811" y="639"/>
                      <a:pt x="818" y="639"/>
                    </a:cubicBezTo>
                    <a:cubicBezTo>
                      <a:pt x="825" y="639"/>
                      <a:pt x="830" y="634"/>
                      <a:pt x="830" y="627"/>
                    </a:cubicBezTo>
                    <a:cubicBezTo>
                      <a:pt x="830" y="620"/>
                      <a:pt x="825" y="615"/>
                      <a:pt x="818" y="615"/>
                    </a:cubicBezTo>
                    <a:close/>
                    <a:moveTo>
                      <a:pt x="818" y="492"/>
                    </a:moveTo>
                    <a:cubicBezTo>
                      <a:pt x="811" y="492"/>
                      <a:pt x="806" y="498"/>
                      <a:pt x="806" y="504"/>
                    </a:cubicBezTo>
                    <a:cubicBezTo>
                      <a:pt x="806" y="511"/>
                      <a:pt x="811" y="516"/>
                      <a:pt x="818" y="516"/>
                    </a:cubicBezTo>
                    <a:cubicBezTo>
                      <a:pt x="825" y="516"/>
                      <a:pt x="830" y="511"/>
                      <a:pt x="830" y="504"/>
                    </a:cubicBezTo>
                    <a:cubicBezTo>
                      <a:pt x="830" y="498"/>
                      <a:pt x="825" y="492"/>
                      <a:pt x="818" y="492"/>
                    </a:cubicBezTo>
                    <a:close/>
                    <a:moveTo>
                      <a:pt x="818" y="461"/>
                    </a:moveTo>
                    <a:cubicBezTo>
                      <a:pt x="811" y="461"/>
                      <a:pt x="806" y="467"/>
                      <a:pt x="806" y="474"/>
                    </a:cubicBezTo>
                    <a:cubicBezTo>
                      <a:pt x="806" y="480"/>
                      <a:pt x="811" y="486"/>
                      <a:pt x="818" y="486"/>
                    </a:cubicBezTo>
                    <a:cubicBezTo>
                      <a:pt x="825" y="486"/>
                      <a:pt x="830" y="480"/>
                      <a:pt x="830" y="474"/>
                    </a:cubicBezTo>
                    <a:cubicBezTo>
                      <a:pt x="830" y="467"/>
                      <a:pt x="825" y="461"/>
                      <a:pt x="818" y="461"/>
                    </a:cubicBezTo>
                    <a:close/>
                    <a:moveTo>
                      <a:pt x="818" y="369"/>
                    </a:moveTo>
                    <a:cubicBezTo>
                      <a:pt x="811" y="369"/>
                      <a:pt x="806" y="375"/>
                      <a:pt x="806" y="381"/>
                    </a:cubicBezTo>
                    <a:cubicBezTo>
                      <a:pt x="806" y="388"/>
                      <a:pt x="811" y="393"/>
                      <a:pt x="818" y="393"/>
                    </a:cubicBezTo>
                    <a:cubicBezTo>
                      <a:pt x="825" y="393"/>
                      <a:pt x="830" y="388"/>
                      <a:pt x="830" y="381"/>
                    </a:cubicBezTo>
                    <a:cubicBezTo>
                      <a:pt x="830" y="375"/>
                      <a:pt x="825" y="369"/>
                      <a:pt x="818" y="369"/>
                    </a:cubicBezTo>
                    <a:close/>
                    <a:moveTo>
                      <a:pt x="818" y="400"/>
                    </a:moveTo>
                    <a:cubicBezTo>
                      <a:pt x="811" y="400"/>
                      <a:pt x="806" y="405"/>
                      <a:pt x="806" y="412"/>
                    </a:cubicBezTo>
                    <a:cubicBezTo>
                      <a:pt x="806" y="419"/>
                      <a:pt x="811" y="424"/>
                      <a:pt x="818" y="424"/>
                    </a:cubicBezTo>
                    <a:cubicBezTo>
                      <a:pt x="825" y="424"/>
                      <a:pt x="830" y="419"/>
                      <a:pt x="830" y="412"/>
                    </a:cubicBezTo>
                    <a:cubicBezTo>
                      <a:pt x="830" y="405"/>
                      <a:pt x="825" y="400"/>
                      <a:pt x="818" y="400"/>
                    </a:cubicBezTo>
                    <a:close/>
                    <a:moveTo>
                      <a:pt x="818" y="431"/>
                    </a:moveTo>
                    <a:cubicBezTo>
                      <a:pt x="811" y="431"/>
                      <a:pt x="806" y="436"/>
                      <a:pt x="806" y="443"/>
                    </a:cubicBezTo>
                    <a:cubicBezTo>
                      <a:pt x="806" y="449"/>
                      <a:pt x="811" y="455"/>
                      <a:pt x="818" y="455"/>
                    </a:cubicBezTo>
                    <a:cubicBezTo>
                      <a:pt x="825" y="455"/>
                      <a:pt x="830" y="449"/>
                      <a:pt x="830" y="443"/>
                    </a:cubicBezTo>
                    <a:cubicBezTo>
                      <a:pt x="830" y="436"/>
                      <a:pt x="825" y="431"/>
                      <a:pt x="818" y="431"/>
                    </a:cubicBezTo>
                    <a:close/>
                    <a:moveTo>
                      <a:pt x="783" y="92"/>
                    </a:moveTo>
                    <a:cubicBezTo>
                      <a:pt x="776" y="92"/>
                      <a:pt x="771" y="98"/>
                      <a:pt x="771" y="105"/>
                    </a:cubicBezTo>
                    <a:cubicBezTo>
                      <a:pt x="771" y="111"/>
                      <a:pt x="776" y="117"/>
                      <a:pt x="783" y="117"/>
                    </a:cubicBezTo>
                    <a:cubicBezTo>
                      <a:pt x="790" y="117"/>
                      <a:pt x="795" y="111"/>
                      <a:pt x="795" y="105"/>
                    </a:cubicBezTo>
                    <a:cubicBezTo>
                      <a:pt x="795" y="98"/>
                      <a:pt x="790" y="92"/>
                      <a:pt x="783" y="92"/>
                    </a:cubicBezTo>
                    <a:close/>
                    <a:moveTo>
                      <a:pt x="783" y="62"/>
                    </a:moveTo>
                    <a:cubicBezTo>
                      <a:pt x="776" y="62"/>
                      <a:pt x="771" y="67"/>
                      <a:pt x="771" y="74"/>
                    </a:cubicBezTo>
                    <a:cubicBezTo>
                      <a:pt x="771" y="81"/>
                      <a:pt x="776" y="86"/>
                      <a:pt x="783" y="86"/>
                    </a:cubicBezTo>
                    <a:cubicBezTo>
                      <a:pt x="790" y="86"/>
                      <a:pt x="795" y="81"/>
                      <a:pt x="795" y="74"/>
                    </a:cubicBezTo>
                    <a:cubicBezTo>
                      <a:pt x="795" y="67"/>
                      <a:pt x="790" y="62"/>
                      <a:pt x="783" y="62"/>
                    </a:cubicBezTo>
                    <a:close/>
                    <a:moveTo>
                      <a:pt x="818" y="769"/>
                    </a:moveTo>
                    <a:cubicBezTo>
                      <a:pt x="811" y="769"/>
                      <a:pt x="806" y="774"/>
                      <a:pt x="806" y="781"/>
                    </a:cubicBezTo>
                    <a:cubicBezTo>
                      <a:pt x="806" y="788"/>
                      <a:pt x="811" y="793"/>
                      <a:pt x="818" y="793"/>
                    </a:cubicBezTo>
                    <a:cubicBezTo>
                      <a:pt x="825" y="793"/>
                      <a:pt x="830" y="788"/>
                      <a:pt x="830" y="781"/>
                    </a:cubicBezTo>
                    <a:cubicBezTo>
                      <a:pt x="830" y="774"/>
                      <a:pt x="825" y="769"/>
                      <a:pt x="818" y="769"/>
                    </a:cubicBezTo>
                    <a:close/>
                    <a:moveTo>
                      <a:pt x="818" y="738"/>
                    </a:moveTo>
                    <a:cubicBezTo>
                      <a:pt x="811" y="738"/>
                      <a:pt x="806" y="743"/>
                      <a:pt x="806" y="750"/>
                    </a:cubicBezTo>
                    <a:cubicBezTo>
                      <a:pt x="806" y="757"/>
                      <a:pt x="811" y="762"/>
                      <a:pt x="818" y="762"/>
                    </a:cubicBezTo>
                    <a:cubicBezTo>
                      <a:pt x="825" y="762"/>
                      <a:pt x="830" y="757"/>
                      <a:pt x="830" y="750"/>
                    </a:cubicBezTo>
                    <a:cubicBezTo>
                      <a:pt x="830" y="743"/>
                      <a:pt x="825" y="738"/>
                      <a:pt x="818" y="738"/>
                    </a:cubicBezTo>
                    <a:close/>
                    <a:moveTo>
                      <a:pt x="818" y="800"/>
                    </a:moveTo>
                    <a:cubicBezTo>
                      <a:pt x="811" y="800"/>
                      <a:pt x="806" y="805"/>
                      <a:pt x="806" y="812"/>
                    </a:cubicBezTo>
                    <a:cubicBezTo>
                      <a:pt x="806" y="818"/>
                      <a:pt x="811" y="824"/>
                      <a:pt x="818" y="824"/>
                    </a:cubicBezTo>
                    <a:cubicBezTo>
                      <a:pt x="825" y="824"/>
                      <a:pt x="830" y="818"/>
                      <a:pt x="830" y="812"/>
                    </a:cubicBezTo>
                    <a:cubicBezTo>
                      <a:pt x="830" y="805"/>
                      <a:pt x="825" y="800"/>
                      <a:pt x="818" y="800"/>
                    </a:cubicBezTo>
                    <a:close/>
                    <a:moveTo>
                      <a:pt x="783" y="769"/>
                    </a:moveTo>
                    <a:cubicBezTo>
                      <a:pt x="776" y="769"/>
                      <a:pt x="771" y="774"/>
                      <a:pt x="771" y="781"/>
                    </a:cubicBezTo>
                    <a:cubicBezTo>
                      <a:pt x="771" y="788"/>
                      <a:pt x="776" y="793"/>
                      <a:pt x="783" y="793"/>
                    </a:cubicBezTo>
                    <a:cubicBezTo>
                      <a:pt x="790" y="793"/>
                      <a:pt x="795" y="788"/>
                      <a:pt x="795" y="781"/>
                    </a:cubicBezTo>
                    <a:cubicBezTo>
                      <a:pt x="795" y="774"/>
                      <a:pt x="790" y="769"/>
                      <a:pt x="783" y="769"/>
                    </a:cubicBezTo>
                    <a:close/>
                    <a:moveTo>
                      <a:pt x="818" y="677"/>
                    </a:moveTo>
                    <a:cubicBezTo>
                      <a:pt x="811" y="677"/>
                      <a:pt x="806" y="682"/>
                      <a:pt x="806" y="689"/>
                    </a:cubicBezTo>
                    <a:cubicBezTo>
                      <a:pt x="806" y="695"/>
                      <a:pt x="811" y="701"/>
                      <a:pt x="818" y="701"/>
                    </a:cubicBezTo>
                    <a:cubicBezTo>
                      <a:pt x="825" y="701"/>
                      <a:pt x="830" y="695"/>
                      <a:pt x="830" y="689"/>
                    </a:cubicBezTo>
                    <a:cubicBezTo>
                      <a:pt x="830" y="682"/>
                      <a:pt x="825" y="677"/>
                      <a:pt x="818" y="677"/>
                    </a:cubicBezTo>
                    <a:close/>
                    <a:moveTo>
                      <a:pt x="713" y="738"/>
                    </a:moveTo>
                    <a:cubicBezTo>
                      <a:pt x="706" y="738"/>
                      <a:pt x="701" y="743"/>
                      <a:pt x="701" y="750"/>
                    </a:cubicBezTo>
                    <a:cubicBezTo>
                      <a:pt x="701" y="757"/>
                      <a:pt x="706" y="762"/>
                      <a:pt x="713" y="762"/>
                    </a:cubicBezTo>
                    <a:cubicBezTo>
                      <a:pt x="719" y="762"/>
                      <a:pt x="725" y="757"/>
                      <a:pt x="725" y="750"/>
                    </a:cubicBezTo>
                    <a:cubicBezTo>
                      <a:pt x="725" y="743"/>
                      <a:pt x="719" y="738"/>
                      <a:pt x="713" y="738"/>
                    </a:cubicBezTo>
                    <a:close/>
                    <a:moveTo>
                      <a:pt x="362" y="215"/>
                    </a:moveTo>
                    <a:cubicBezTo>
                      <a:pt x="356" y="215"/>
                      <a:pt x="350" y="221"/>
                      <a:pt x="350" y="228"/>
                    </a:cubicBezTo>
                    <a:cubicBezTo>
                      <a:pt x="350" y="234"/>
                      <a:pt x="356" y="240"/>
                      <a:pt x="362" y="240"/>
                    </a:cubicBezTo>
                    <a:cubicBezTo>
                      <a:pt x="369" y="240"/>
                      <a:pt x="375" y="234"/>
                      <a:pt x="375" y="228"/>
                    </a:cubicBezTo>
                    <a:cubicBezTo>
                      <a:pt x="375" y="221"/>
                      <a:pt x="369" y="215"/>
                      <a:pt x="362" y="215"/>
                    </a:cubicBezTo>
                    <a:close/>
                    <a:moveTo>
                      <a:pt x="222" y="123"/>
                    </a:moveTo>
                    <a:cubicBezTo>
                      <a:pt x="215" y="123"/>
                      <a:pt x="210" y="129"/>
                      <a:pt x="210" y="135"/>
                    </a:cubicBezTo>
                    <a:cubicBezTo>
                      <a:pt x="210" y="142"/>
                      <a:pt x="215" y="148"/>
                      <a:pt x="222" y="148"/>
                    </a:cubicBezTo>
                    <a:cubicBezTo>
                      <a:pt x="229" y="148"/>
                      <a:pt x="234" y="142"/>
                      <a:pt x="234" y="135"/>
                    </a:cubicBezTo>
                    <a:cubicBezTo>
                      <a:pt x="234" y="129"/>
                      <a:pt x="229" y="123"/>
                      <a:pt x="222" y="123"/>
                    </a:cubicBezTo>
                    <a:close/>
                    <a:moveTo>
                      <a:pt x="327" y="154"/>
                    </a:moveTo>
                    <a:cubicBezTo>
                      <a:pt x="321" y="154"/>
                      <a:pt x="315" y="159"/>
                      <a:pt x="315" y="166"/>
                    </a:cubicBezTo>
                    <a:cubicBezTo>
                      <a:pt x="315" y="173"/>
                      <a:pt x="321" y="178"/>
                      <a:pt x="327" y="178"/>
                    </a:cubicBezTo>
                    <a:cubicBezTo>
                      <a:pt x="334" y="178"/>
                      <a:pt x="339" y="173"/>
                      <a:pt x="339" y="166"/>
                    </a:cubicBezTo>
                    <a:cubicBezTo>
                      <a:pt x="339" y="159"/>
                      <a:pt x="334" y="154"/>
                      <a:pt x="327" y="154"/>
                    </a:cubicBezTo>
                    <a:close/>
                    <a:moveTo>
                      <a:pt x="327" y="123"/>
                    </a:moveTo>
                    <a:cubicBezTo>
                      <a:pt x="321" y="123"/>
                      <a:pt x="315" y="129"/>
                      <a:pt x="315" y="135"/>
                    </a:cubicBezTo>
                    <a:cubicBezTo>
                      <a:pt x="315" y="142"/>
                      <a:pt x="321" y="148"/>
                      <a:pt x="327" y="148"/>
                    </a:cubicBezTo>
                    <a:cubicBezTo>
                      <a:pt x="334" y="148"/>
                      <a:pt x="339" y="142"/>
                      <a:pt x="339" y="135"/>
                    </a:cubicBezTo>
                    <a:cubicBezTo>
                      <a:pt x="339" y="129"/>
                      <a:pt x="334" y="123"/>
                      <a:pt x="327" y="123"/>
                    </a:cubicBezTo>
                    <a:close/>
                    <a:moveTo>
                      <a:pt x="362" y="185"/>
                    </a:moveTo>
                    <a:cubicBezTo>
                      <a:pt x="356" y="185"/>
                      <a:pt x="350" y="190"/>
                      <a:pt x="350" y="197"/>
                    </a:cubicBezTo>
                    <a:cubicBezTo>
                      <a:pt x="350" y="204"/>
                      <a:pt x="356" y="209"/>
                      <a:pt x="362" y="209"/>
                    </a:cubicBezTo>
                    <a:cubicBezTo>
                      <a:pt x="369" y="209"/>
                      <a:pt x="375" y="204"/>
                      <a:pt x="375" y="197"/>
                    </a:cubicBezTo>
                    <a:cubicBezTo>
                      <a:pt x="375" y="190"/>
                      <a:pt x="369" y="185"/>
                      <a:pt x="362" y="185"/>
                    </a:cubicBezTo>
                    <a:close/>
                    <a:moveTo>
                      <a:pt x="362" y="246"/>
                    </a:moveTo>
                    <a:cubicBezTo>
                      <a:pt x="356" y="246"/>
                      <a:pt x="350" y="252"/>
                      <a:pt x="350" y="258"/>
                    </a:cubicBezTo>
                    <a:cubicBezTo>
                      <a:pt x="350" y="265"/>
                      <a:pt x="356" y="270"/>
                      <a:pt x="362" y="270"/>
                    </a:cubicBezTo>
                    <a:cubicBezTo>
                      <a:pt x="369" y="270"/>
                      <a:pt x="375" y="265"/>
                      <a:pt x="375" y="258"/>
                    </a:cubicBezTo>
                    <a:cubicBezTo>
                      <a:pt x="375" y="252"/>
                      <a:pt x="369" y="246"/>
                      <a:pt x="362" y="246"/>
                    </a:cubicBezTo>
                    <a:close/>
                    <a:moveTo>
                      <a:pt x="362" y="154"/>
                    </a:moveTo>
                    <a:cubicBezTo>
                      <a:pt x="356" y="154"/>
                      <a:pt x="350" y="159"/>
                      <a:pt x="350" y="166"/>
                    </a:cubicBezTo>
                    <a:cubicBezTo>
                      <a:pt x="350" y="173"/>
                      <a:pt x="356" y="178"/>
                      <a:pt x="362" y="178"/>
                    </a:cubicBezTo>
                    <a:cubicBezTo>
                      <a:pt x="369" y="178"/>
                      <a:pt x="375" y="173"/>
                      <a:pt x="375" y="166"/>
                    </a:cubicBezTo>
                    <a:cubicBezTo>
                      <a:pt x="375" y="159"/>
                      <a:pt x="369" y="154"/>
                      <a:pt x="362" y="154"/>
                    </a:cubicBezTo>
                    <a:close/>
                    <a:moveTo>
                      <a:pt x="397" y="215"/>
                    </a:moveTo>
                    <a:cubicBezTo>
                      <a:pt x="391" y="215"/>
                      <a:pt x="385" y="221"/>
                      <a:pt x="385" y="228"/>
                    </a:cubicBezTo>
                    <a:cubicBezTo>
                      <a:pt x="385" y="234"/>
                      <a:pt x="391" y="240"/>
                      <a:pt x="397" y="240"/>
                    </a:cubicBezTo>
                    <a:cubicBezTo>
                      <a:pt x="404" y="240"/>
                      <a:pt x="410" y="234"/>
                      <a:pt x="410" y="228"/>
                    </a:cubicBezTo>
                    <a:cubicBezTo>
                      <a:pt x="410" y="221"/>
                      <a:pt x="404" y="215"/>
                      <a:pt x="397" y="215"/>
                    </a:cubicBezTo>
                    <a:close/>
                    <a:moveTo>
                      <a:pt x="397" y="246"/>
                    </a:moveTo>
                    <a:cubicBezTo>
                      <a:pt x="391" y="246"/>
                      <a:pt x="385" y="252"/>
                      <a:pt x="385" y="258"/>
                    </a:cubicBezTo>
                    <a:cubicBezTo>
                      <a:pt x="385" y="265"/>
                      <a:pt x="391" y="270"/>
                      <a:pt x="397" y="270"/>
                    </a:cubicBezTo>
                    <a:cubicBezTo>
                      <a:pt x="404" y="270"/>
                      <a:pt x="410" y="265"/>
                      <a:pt x="410" y="258"/>
                    </a:cubicBezTo>
                    <a:cubicBezTo>
                      <a:pt x="410" y="252"/>
                      <a:pt x="404" y="246"/>
                      <a:pt x="397" y="246"/>
                    </a:cubicBezTo>
                    <a:close/>
                    <a:moveTo>
                      <a:pt x="397" y="185"/>
                    </a:moveTo>
                    <a:cubicBezTo>
                      <a:pt x="391" y="185"/>
                      <a:pt x="385" y="190"/>
                      <a:pt x="385" y="197"/>
                    </a:cubicBezTo>
                    <a:cubicBezTo>
                      <a:pt x="385" y="204"/>
                      <a:pt x="391" y="209"/>
                      <a:pt x="397" y="209"/>
                    </a:cubicBezTo>
                    <a:cubicBezTo>
                      <a:pt x="404" y="209"/>
                      <a:pt x="410" y="204"/>
                      <a:pt x="410" y="197"/>
                    </a:cubicBezTo>
                    <a:cubicBezTo>
                      <a:pt x="410" y="190"/>
                      <a:pt x="404" y="185"/>
                      <a:pt x="397" y="185"/>
                    </a:cubicBezTo>
                    <a:close/>
                    <a:moveTo>
                      <a:pt x="397" y="277"/>
                    </a:moveTo>
                    <a:cubicBezTo>
                      <a:pt x="391" y="277"/>
                      <a:pt x="385" y="282"/>
                      <a:pt x="385" y="289"/>
                    </a:cubicBezTo>
                    <a:cubicBezTo>
                      <a:pt x="385" y="296"/>
                      <a:pt x="391" y="301"/>
                      <a:pt x="397" y="301"/>
                    </a:cubicBezTo>
                    <a:cubicBezTo>
                      <a:pt x="404" y="301"/>
                      <a:pt x="410" y="296"/>
                      <a:pt x="410" y="289"/>
                    </a:cubicBezTo>
                    <a:cubicBezTo>
                      <a:pt x="410" y="282"/>
                      <a:pt x="404" y="277"/>
                      <a:pt x="397" y="277"/>
                    </a:cubicBezTo>
                    <a:close/>
                    <a:moveTo>
                      <a:pt x="327" y="215"/>
                    </a:moveTo>
                    <a:cubicBezTo>
                      <a:pt x="321" y="215"/>
                      <a:pt x="315" y="221"/>
                      <a:pt x="315" y="228"/>
                    </a:cubicBezTo>
                    <a:cubicBezTo>
                      <a:pt x="315" y="234"/>
                      <a:pt x="321" y="240"/>
                      <a:pt x="327" y="240"/>
                    </a:cubicBezTo>
                    <a:cubicBezTo>
                      <a:pt x="334" y="240"/>
                      <a:pt x="339" y="234"/>
                      <a:pt x="339" y="228"/>
                    </a:cubicBezTo>
                    <a:cubicBezTo>
                      <a:pt x="339" y="221"/>
                      <a:pt x="334" y="215"/>
                      <a:pt x="327" y="215"/>
                    </a:cubicBezTo>
                    <a:close/>
                    <a:moveTo>
                      <a:pt x="257" y="123"/>
                    </a:moveTo>
                    <a:cubicBezTo>
                      <a:pt x="250" y="123"/>
                      <a:pt x="245" y="129"/>
                      <a:pt x="245" y="135"/>
                    </a:cubicBezTo>
                    <a:cubicBezTo>
                      <a:pt x="245" y="142"/>
                      <a:pt x="250" y="148"/>
                      <a:pt x="257" y="148"/>
                    </a:cubicBezTo>
                    <a:cubicBezTo>
                      <a:pt x="264" y="148"/>
                      <a:pt x="269" y="142"/>
                      <a:pt x="269" y="135"/>
                    </a:cubicBezTo>
                    <a:cubicBezTo>
                      <a:pt x="269" y="129"/>
                      <a:pt x="264" y="123"/>
                      <a:pt x="257" y="123"/>
                    </a:cubicBezTo>
                    <a:close/>
                    <a:moveTo>
                      <a:pt x="292" y="215"/>
                    </a:moveTo>
                    <a:cubicBezTo>
                      <a:pt x="286" y="215"/>
                      <a:pt x="280" y="221"/>
                      <a:pt x="280" y="228"/>
                    </a:cubicBezTo>
                    <a:cubicBezTo>
                      <a:pt x="280" y="234"/>
                      <a:pt x="286" y="240"/>
                      <a:pt x="292" y="240"/>
                    </a:cubicBezTo>
                    <a:cubicBezTo>
                      <a:pt x="299" y="240"/>
                      <a:pt x="304" y="234"/>
                      <a:pt x="304" y="228"/>
                    </a:cubicBezTo>
                    <a:cubicBezTo>
                      <a:pt x="304" y="221"/>
                      <a:pt x="299" y="215"/>
                      <a:pt x="292" y="215"/>
                    </a:cubicBezTo>
                    <a:close/>
                    <a:moveTo>
                      <a:pt x="257" y="185"/>
                    </a:moveTo>
                    <a:cubicBezTo>
                      <a:pt x="250" y="185"/>
                      <a:pt x="245" y="190"/>
                      <a:pt x="245" y="197"/>
                    </a:cubicBezTo>
                    <a:cubicBezTo>
                      <a:pt x="245" y="204"/>
                      <a:pt x="250" y="209"/>
                      <a:pt x="257" y="209"/>
                    </a:cubicBezTo>
                    <a:cubicBezTo>
                      <a:pt x="264" y="209"/>
                      <a:pt x="269" y="204"/>
                      <a:pt x="269" y="197"/>
                    </a:cubicBezTo>
                    <a:cubicBezTo>
                      <a:pt x="269" y="190"/>
                      <a:pt x="264" y="185"/>
                      <a:pt x="257" y="185"/>
                    </a:cubicBezTo>
                    <a:close/>
                    <a:moveTo>
                      <a:pt x="257" y="215"/>
                    </a:moveTo>
                    <a:cubicBezTo>
                      <a:pt x="250" y="215"/>
                      <a:pt x="245" y="221"/>
                      <a:pt x="245" y="228"/>
                    </a:cubicBezTo>
                    <a:cubicBezTo>
                      <a:pt x="245" y="234"/>
                      <a:pt x="250" y="240"/>
                      <a:pt x="257" y="240"/>
                    </a:cubicBezTo>
                    <a:cubicBezTo>
                      <a:pt x="264" y="240"/>
                      <a:pt x="269" y="234"/>
                      <a:pt x="269" y="228"/>
                    </a:cubicBezTo>
                    <a:cubicBezTo>
                      <a:pt x="269" y="221"/>
                      <a:pt x="264" y="215"/>
                      <a:pt x="257" y="215"/>
                    </a:cubicBezTo>
                    <a:close/>
                    <a:moveTo>
                      <a:pt x="257" y="154"/>
                    </a:moveTo>
                    <a:cubicBezTo>
                      <a:pt x="250" y="154"/>
                      <a:pt x="245" y="159"/>
                      <a:pt x="245" y="166"/>
                    </a:cubicBezTo>
                    <a:cubicBezTo>
                      <a:pt x="245" y="173"/>
                      <a:pt x="250" y="178"/>
                      <a:pt x="257" y="178"/>
                    </a:cubicBezTo>
                    <a:cubicBezTo>
                      <a:pt x="264" y="178"/>
                      <a:pt x="269" y="173"/>
                      <a:pt x="269" y="166"/>
                    </a:cubicBezTo>
                    <a:cubicBezTo>
                      <a:pt x="269" y="159"/>
                      <a:pt x="264" y="154"/>
                      <a:pt x="257" y="154"/>
                    </a:cubicBezTo>
                    <a:close/>
                    <a:moveTo>
                      <a:pt x="327" y="246"/>
                    </a:moveTo>
                    <a:cubicBezTo>
                      <a:pt x="321" y="246"/>
                      <a:pt x="315" y="252"/>
                      <a:pt x="315" y="258"/>
                    </a:cubicBezTo>
                    <a:cubicBezTo>
                      <a:pt x="315" y="265"/>
                      <a:pt x="321" y="270"/>
                      <a:pt x="327" y="270"/>
                    </a:cubicBezTo>
                    <a:cubicBezTo>
                      <a:pt x="334" y="270"/>
                      <a:pt x="339" y="265"/>
                      <a:pt x="339" y="258"/>
                    </a:cubicBezTo>
                    <a:cubicBezTo>
                      <a:pt x="339" y="252"/>
                      <a:pt x="334" y="246"/>
                      <a:pt x="327" y="246"/>
                    </a:cubicBezTo>
                    <a:close/>
                    <a:moveTo>
                      <a:pt x="292" y="185"/>
                    </a:moveTo>
                    <a:cubicBezTo>
                      <a:pt x="286" y="185"/>
                      <a:pt x="280" y="190"/>
                      <a:pt x="280" y="197"/>
                    </a:cubicBezTo>
                    <a:cubicBezTo>
                      <a:pt x="280" y="204"/>
                      <a:pt x="286" y="209"/>
                      <a:pt x="292" y="209"/>
                    </a:cubicBezTo>
                    <a:cubicBezTo>
                      <a:pt x="299" y="209"/>
                      <a:pt x="304" y="204"/>
                      <a:pt x="304" y="197"/>
                    </a:cubicBezTo>
                    <a:cubicBezTo>
                      <a:pt x="304" y="190"/>
                      <a:pt x="299" y="185"/>
                      <a:pt x="292" y="185"/>
                    </a:cubicBezTo>
                    <a:close/>
                    <a:moveTo>
                      <a:pt x="292" y="123"/>
                    </a:moveTo>
                    <a:cubicBezTo>
                      <a:pt x="286" y="123"/>
                      <a:pt x="280" y="129"/>
                      <a:pt x="280" y="135"/>
                    </a:cubicBezTo>
                    <a:cubicBezTo>
                      <a:pt x="280" y="142"/>
                      <a:pt x="286" y="148"/>
                      <a:pt x="292" y="148"/>
                    </a:cubicBezTo>
                    <a:cubicBezTo>
                      <a:pt x="299" y="148"/>
                      <a:pt x="304" y="142"/>
                      <a:pt x="304" y="135"/>
                    </a:cubicBezTo>
                    <a:cubicBezTo>
                      <a:pt x="304" y="129"/>
                      <a:pt x="299" y="123"/>
                      <a:pt x="292" y="123"/>
                    </a:cubicBezTo>
                    <a:close/>
                    <a:moveTo>
                      <a:pt x="292" y="154"/>
                    </a:moveTo>
                    <a:cubicBezTo>
                      <a:pt x="286" y="154"/>
                      <a:pt x="280" y="159"/>
                      <a:pt x="280" y="166"/>
                    </a:cubicBezTo>
                    <a:cubicBezTo>
                      <a:pt x="280" y="173"/>
                      <a:pt x="286" y="178"/>
                      <a:pt x="292" y="178"/>
                    </a:cubicBezTo>
                    <a:cubicBezTo>
                      <a:pt x="299" y="178"/>
                      <a:pt x="304" y="173"/>
                      <a:pt x="304" y="166"/>
                    </a:cubicBezTo>
                    <a:cubicBezTo>
                      <a:pt x="304" y="159"/>
                      <a:pt x="299" y="154"/>
                      <a:pt x="292" y="154"/>
                    </a:cubicBezTo>
                    <a:close/>
                    <a:moveTo>
                      <a:pt x="327" y="185"/>
                    </a:moveTo>
                    <a:cubicBezTo>
                      <a:pt x="321" y="185"/>
                      <a:pt x="315" y="190"/>
                      <a:pt x="315" y="197"/>
                    </a:cubicBezTo>
                    <a:cubicBezTo>
                      <a:pt x="315" y="204"/>
                      <a:pt x="321" y="209"/>
                      <a:pt x="327" y="209"/>
                    </a:cubicBezTo>
                    <a:cubicBezTo>
                      <a:pt x="334" y="209"/>
                      <a:pt x="339" y="204"/>
                      <a:pt x="339" y="197"/>
                    </a:cubicBezTo>
                    <a:cubicBezTo>
                      <a:pt x="339" y="190"/>
                      <a:pt x="334" y="185"/>
                      <a:pt x="327" y="185"/>
                    </a:cubicBezTo>
                    <a:close/>
                    <a:moveTo>
                      <a:pt x="432" y="123"/>
                    </a:moveTo>
                    <a:cubicBezTo>
                      <a:pt x="426" y="123"/>
                      <a:pt x="420" y="129"/>
                      <a:pt x="420" y="135"/>
                    </a:cubicBezTo>
                    <a:cubicBezTo>
                      <a:pt x="420" y="142"/>
                      <a:pt x="426" y="148"/>
                      <a:pt x="432" y="148"/>
                    </a:cubicBezTo>
                    <a:cubicBezTo>
                      <a:pt x="439" y="148"/>
                      <a:pt x="445" y="142"/>
                      <a:pt x="445" y="135"/>
                    </a:cubicBezTo>
                    <a:cubicBezTo>
                      <a:pt x="445" y="129"/>
                      <a:pt x="439" y="123"/>
                      <a:pt x="432" y="123"/>
                    </a:cubicBezTo>
                    <a:close/>
                    <a:moveTo>
                      <a:pt x="467" y="246"/>
                    </a:moveTo>
                    <a:cubicBezTo>
                      <a:pt x="461" y="246"/>
                      <a:pt x="455" y="252"/>
                      <a:pt x="455" y="258"/>
                    </a:cubicBezTo>
                    <a:cubicBezTo>
                      <a:pt x="455" y="265"/>
                      <a:pt x="461" y="270"/>
                      <a:pt x="467" y="270"/>
                    </a:cubicBezTo>
                    <a:cubicBezTo>
                      <a:pt x="474" y="270"/>
                      <a:pt x="480" y="265"/>
                      <a:pt x="480" y="258"/>
                    </a:cubicBezTo>
                    <a:cubicBezTo>
                      <a:pt x="480" y="252"/>
                      <a:pt x="474" y="246"/>
                      <a:pt x="467" y="246"/>
                    </a:cubicBezTo>
                    <a:close/>
                    <a:moveTo>
                      <a:pt x="467" y="277"/>
                    </a:moveTo>
                    <a:cubicBezTo>
                      <a:pt x="461" y="277"/>
                      <a:pt x="455" y="282"/>
                      <a:pt x="455" y="289"/>
                    </a:cubicBezTo>
                    <a:cubicBezTo>
                      <a:pt x="455" y="296"/>
                      <a:pt x="461" y="301"/>
                      <a:pt x="467" y="301"/>
                    </a:cubicBezTo>
                    <a:cubicBezTo>
                      <a:pt x="474" y="301"/>
                      <a:pt x="480" y="296"/>
                      <a:pt x="480" y="289"/>
                    </a:cubicBezTo>
                    <a:cubicBezTo>
                      <a:pt x="480" y="282"/>
                      <a:pt x="474" y="277"/>
                      <a:pt x="467" y="277"/>
                    </a:cubicBezTo>
                    <a:close/>
                    <a:moveTo>
                      <a:pt x="467" y="308"/>
                    </a:moveTo>
                    <a:cubicBezTo>
                      <a:pt x="461" y="308"/>
                      <a:pt x="455" y="313"/>
                      <a:pt x="455" y="320"/>
                    </a:cubicBezTo>
                    <a:cubicBezTo>
                      <a:pt x="455" y="327"/>
                      <a:pt x="461" y="332"/>
                      <a:pt x="467" y="332"/>
                    </a:cubicBezTo>
                    <a:cubicBezTo>
                      <a:pt x="474" y="332"/>
                      <a:pt x="480" y="327"/>
                      <a:pt x="480" y="320"/>
                    </a:cubicBezTo>
                    <a:cubicBezTo>
                      <a:pt x="480" y="313"/>
                      <a:pt x="474" y="308"/>
                      <a:pt x="467" y="308"/>
                    </a:cubicBezTo>
                    <a:close/>
                    <a:moveTo>
                      <a:pt x="467" y="338"/>
                    </a:moveTo>
                    <a:cubicBezTo>
                      <a:pt x="461" y="338"/>
                      <a:pt x="455" y="344"/>
                      <a:pt x="455" y="351"/>
                    </a:cubicBezTo>
                    <a:cubicBezTo>
                      <a:pt x="455" y="357"/>
                      <a:pt x="461" y="363"/>
                      <a:pt x="467" y="363"/>
                    </a:cubicBezTo>
                    <a:cubicBezTo>
                      <a:pt x="474" y="363"/>
                      <a:pt x="480" y="357"/>
                      <a:pt x="480" y="351"/>
                    </a:cubicBezTo>
                    <a:cubicBezTo>
                      <a:pt x="480" y="344"/>
                      <a:pt x="474" y="338"/>
                      <a:pt x="467" y="338"/>
                    </a:cubicBezTo>
                    <a:close/>
                    <a:moveTo>
                      <a:pt x="467" y="215"/>
                    </a:moveTo>
                    <a:cubicBezTo>
                      <a:pt x="461" y="215"/>
                      <a:pt x="455" y="221"/>
                      <a:pt x="455" y="228"/>
                    </a:cubicBezTo>
                    <a:cubicBezTo>
                      <a:pt x="455" y="234"/>
                      <a:pt x="461" y="240"/>
                      <a:pt x="467" y="240"/>
                    </a:cubicBezTo>
                    <a:cubicBezTo>
                      <a:pt x="474" y="240"/>
                      <a:pt x="480" y="234"/>
                      <a:pt x="480" y="228"/>
                    </a:cubicBezTo>
                    <a:cubicBezTo>
                      <a:pt x="480" y="221"/>
                      <a:pt x="474" y="215"/>
                      <a:pt x="467" y="215"/>
                    </a:cubicBezTo>
                    <a:close/>
                    <a:moveTo>
                      <a:pt x="467" y="123"/>
                    </a:moveTo>
                    <a:cubicBezTo>
                      <a:pt x="461" y="123"/>
                      <a:pt x="455" y="129"/>
                      <a:pt x="455" y="135"/>
                    </a:cubicBezTo>
                    <a:cubicBezTo>
                      <a:pt x="455" y="142"/>
                      <a:pt x="461" y="148"/>
                      <a:pt x="467" y="148"/>
                    </a:cubicBezTo>
                    <a:cubicBezTo>
                      <a:pt x="474" y="148"/>
                      <a:pt x="480" y="142"/>
                      <a:pt x="480" y="135"/>
                    </a:cubicBezTo>
                    <a:cubicBezTo>
                      <a:pt x="480" y="129"/>
                      <a:pt x="474" y="123"/>
                      <a:pt x="467" y="123"/>
                    </a:cubicBezTo>
                    <a:close/>
                    <a:moveTo>
                      <a:pt x="502" y="400"/>
                    </a:moveTo>
                    <a:cubicBezTo>
                      <a:pt x="496" y="400"/>
                      <a:pt x="490" y="405"/>
                      <a:pt x="490" y="412"/>
                    </a:cubicBezTo>
                    <a:cubicBezTo>
                      <a:pt x="490" y="419"/>
                      <a:pt x="496" y="424"/>
                      <a:pt x="502" y="424"/>
                    </a:cubicBezTo>
                    <a:cubicBezTo>
                      <a:pt x="509" y="424"/>
                      <a:pt x="515" y="419"/>
                      <a:pt x="515" y="412"/>
                    </a:cubicBezTo>
                    <a:cubicBezTo>
                      <a:pt x="515" y="405"/>
                      <a:pt x="509" y="400"/>
                      <a:pt x="502" y="400"/>
                    </a:cubicBezTo>
                    <a:close/>
                    <a:moveTo>
                      <a:pt x="467" y="154"/>
                    </a:moveTo>
                    <a:cubicBezTo>
                      <a:pt x="461" y="154"/>
                      <a:pt x="455" y="159"/>
                      <a:pt x="455" y="166"/>
                    </a:cubicBezTo>
                    <a:cubicBezTo>
                      <a:pt x="455" y="173"/>
                      <a:pt x="461" y="178"/>
                      <a:pt x="467" y="178"/>
                    </a:cubicBezTo>
                    <a:cubicBezTo>
                      <a:pt x="474" y="178"/>
                      <a:pt x="480" y="173"/>
                      <a:pt x="480" y="166"/>
                    </a:cubicBezTo>
                    <a:cubicBezTo>
                      <a:pt x="480" y="159"/>
                      <a:pt x="474" y="154"/>
                      <a:pt x="467" y="154"/>
                    </a:cubicBezTo>
                    <a:close/>
                    <a:moveTo>
                      <a:pt x="467" y="185"/>
                    </a:moveTo>
                    <a:cubicBezTo>
                      <a:pt x="461" y="185"/>
                      <a:pt x="455" y="190"/>
                      <a:pt x="455" y="197"/>
                    </a:cubicBezTo>
                    <a:cubicBezTo>
                      <a:pt x="455" y="204"/>
                      <a:pt x="461" y="209"/>
                      <a:pt x="467" y="209"/>
                    </a:cubicBezTo>
                    <a:cubicBezTo>
                      <a:pt x="474" y="209"/>
                      <a:pt x="480" y="204"/>
                      <a:pt x="480" y="197"/>
                    </a:cubicBezTo>
                    <a:cubicBezTo>
                      <a:pt x="480" y="190"/>
                      <a:pt x="474" y="185"/>
                      <a:pt x="467" y="185"/>
                    </a:cubicBezTo>
                    <a:close/>
                    <a:moveTo>
                      <a:pt x="432" y="154"/>
                    </a:moveTo>
                    <a:cubicBezTo>
                      <a:pt x="426" y="154"/>
                      <a:pt x="420" y="159"/>
                      <a:pt x="420" y="166"/>
                    </a:cubicBezTo>
                    <a:cubicBezTo>
                      <a:pt x="420" y="173"/>
                      <a:pt x="426" y="178"/>
                      <a:pt x="432" y="178"/>
                    </a:cubicBezTo>
                    <a:cubicBezTo>
                      <a:pt x="439" y="178"/>
                      <a:pt x="445" y="173"/>
                      <a:pt x="445" y="166"/>
                    </a:cubicBezTo>
                    <a:cubicBezTo>
                      <a:pt x="445" y="159"/>
                      <a:pt x="439" y="154"/>
                      <a:pt x="432" y="154"/>
                    </a:cubicBezTo>
                    <a:close/>
                    <a:moveTo>
                      <a:pt x="432" y="308"/>
                    </a:moveTo>
                    <a:cubicBezTo>
                      <a:pt x="426" y="308"/>
                      <a:pt x="420" y="313"/>
                      <a:pt x="420" y="320"/>
                    </a:cubicBezTo>
                    <a:cubicBezTo>
                      <a:pt x="420" y="327"/>
                      <a:pt x="426" y="332"/>
                      <a:pt x="432" y="332"/>
                    </a:cubicBezTo>
                    <a:cubicBezTo>
                      <a:pt x="439" y="332"/>
                      <a:pt x="445" y="327"/>
                      <a:pt x="445" y="320"/>
                    </a:cubicBezTo>
                    <a:cubicBezTo>
                      <a:pt x="445" y="313"/>
                      <a:pt x="439" y="308"/>
                      <a:pt x="432" y="308"/>
                    </a:cubicBezTo>
                    <a:close/>
                    <a:moveTo>
                      <a:pt x="432" y="338"/>
                    </a:moveTo>
                    <a:cubicBezTo>
                      <a:pt x="426" y="338"/>
                      <a:pt x="420" y="344"/>
                      <a:pt x="420" y="351"/>
                    </a:cubicBezTo>
                    <a:cubicBezTo>
                      <a:pt x="420" y="357"/>
                      <a:pt x="426" y="363"/>
                      <a:pt x="432" y="363"/>
                    </a:cubicBezTo>
                    <a:cubicBezTo>
                      <a:pt x="439" y="363"/>
                      <a:pt x="445" y="357"/>
                      <a:pt x="445" y="351"/>
                    </a:cubicBezTo>
                    <a:cubicBezTo>
                      <a:pt x="445" y="344"/>
                      <a:pt x="439" y="338"/>
                      <a:pt x="432" y="338"/>
                    </a:cubicBezTo>
                    <a:close/>
                    <a:moveTo>
                      <a:pt x="432" y="369"/>
                    </a:moveTo>
                    <a:cubicBezTo>
                      <a:pt x="426" y="369"/>
                      <a:pt x="420" y="375"/>
                      <a:pt x="420" y="381"/>
                    </a:cubicBezTo>
                    <a:cubicBezTo>
                      <a:pt x="420" y="388"/>
                      <a:pt x="426" y="393"/>
                      <a:pt x="432" y="393"/>
                    </a:cubicBezTo>
                    <a:cubicBezTo>
                      <a:pt x="439" y="393"/>
                      <a:pt x="445" y="388"/>
                      <a:pt x="445" y="381"/>
                    </a:cubicBezTo>
                    <a:cubicBezTo>
                      <a:pt x="445" y="375"/>
                      <a:pt x="439" y="369"/>
                      <a:pt x="432" y="369"/>
                    </a:cubicBezTo>
                    <a:close/>
                    <a:moveTo>
                      <a:pt x="397" y="123"/>
                    </a:moveTo>
                    <a:cubicBezTo>
                      <a:pt x="391" y="123"/>
                      <a:pt x="385" y="129"/>
                      <a:pt x="385" y="135"/>
                    </a:cubicBezTo>
                    <a:cubicBezTo>
                      <a:pt x="385" y="142"/>
                      <a:pt x="391" y="148"/>
                      <a:pt x="397" y="148"/>
                    </a:cubicBezTo>
                    <a:cubicBezTo>
                      <a:pt x="404" y="148"/>
                      <a:pt x="410" y="142"/>
                      <a:pt x="410" y="135"/>
                    </a:cubicBezTo>
                    <a:cubicBezTo>
                      <a:pt x="410" y="129"/>
                      <a:pt x="404" y="123"/>
                      <a:pt x="397" y="123"/>
                    </a:cubicBezTo>
                    <a:close/>
                    <a:moveTo>
                      <a:pt x="432" y="215"/>
                    </a:moveTo>
                    <a:cubicBezTo>
                      <a:pt x="426" y="215"/>
                      <a:pt x="420" y="221"/>
                      <a:pt x="420" y="228"/>
                    </a:cubicBezTo>
                    <a:cubicBezTo>
                      <a:pt x="420" y="234"/>
                      <a:pt x="426" y="240"/>
                      <a:pt x="432" y="240"/>
                    </a:cubicBezTo>
                    <a:cubicBezTo>
                      <a:pt x="439" y="240"/>
                      <a:pt x="445" y="234"/>
                      <a:pt x="445" y="228"/>
                    </a:cubicBezTo>
                    <a:cubicBezTo>
                      <a:pt x="445" y="221"/>
                      <a:pt x="439" y="215"/>
                      <a:pt x="432" y="215"/>
                    </a:cubicBezTo>
                    <a:close/>
                    <a:moveTo>
                      <a:pt x="432" y="277"/>
                    </a:moveTo>
                    <a:cubicBezTo>
                      <a:pt x="426" y="277"/>
                      <a:pt x="420" y="282"/>
                      <a:pt x="420" y="289"/>
                    </a:cubicBezTo>
                    <a:cubicBezTo>
                      <a:pt x="420" y="296"/>
                      <a:pt x="426" y="301"/>
                      <a:pt x="432" y="301"/>
                    </a:cubicBezTo>
                    <a:cubicBezTo>
                      <a:pt x="439" y="301"/>
                      <a:pt x="445" y="296"/>
                      <a:pt x="445" y="289"/>
                    </a:cubicBezTo>
                    <a:cubicBezTo>
                      <a:pt x="445" y="282"/>
                      <a:pt x="439" y="277"/>
                      <a:pt x="432" y="277"/>
                    </a:cubicBezTo>
                    <a:close/>
                    <a:moveTo>
                      <a:pt x="432" y="185"/>
                    </a:moveTo>
                    <a:cubicBezTo>
                      <a:pt x="426" y="185"/>
                      <a:pt x="420" y="190"/>
                      <a:pt x="420" y="197"/>
                    </a:cubicBezTo>
                    <a:cubicBezTo>
                      <a:pt x="420" y="204"/>
                      <a:pt x="426" y="209"/>
                      <a:pt x="432" y="209"/>
                    </a:cubicBezTo>
                    <a:cubicBezTo>
                      <a:pt x="439" y="209"/>
                      <a:pt x="445" y="204"/>
                      <a:pt x="445" y="197"/>
                    </a:cubicBezTo>
                    <a:cubicBezTo>
                      <a:pt x="445" y="190"/>
                      <a:pt x="439" y="185"/>
                      <a:pt x="432" y="185"/>
                    </a:cubicBezTo>
                    <a:close/>
                    <a:moveTo>
                      <a:pt x="397" y="154"/>
                    </a:moveTo>
                    <a:cubicBezTo>
                      <a:pt x="391" y="154"/>
                      <a:pt x="385" y="159"/>
                      <a:pt x="385" y="166"/>
                    </a:cubicBezTo>
                    <a:cubicBezTo>
                      <a:pt x="385" y="173"/>
                      <a:pt x="391" y="178"/>
                      <a:pt x="397" y="178"/>
                    </a:cubicBezTo>
                    <a:cubicBezTo>
                      <a:pt x="404" y="178"/>
                      <a:pt x="410" y="173"/>
                      <a:pt x="410" y="166"/>
                    </a:cubicBezTo>
                    <a:cubicBezTo>
                      <a:pt x="410" y="159"/>
                      <a:pt x="404" y="154"/>
                      <a:pt x="397" y="154"/>
                    </a:cubicBezTo>
                    <a:close/>
                    <a:moveTo>
                      <a:pt x="432" y="246"/>
                    </a:moveTo>
                    <a:cubicBezTo>
                      <a:pt x="426" y="246"/>
                      <a:pt x="420" y="252"/>
                      <a:pt x="420" y="258"/>
                    </a:cubicBezTo>
                    <a:cubicBezTo>
                      <a:pt x="420" y="265"/>
                      <a:pt x="426" y="270"/>
                      <a:pt x="432" y="270"/>
                    </a:cubicBezTo>
                    <a:cubicBezTo>
                      <a:pt x="439" y="270"/>
                      <a:pt x="445" y="265"/>
                      <a:pt x="445" y="258"/>
                    </a:cubicBezTo>
                    <a:cubicBezTo>
                      <a:pt x="445" y="252"/>
                      <a:pt x="439" y="246"/>
                      <a:pt x="432" y="246"/>
                    </a:cubicBezTo>
                    <a:close/>
                    <a:moveTo>
                      <a:pt x="222" y="154"/>
                    </a:moveTo>
                    <a:cubicBezTo>
                      <a:pt x="215" y="154"/>
                      <a:pt x="210" y="159"/>
                      <a:pt x="210" y="166"/>
                    </a:cubicBezTo>
                    <a:cubicBezTo>
                      <a:pt x="210" y="173"/>
                      <a:pt x="215" y="178"/>
                      <a:pt x="222" y="178"/>
                    </a:cubicBezTo>
                    <a:cubicBezTo>
                      <a:pt x="229" y="178"/>
                      <a:pt x="234" y="173"/>
                      <a:pt x="234" y="166"/>
                    </a:cubicBezTo>
                    <a:cubicBezTo>
                      <a:pt x="234" y="159"/>
                      <a:pt x="229" y="154"/>
                      <a:pt x="222" y="154"/>
                    </a:cubicBezTo>
                    <a:close/>
                    <a:moveTo>
                      <a:pt x="502" y="369"/>
                    </a:moveTo>
                    <a:cubicBezTo>
                      <a:pt x="496" y="369"/>
                      <a:pt x="490" y="375"/>
                      <a:pt x="490" y="381"/>
                    </a:cubicBezTo>
                    <a:cubicBezTo>
                      <a:pt x="490" y="388"/>
                      <a:pt x="496" y="393"/>
                      <a:pt x="502" y="393"/>
                    </a:cubicBezTo>
                    <a:cubicBezTo>
                      <a:pt x="509" y="393"/>
                      <a:pt x="515" y="388"/>
                      <a:pt x="515" y="381"/>
                    </a:cubicBezTo>
                    <a:cubicBezTo>
                      <a:pt x="515" y="375"/>
                      <a:pt x="509" y="369"/>
                      <a:pt x="502" y="369"/>
                    </a:cubicBezTo>
                    <a:close/>
                    <a:moveTo>
                      <a:pt x="222" y="185"/>
                    </a:moveTo>
                    <a:cubicBezTo>
                      <a:pt x="215" y="185"/>
                      <a:pt x="210" y="190"/>
                      <a:pt x="210" y="197"/>
                    </a:cubicBezTo>
                    <a:cubicBezTo>
                      <a:pt x="210" y="204"/>
                      <a:pt x="215" y="209"/>
                      <a:pt x="222" y="209"/>
                    </a:cubicBezTo>
                    <a:cubicBezTo>
                      <a:pt x="229" y="209"/>
                      <a:pt x="234" y="204"/>
                      <a:pt x="234" y="197"/>
                    </a:cubicBezTo>
                    <a:cubicBezTo>
                      <a:pt x="234" y="190"/>
                      <a:pt x="229" y="185"/>
                      <a:pt x="222" y="185"/>
                    </a:cubicBezTo>
                    <a:close/>
                    <a:moveTo>
                      <a:pt x="222" y="246"/>
                    </a:moveTo>
                    <a:cubicBezTo>
                      <a:pt x="215" y="246"/>
                      <a:pt x="210" y="252"/>
                      <a:pt x="210" y="258"/>
                    </a:cubicBezTo>
                    <a:cubicBezTo>
                      <a:pt x="210" y="265"/>
                      <a:pt x="215" y="270"/>
                      <a:pt x="222" y="270"/>
                    </a:cubicBezTo>
                    <a:cubicBezTo>
                      <a:pt x="229" y="270"/>
                      <a:pt x="234" y="265"/>
                      <a:pt x="234" y="258"/>
                    </a:cubicBezTo>
                    <a:cubicBezTo>
                      <a:pt x="234" y="252"/>
                      <a:pt x="229" y="246"/>
                      <a:pt x="222" y="246"/>
                    </a:cubicBezTo>
                    <a:close/>
                    <a:moveTo>
                      <a:pt x="222" y="215"/>
                    </a:moveTo>
                    <a:cubicBezTo>
                      <a:pt x="215" y="215"/>
                      <a:pt x="210" y="221"/>
                      <a:pt x="210" y="228"/>
                    </a:cubicBezTo>
                    <a:cubicBezTo>
                      <a:pt x="210" y="234"/>
                      <a:pt x="215" y="240"/>
                      <a:pt x="222" y="240"/>
                    </a:cubicBezTo>
                    <a:cubicBezTo>
                      <a:pt x="229" y="240"/>
                      <a:pt x="234" y="234"/>
                      <a:pt x="234" y="228"/>
                    </a:cubicBezTo>
                    <a:cubicBezTo>
                      <a:pt x="234" y="221"/>
                      <a:pt x="229" y="215"/>
                      <a:pt x="222" y="215"/>
                    </a:cubicBezTo>
                    <a:close/>
                    <a:moveTo>
                      <a:pt x="643" y="707"/>
                    </a:moveTo>
                    <a:cubicBezTo>
                      <a:pt x="636" y="707"/>
                      <a:pt x="630" y="713"/>
                      <a:pt x="630" y="719"/>
                    </a:cubicBezTo>
                    <a:cubicBezTo>
                      <a:pt x="630" y="726"/>
                      <a:pt x="636" y="732"/>
                      <a:pt x="643" y="732"/>
                    </a:cubicBezTo>
                    <a:cubicBezTo>
                      <a:pt x="649" y="732"/>
                      <a:pt x="655" y="726"/>
                      <a:pt x="655" y="719"/>
                    </a:cubicBezTo>
                    <a:cubicBezTo>
                      <a:pt x="655" y="713"/>
                      <a:pt x="649" y="707"/>
                      <a:pt x="643" y="707"/>
                    </a:cubicBezTo>
                    <a:close/>
                    <a:moveTo>
                      <a:pt x="502" y="338"/>
                    </a:moveTo>
                    <a:cubicBezTo>
                      <a:pt x="496" y="338"/>
                      <a:pt x="490" y="344"/>
                      <a:pt x="490" y="351"/>
                    </a:cubicBezTo>
                    <a:cubicBezTo>
                      <a:pt x="490" y="357"/>
                      <a:pt x="496" y="363"/>
                      <a:pt x="502" y="363"/>
                    </a:cubicBezTo>
                    <a:cubicBezTo>
                      <a:pt x="509" y="363"/>
                      <a:pt x="515" y="357"/>
                      <a:pt x="515" y="351"/>
                    </a:cubicBezTo>
                    <a:cubicBezTo>
                      <a:pt x="515" y="344"/>
                      <a:pt x="509" y="338"/>
                      <a:pt x="502" y="338"/>
                    </a:cubicBezTo>
                    <a:close/>
                    <a:moveTo>
                      <a:pt x="608" y="185"/>
                    </a:moveTo>
                    <a:cubicBezTo>
                      <a:pt x="601" y="185"/>
                      <a:pt x="595" y="190"/>
                      <a:pt x="595" y="197"/>
                    </a:cubicBezTo>
                    <a:cubicBezTo>
                      <a:pt x="595" y="204"/>
                      <a:pt x="601" y="209"/>
                      <a:pt x="608" y="209"/>
                    </a:cubicBezTo>
                    <a:cubicBezTo>
                      <a:pt x="614" y="209"/>
                      <a:pt x="620" y="204"/>
                      <a:pt x="620" y="197"/>
                    </a:cubicBezTo>
                    <a:cubicBezTo>
                      <a:pt x="620" y="190"/>
                      <a:pt x="614" y="185"/>
                      <a:pt x="608" y="185"/>
                    </a:cubicBezTo>
                    <a:close/>
                    <a:moveTo>
                      <a:pt x="608" y="246"/>
                    </a:moveTo>
                    <a:cubicBezTo>
                      <a:pt x="601" y="246"/>
                      <a:pt x="595" y="252"/>
                      <a:pt x="595" y="258"/>
                    </a:cubicBezTo>
                    <a:cubicBezTo>
                      <a:pt x="595" y="265"/>
                      <a:pt x="601" y="270"/>
                      <a:pt x="608" y="270"/>
                    </a:cubicBezTo>
                    <a:cubicBezTo>
                      <a:pt x="614" y="270"/>
                      <a:pt x="620" y="265"/>
                      <a:pt x="620" y="258"/>
                    </a:cubicBezTo>
                    <a:cubicBezTo>
                      <a:pt x="620" y="252"/>
                      <a:pt x="614" y="246"/>
                      <a:pt x="608" y="246"/>
                    </a:cubicBezTo>
                    <a:close/>
                    <a:moveTo>
                      <a:pt x="608" y="277"/>
                    </a:moveTo>
                    <a:cubicBezTo>
                      <a:pt x="601" y="277"/>
                      <a:pt x="595" y="282"/>
                      <a:pt x="595" y="289"/>
                    </a:cubicBezTo>
                    <a:cubicBezTo>
                      <a:pt x="595" y="296"/>
                      <a:pt x="601" y="301"/>
                      <a:pt x="608" y="301"/>
                    </a:cubicBezTo>
                    <a:cubicBezTo>
                      <a:pt x="614" y="301"/>
                      <a:pt x="620" y="296"/>
                      <a:pt x="620" y="289"/>
                    </a:cubicBezTo>
                    <a:cubicBezTo>
                      <a:pt x="620" y="282"/>
                      <a:pt x="614" y="277"/>
                      <a:pt x="608" y="277"/>
                    </a:cubicBezTo>
                    <a:close/>
                    <a:moveTo>
                      <a:pt x="608" y="308"/>
                    </a:moveTo>
                    <a:cubicBezTo>
                      <a:pt x="601" y="308"/>
                      <a:pt x="595" y="313"/>
                      <a:pt x="595" y="320"/>
                    </a:cubicBezTo>
                    <a:cubicBezTo>
                      <a:pt x="595" y="327"/>
                      <a:pt x="601" y="332"/>
                      <a:pt x="608" y="332"/>
                    </a:cubicBezTo>
                    <a:cubicBezTo>
                      <a:pt x="614" y="332"/>
                      <a:pt x="620" y="327"/>
                      <a:pt x="620" y="320"/>
                    </a:cubicBezTo>
                    <a:cubicBezTo>
                      <a:pt x="620" y="313"/>
                      <a:pt x="614" y="308"/>
                      <a:pt x="608" y="308"/>
                    </a:cubicBezTo>
                    <a:close/>
                    <a:moveTo>
                      <a:pt x="608" y="338"/>
                    </a:moveTo>
                    <a:cubicBezTo>
                      <a:pt x="601" y="338"/>
                      <a:pt x="595" y="344"/>
                      <a:pt x="595" y="351"/>
                    </a:cubicBezTo>
                    <a:cubicBezTo>
                      <a:pt x="595" y="357"/>
                      <a:pt x="601" y="363"/>
                      <a:pt x="608" y="363"/>
                    </a:cubicBezTo>
                    <a:cubicBezTo>
                      <a:pt x="614" y="363"/>
                      <a:pt x="620" y="357"/>
                      <a:pt x="620" y="351"/>
                    </a:cubicBezTo>
                    <a:cubicBezTo>
                      <a:pt x="620" y="344"/>
                      <a:pt x="614" y="338"/>
                      <a:pt x="608" y="338"/>
                    </a:cubicBezTo>
                    <a:close/>
                    <a:moveTo>
                      <a:pt x="608" y="154"/>
                    </a:moveTo>
                    <a:cubicBezTo>
                      <a:pt x="601" y="154"/>
                      <a:pt x="595" y="159"/>
                      <a:pt x="595" y="166"/>
                    </a:cubicBezTo>
                    <a:cubicBezTo>
                      <a:pt x="595" y="173"/>
                      <a:pt x="601" y="178"/>
                      <a:pt x="608" y="178"/>
                    </a:cubicBezTo>
                    <a:cubicBezTo>
                      <a:pt x="614" y="178"/>
                      <a:pt x="620" y="173"/>
                      <a:pt x="620" y="166"/>
                    </a:cubicBezTo>
                    <a:cubicBezTo>
                      <a:pt x="620" y="159"/>
                      <a:pt x="614" y="154"/>
                      <a:pt x="608" y="154"/>
                    </a:cubicBezTo>
                    <a:close/>
                    <a:moveTo>
                      <a:pt x="608" y="0"/>
                    </a:moveTo>
                    <a:cubicBezTo>
                      <a:pt x="601" y="0"/>
                      <a:pt x="595" y="6"/>
                      <a:pt x="595" y="12"/>
                    </a:cubicBezTo>
                    <a:cubicBezTo>
                      <a:pt x="595" y="19"/>
                      <a:pt x="601" y="25"/>
                      <a:pt x="608" y="25"/>
                    </a:cubicBezTo>
                    <a:cubicBezTo>
                      <a:pt x="614" y="25"/>
                      <a:pt x="620" y="19"/>
                      <a:pt x="620" y="12"/>
                    </a:cubicBezTo>
                    <a:cubicBezTo>
                      <a:pt x="620" y="6"/>
                      <a:pt x="614" y="0"/>
                      <a:pt x="608" y="0"/>
                    </a:cubicBezTo>
                    <a:close/>
                    <a:moveTo>
                      <a:pt x="608" y="62"/>
                    </a:moveTo>
                    <a:cubicBezTo>
                      <a:pt x="601" y="62"/>
                      <a:pt x="595" y="67"/>
                      <a:pt x="595" y="74"/>
                    </a:cubicBezTo>
                    <a:cubicBezTo>
                      <a:pt x="595" y="81"/>
                      <a:pt x="601" y="86"/>
                      <a:pt x="608" y="86"/>
                    </a:cubicBezTo>
                    <a:cubicBezTo>
                      <a:pt x="614" y="86"/>
                      <a:pt x="620" y="81"/>
                      <a:pt x="620" y="74"/>
                    </a:cubicBezTo>
                    <a:cubicBezTo>
                      <a:pt x="620" y="67"/>
                      <a:pt x="614" y="62"/>
                      <a:pt x="608" y="62"/>
                    </a:cubicBezTo>
                    <a:close/>
                    <a:moveTo>
                      <a:pt x="608" y="123"/>
                    </a:moveTo>
                    <a:cubicBezTo>
                      <a:pt x="601" y="123"/>
                      <a:pt x="595" y="129"/>
                      <a:pt x="595" y="135"/>
                    </a:cubicBezTo>
                    <a:cubicBezTo>
                      <a:pt x="595" y="142"/>
                      <a:pt x="601" y="148"/>
                      <a:pt x="608" y="148"/>
                    </a:cubicBezTo>
                    <a:cubicBezTo>
                      <a:pt x="614" y="148"/>
                      <a:pt x="620" y="142"/>
                      <a:pt x="620" y="135"/>
                    </a:cubicBezTo>
                    <a:cubicBezTo>
                      <a:pt x="620" y="129"/>
                      <a:pt x="614" y="123"/>
                      <a:pt x="608" y="123"/>
                    </a:cubicBezTo>
                    <a:close/>
                    <a:moveTo>
                      <a:pt x="608" y="646"/>
                    </a:moveTo>
                    <a:cubicBezTo>
                      <a:pt x="601" y="646"/>
                      <a:pt x="595" y="651"/>
                      <a:pt x="595" y="658"/>
                    </a:cubicBezTo>
                    <a:cubicBezTo>
                      <a:pt x="595" y="665"/>
                      <a:pt x="601" y="670"/>
                      <a:pt x="608" y="670"/>
                    </a:cubicBezTo>
                    <a:cubicBezTo>
                      <a:pt x="614" y="670"/>
                      <a:pt x="620" y="665"/>
                      <a:pt x="620" y="658"/>
                    </a:cubicBezTo>
                    <a:cubicBezTo>
                      <a:pt x="620" y="651"/>
                      <a:pt x="614" y="646"/>
                      <a:pt x="608" y="646"/>
                    </a:cubicBezTo>
                    <a:close/>
                    <a:moveTo>
                      <a:pt x="608" y="554"/>
                    </a:moveTo>
                    <a:cubicBezTo>
                      <a:pt x="601" y="554"/>
                      <a:pt x="595" y="559"/>
                      <a:pt x="595" y="566"/>
                    </a:cubicBezTo>
                    <a:cubicBezTo>
                      <a:pt x="595" y="572"/>
                      <a:pt x="601" y="578"/>
                      <a:pt x="608" y="578"/>
                    </a:cubicBezTo>
                    <a:cubicBezTo>
                      <a:pt x="614" y="578"/>
                      <a:pt x="620" y="572"/>
                      <a:pt x="620" y="566"/>
                    </a:cubicBezTo>
                    <a:cubicBezTo>
                      <a:pt x="620" y="559"/>
                      <a:pt x="614" y="554"/>
                      <a:pt x="608" y="554"/>
                    </a:cubicBezTo>
                    <a:close/>
                    <a:moveTo>
                      <a:pt x="608" y="584"/>
                    </a:moveTo>
                    <a:cubicBezTo>
                      <a:pt x="601" y="584"/>
                      <a:pt x="595" y="590"/>
                      <a:pt x="595" y="596"/>
                    </a:cubicBezTo>
                    <a:cubicBezTo>
                      <a:pt x="595" y="603"/>
                      <a:pt x="601" y="609"/>
                      <a:pt x="608" y="609"/>
                    </a:cubicBezTo>
                    <a:cubicBezTo>
                      <a:pt x="614" y="609"/>
                      <a:pt x="620" y="603"/>
                      <a:pt x="620" y="596"/>
                    </a:cubicBezTo>
                    <a:cubicBezTo>
                      <a:pt x="620" y="590"/>
                      <a:pt x="614" y="584"/>
                      <a:pt x="608" y="584"/>
                    </a:cubicBezTo>
                    <a:close/>
                    <a:moveTo>
                      <a:pt x="643" y="62"/>
                    </a:moveTo>
                    <a:cubicBezTo>
                      <a:pt x="636" y="62"/>
                      <a:pt x="630" y="67"/>
                      <a:pt x="630" y="74"/>
                    </a:cubicBezTo>
                    <a:cubicBezTo>
                      <a:pt x="630" y="81"/>
                      <a:pt x="636" y="86"/>
                      <a:pt x="643" y="86"/>
                    </a:cubicBezTo>
                    <a:cubicBezTo>
                      <a:pt x="649" y="86"/>
                      <a:pt x="655" y="81"/>
                      <a:pt x="655" y="74"/>
                    </a:cubicBezTo>
                    <a:cubicBezTo>
                      <a:pt x="655" y="67"/>
                      <a:pt x="649" y="62"/>
                      <a:pt x="643" y="62"/>
                    </a:cubicBezTo>
                    <a:close/>
                    <a:moveTo>
                      <a:pt x="608" y="615"/>
                    </a:moveTo>
                    <a:cubicBezTo>
                      <a:pt x="601" y="615"/>
                      <a:pt x="595" y="620"/>
                      <a:pt x="595" y="627"/>
                    </a:cubicBezTo>
                    <a:cubicBezTo>
                      <a:pt x="595" y="634"/>
                      <a:pt x="601" y="639"/>
                      <a:pt x="608" y="639"/>
                    </a:cubicBezTo>
                    <a:cubicBezTo>
                      <a:pt x="614" y="639"/>
                      <a:pt x="620" y="634"/>
                      <a:pt x="620" y="627"/>
                    </a:cubicBezTo>
                    <a:cubicBezTo>
                      <a:pt x="620" y="620"/>
                      <a:pt x="614" y="615"/>
                      <a:pt x="608" y="615"/>
                    </a:cubicBezTo>
                    <a:close/>
                    <a:moveTo>
                      <a:pt x="608" y="369"/>
                    </a:moveTo>
                    <a:cubicBezTo>
                      <a:pt x="601" y="369"/>
                      <a:pt x="595" y="375"/>
                      <a:pt x="595" y="381"/>
                    </a:cubicBezTo>
                    <a:cubicBezTo>
                      <a:pt x="595" y="388"/>
                      <a:pt x="601" y="393"/>
                      <a:pt x="608" y="393"/>
                    </a:cubicBezTo>
                    <a:cubicBezTo>
                      <a:pt x="614" y="393"/>
                      <a:pt x="620" y="388"/>
                      <a:pt x="620" y="381"/>
                    </a:cubicBezTo>
                    <a:cubicBezTo>
                      <a:pt x="620" y="375"/>
                      <a:pt x="614" y="369"/>
                      <a:pt x="608" y="369"/>
                    </a:cubicBezTo>
                    <a:close/>
                    <a:moveTo>
                      <a:pt x="608" y="523"/>
                    </a:moveTo>
                    <a:cubicBezTo>
                      <a:pt x="601" y="523"/>
                      <a:pt x="595" y="528"/>
                      <a:pt x="595" y="535"/>
                    </a:cubicBezTo>
                    <a:cubicBezTo>
                      <a:pt x="595" y="542"/>
                      <a:pt x="601" y="547"/>
                      <a:pt x="608" y="547"/>
                    </a:cubicBezTo>
                    <a:cubicBezTo>
                      <a:pt x="614" y="547"/>
                      <a:pt x="620" y="542"/>
                      <a:pt x="620" y="535"/>
                    </a:cubicBezTo>
                    <a:cubicBezTo>
                      <a:pt x="620" y="528"/>
                      <a:pt x="614" y="523"/>
                      <a:pt x="608" y="523"/>
                    </a:cubicBezTo>
                    <a:close/>
                    <a:moveTo>
                      <a:pt x="608" y="492"/>
                    </a:moveTo>
                    <a:cubicBezTo>
                      <a:pt x="601" y="492"/>
                      <a:pt x="595" y="498"/>
                      <a:pt x="595" y="504"/>
                    </a:cubicBezTo>
                    <a:cubicBezTo>
                      <a:pt x="595" y="511"/>
                      <a:pt x="601" y="516"/>
                      <a:pt x="608" y="516"/>
                    </a:cubicBezTo>
                    <a:cubicBezTo>
                      <a:pt x="614" y="516"/>
                      <a:pt x="620" y="511"/>
                      <a:pt x="620" y="504"/>
                    </a:cubicBezTo>
                    <a:cubicBezTo>
                      <a:pt x="620" y="498"/>
                      <a:pt x="614" y="492"/>
                      <a:pt x="608" y="492"/>
                    </a:cubicBezTo>
                    <a:close/>
                    <a:moveTo>
                      <a:pt x="608" y="431"/>
                    </a:moveTo>
                    <a:cubicBezTo>
                      <a:pt x="601" y="431"/>
                      <a:pt x="595" y="436"/>
                      <a:pt x="595" y="443"/>
                    </a:cubicBezTo>
                    <a:cubicBezTo>
                      <a:pt x="595" y="449"/>
                      <a:pt x="601" y="455"/>
                      <a:pt x="608" y="455"/>
                    </a:cubicBezTo>
                    <a:cubicBezTo>
                      <a:pt x="614" y="455"/>
                      <a:pt x="620" y="449"/>
                      <a:pt x="620" y="443"/>
                    </a:cubicBezTo>
                    <a:cubicBezTo>
                      <a:pt x="620" y="436"/>
                      <a:pt x="614" y="431"/>
                      <a:pt x="608" y="431"/>
                    </a:cubicBezTo>
                    <a:close/>
                    <a:moveTo>
                      <a:pt x="608" y="400"/>
                    </a:moveTo>
                    <a:cubicBezTo>
                      <a:pt x="601" y="400"/>
                      <a:pt x="595" y="405"/>
                      <a:pt x="595" y="412"/>
                    </a:cubicBezTo>
                    <a:cubicBezTo>
                      <a:pt x="595" y="419"/>
                      <a:pt x="601" y="424"/>
                      <a:pt x="608" y="424"/>
                    </a:cubicBezTo>
                    <a:cubicBezTo>
                      <a:pt x="614" y="424"/>
                      <a:pt x="620" y="419"/>
                      <a:pt x="620" y="412"/>
                    </a:cubicBezTo>
                    <a:cubicBezTo>
                      <a:pt x="620" y="405"/>
                      <a:pt x="614" y="400"/>
                      <a:pt x="608" y="400"/>
                    </a:cubicBezTo>
                    <a:close/>
                    <a:moveTo>
                      <a:pt x="608" y="461"/>
                    </a:moveTo>
                    <a:cubicBezTo>
                      <a:pt x="601" y="461"/>
                      <a:pt x="595" y="467"/>
                      <a:pt x="595" y="474"/>
                    </a:cubicBezTo>
                    <a:cubicBezTo>
                      <a:pt x="595" y="480"/>
                      <a:pt x="601" y="486"/>
                      <a:pt x="608" y="486"/>
                    </a:cubicBezTo>
                    <a:cubicBezTo>
                      <a:pt x="614" y="486"/>
                      <a:pt x="620" y="480"/>
                      <a:pt x="620" y="474"/>
                    </a:cubicBezTo>
                    <a:cubicBezTo>
                      <a:pt x="620" y="467"/>
                      <a:pt x="614" y="461"/>
                      <a:pt x="608" y="461"/>
                    </a:cubicBezTo>
                    <a:close/>
                    <a:moveTo>
                      <a:pt x="608" y="215"/>
                    </a:moveTo>
                    <a:cubicBezTo>
                      <a:pt x="601" y="215"/>
                      <a:pt x="595" y="221"/>
                      <a:pt x="595" y="228"/>
                    </a:cubicBezTo>
                    <a:cubicBezTo>
                      <a:pt x="595" y="234"/>
                      <a:pt x="601" y="240"/>
                      <a:pt x="608" y="240"/>
                    </a:cubicBezTo>
                    <a:cubicBezTo>
                      <a:pt x="614" y="240"/>
                      <a:pt x="620" y="234"/>
                      <a:pt x="620" y="228"/>
                    </a:cubicBezTo>
                    <a:cubicBezTo>
                      <a:pt x="620" y="221"/>
                      <a:pt x="614" y="215"/>
                      <a:pt x="608" y="215"/>
                    </a:cubicBezTo>
                    <a:close/>
                    <a:moveTo>
                      <a:pt x="643" y="277"/>
                    </a:moveTo>
                    <a:cubicBezTo>
                      <a:pt x="636" y="277"/>
                      <a:pt x="630" y="282"/>
                      <a:pt x="630" y="289"/>
                    </a:cubicBezTo>
                    <a:cubicBezTo>
                      <a:pt x="630" y="296"/>
                      <a:pt x="636" y="301"/>
                      <a:pt x="643" y="301"/>
                    </a:cubicBezTo>
                    <a:cubicBezTo>
                      <a:pt x="649" y="301"/>
                      <a:pt x="655" y="296"/>
                      <a:pt x="655" y="289"/>
                    </a:cubicBezTo>
                    <a:cubicBezTo>
                      <a:pt x="655" y="282"/>
                      <a:pt x="649" y="277"/>
                      <a:pt x="643" y="277"/>
                    </a:cubicBezTo>
                    <a:close/>
                    <a:moveTo>
                      <a:pt x="643" y="246"/>
                    </a:moveTo>
                    <a:cubicBezTo>
                      <a:pt x="636" y="246"/>
                      <a:pt x="630" y="252"/>
                      <a:pt x="630" y="258"/>
                    </a:cubicBezTo>
                    <a:cubicBezTo>
                      <a:pt x="630" y="265"/>
                      <a:pt x="636" y="270"/>
                      <a:pt x="643" y="270"/>
                    </a:cubicBezTo>
                    <a:cubicBezTo>
                      <a:pt x="649" y="270"/>
                      <a:pt x="655" y="265"/>
                      <a:pt x="655" y="258"/>
                    </a:cubicBezTo>
                    <a:cubicBezTo>
                      <a:pt x="655" y="252"/>
                      <a:pt x="649" y="246"/>
                      <a:pt x="643" y="246"/>
                    </a:cubicBezTo>
                    <a:close/>
                    <a:moveTo>
                      <a:pt x="643" y="338"/>
                    </a:moveTo>
                    <a:cubicBezTo>
                      <a:pt x="636" y="338"/>
                      <a:pt x="630" y="344"/>
                      <a:pt x="630" y="351"/>
                    </a:cubicBezTo>
                    <a:cubicBezTo>
                      <a:pt x="630" y="357"/>
                      <a:pt x="636" y="363"/>
                      <a:pt x="643" y="363"/>
                    </a:cubicBezTo>
                    <a:cubicBezTo>
                      <a:pt x="649" y="363"/>
                      <a:pt x="655" y="357"/>
                      <a:pt x="655" y="351"/>
                    </a:cubicBezTo>
                    <a:cubicBezTo>
                      <a:pt x="655" y="344"/>
                      <a:pt x="649" y="338"/>
                      <a:pt x="643" y="338"/>
                    </a:cubicBezTo>
                    <a:close/>
                    <a:moveTo>
                      <a:pt x="643" y="215"/>
                    </a:moveTo>
                    <a:cubicBezTo>
                      <a:pt x="636" y="215"/>
                      <a:pt x="630" y="221"/>
                      <a:pt x="630" y="228"/>
                    </a:cubicBezTo>
                    <a:cubicBezTo>
                      <a:pt x="630" y="234"/>
                      <a:pt x="636" y="240"/>
                      <a:pt x="643" y="240"/>
                    </a:cubicBezTo>
                    <a:cubicBezTo>
                      <a:pt x="649" y="240"/>
                      <a:pt x="655" y="234"/>
                      <a:pt x="655" y="228"/>
                    </a:cubicBezTo>
                    <a:cubicBezTo>
                      <a:pt x="655" y="221"/>
                      <a:pt x="649" y="215"/>
                      <a:pt x="643" y="215"/>
                    </a:cubicBezTo>
                    <a:close/>
                    <a:moveTo>
                      <a:pt x="643" y="308"/>
                    </a:moveTo>
                    <a:cubicBezTo>
                      <a:pt x="636" y="308"/>
                      <a:pt x="630" y="313"/>
                      <a:pt x="630" y="320"/>
                    </a:cubicBezTo>
                    <a:cubicBezTo>
                      <a:pt x="630" y="327"/>
                      <a:pt x="636" y="332"/>
                      <a:pt x="643" y="332"/>
                    </a:cubicBezTo>
                    <a:cubicBezTo>
                      <a:pt x="649" y="332"/>
                      <a:pt x="655" y="327"/>
                      <a:pt x="655" y="320"/>
                    </a:cubicBezTo>
                    <a:cubicBezTo>
                      <a:pt x="655" y="313"/>
                      <a:pt x="649" y="308"/>
                      <a:pt x="643" y="308"/>
                    </a:cubicBezTo>
                    <a:close/>
                    <a:moveTo>
                      <a:pt x="643" y="369"/>
                    </a:moveTo>
                    <a:cubicBezTo>
                      <a:pt x="636" y="369"/>
                      <a:pt x="630" y="375"/>
                      <a:pt x="630" y="381"/>
                    </a:cubicBezTo>
                    <a:cubicBezTo>
                      <a:pt x="630" y="388"/>
                      <a:pt x="636" y="393"/>
                      <a:pt x="643" y="393"/>
                    </a:cubicBezTo>
                    <a:cubicBezTo>
                      <a:pt x="649" y="393"/>
                      <a:pt x="655" y="388"/>
                      <a:pt x="655" y="381"/>
                    </a:cubicBezTo>
                    <a:cubicBezTo>
                      <a:pt x="655" y="375"/>
                      <a:pt x="649" y="369"/>
                      <a:pt x="643" y="369"/>
                    </a:cubicBezTo>
                    <a:close/>
                    <a:moveTo>
                      <a:pt x="643" y="123"/>
                    </a:moveTo>
                    <a:cubicBezTo>
                      <a:pt x="636" y="123"/>
                      <a:pt x="630" y="129"/>
                      <a:pt x="630" y="135"/>
                    </a:cubicBezTo>
                    <a:cubicBezTo>
                      <a:pt x="630" y="142"/>
                      <a:pt x="636" y="148"/>
                      <a:pt x="643" y="148"/>
                    </a:cubicBezTo>
                    <a:cubicBezTo>
                      <a:pt x="649" y="148"/>
                      <a:pt x="655" y="142"/>
                      <a:pt x="655" y="135"/>
                    </a:cubicBezTo>
                    <a:cubicBezTo>
                      <a:pt x="655" y="129"/>
                      <a:pt x="649" y="123"/>
                      <a:pt x="643" y="123"/>
                    </a:cubicBezTo>
                    <a:close/>
                    <a:moveTo>
                      <a:pt x="643" y="677"/>
                    </a:moveTo>
                    <a:cubicBezTo>
                      <a:pt x="636" y="677"/>
                      <a:pt x="630" y="682"/>
                      <a:pt x="630" y="689"/>
                    </a:cubicBezTo>
                    <a:cubicBezTo>
                      <a:pt x="630" y="695"/>
                      <a:pt x="636" y="701"/>
                      <a:pt x="643" y="701"/>
                    </a:cubicBezTo>
                    <a:cubicBezTo>
                      <a:pt x="649" y="701"/>
                      <a:pt x="655" y="695"/>
                      <a:pt x="655" y="689"/>
                    </a:cubicBezTo>
                    <a:cubicBezTo>
                      <a:pt x="655" y="682"/>
                      <a:pt x="649" y="677"/>
                      <a:pt x="643" y="677"/>
                    </a:cubicBezTo>
                    <a:close/>
                    <a:moveTo>
                      <a:pt x="643" y="185"/>
                    </a:moveTo>
                    <a:cubicBezTo>
                      <a:pt x="636" y="185"/>
                      <a:pt x="630" y="190"/>
                      <a:pt x="630" y="197"/>
                    </a:cubicBezTo>
                    <a:cubicBezTo>
                      <a:pt x="630" y="204"/>
                      <a:pt x="636" y="209"/>
                      <a:pt x="643" y="209"/>
                    </a:cubicBezTo>
                    <a:cubicBezTo>
                      <a:pt x="649" y="209"/>
                      <a:pt x="655" y="204"/>
                      <a:pt x="655" y="197"/>
                    </a:cubicBezTo>
                    <a:cubicBezTo>
                      <a:pt x="655" y="190"/>
                      <a:pt x="649" y="185"/>
                      <a:pt x="643" y="185"/>
                    </a:cubicBezTo>
                    <a:close/>
                    <a:moveTo>
                      <a:pt x="643" y="154"/>
                    </a:moveTo>
                    <a:cubicBezTo>
                      <a:pt x="636" y="154"/>
                      <a:pt x="630" y="159"/>
                      <a:pt x="630" y="166"/>
                    </a:cubicBezTo>
                    <a:cubicBezTo>
                      <a:pt x="630" y="173"/>
                      <a:pt x="636" y="178"/>
                      <a:pt x="643" y="178"/>
                    </a:cubicBezTo>
                    <a:cubicBezTo>
                      <a:pt x="649" y="178"/>
                      <a:pt x="655" y="173"/>
                      <a:pt x="655" y="166"/>
                    </a:cubicBezTo>
                    <a:cubicBezTo>
                      <a:pt x="655" y="159"/>
                      <a:pt x="649" y="154"/>
                      <a:pt x="643" y="154"/>
                    </a:cubicBezTo>
                    <a:close/>
                    <a:moveTo>
                      <a:pt x="643" y="92"/>
                    </a:moveTo>
                    <a:cubicBezTo>
                      <a:pt x="636" y="92"/>
                      <a:pt x="630" y="98"/>
                      <a:pt x="630" y="105"/>
                    </a:cubicBezTo>
                    <a:cubicBezTo>
                      <a:pt x="630" y="111"/>
                      <a:pt x="636" y="117"/>
                      <a:pt x="643" y="117"/>
                    </a:cubicBezTo>
                    <a:cubicBezTo>
                      <a:pt x="649" y="117"/>
                      <a:pt x="655" y="111"/>
                      <a:pt x="655" y="105"/>
                    </a:cubicBezTo>
                    <a:cubicBezTo>
                      <a:pt x="655" y="98"/>
                      <a:pt x="649" y="92"/>
                      <a:pt x="643" y="92"/>
                    </a:cubicBezTo>
                    <a:close/>
                    <a:moveTo>
                      <a:pt x="643" y="554"/>
                    </a:moveTo>
                    <a:cubicBezTo>
                      <a:pt x="636" y="554"/>
                      <a:pt x="630" y="559"/>
                      <a:pt x="630" y="566"/>
                    </a:cubicBezTo>
                    <a:cubicBezTo>
                      <a:pt x="630" y="572"/>
                      <a:pt x="636" y="578"/>
                      <a:pt x="643" y="578"/>
                    </a:cubicBezTo>
                    <a:cubicBezTo>
                      <a:pt x="649" y="578"/>
                      <a:pt x="655" y="572"/>
                      <a:pt x="655" y="566"/>
                    </a:cubicBezTo>
                    <a:cubicBezTo>
                      <a:pt x="655" y="559"/>
                      <a:pt x="649" y="554"/>
                      <a:pt x="643" y="554"/>
                    </a:cubicBezTo>
                    <a:close/>
                    <a:moveTo>
                      <a:pt x="643" y="584"/>
                    </a:moveTo>
                    <a:cubicBezTo>
                      <a:pt x="636" y="584"/>
                      <a:pt x="630" y="590"/>
                      <a:pt x="630" y="596"/>
                    </a:cubicBezTo>
                    <a:cubicBezTo>
                      <a:pt x="630" y="603"/>
                      <a:pt x="636" y="609"/>
                      <a:pt x="643" y="609"/>
                    </a:cubicBezTo>
                    <a:cubicBezTo>
                      <a:pt x="649" y="609"/>
                      <a:pt x="655" y="603"/>
                      <a:pt x="655" y="596"/>
                    </a:cubicBezTo>
                    <a:cubicBezTo>
                      <a:pt x="655" y="590"/>
                      <a:pt x="649" y="584"/>
                      <a:pt x="643" y="584"/>
                    </a:cubicBezTo>
                    <a:close/>
                    <a:moveTo>
                      <a:pt x="643" y="615"/>
                    </a:moveTo>
                    <a:cubicBezTo>
                      <a:pt x="636" y="615"/>
                      <a:pt x="630" y="620"/>
                      <a:pt x="630" y="627"/>
                    </a:cubicBezTo>
                    <a:cubicBezTo>
                      <a:pt x="630" y="634"/>
                      <a:pt x="636" y="639"/>
                      <a:pt x="643" y="639"/>
                    </a:cubicBezTo>
                    <a:cubicBezTo>
                      <a:pt x="649" y="639"/>
                      <a:pt x="655" y="634"/>
                      <a:pt x="655" y="627"/>
                    </a:cubicBezTo>
                    <a:cubicBezTo>
                      <a:pt x="655" y="620"/>
                      <a:pt x="649" y="615"/>
                      <a:pt x="643" y="615"/>
                    </a:cubicBezTo>
                    <a:close/>
                    <a:moveTo>
                      <a:pt x="643" y="646"/>
                    </a:moveTo>
                    <a:cubicBezTo>
                      <a:pt x="636" y="646"/>
                      <a:pt x="630" y="651"/>
                      <a:pt x="630" y="658"/>
                    </a:cubicBezTo>
                    <a:cubicBezTo>
                      <a:pt x="630" y="665"/>
                      <a:pt x="636" y="670"/>
                      <a:pt x="643" y="670"/>
                    </a:cubicBezTo>
                    <a:cubicBezTo>
                      <a:pt x="649" y="670"/>
                      <a:pt x="655" y="665"/>
                      <a:pt x="655" y="658"/>
                    </a:cubicBezTo>
                    <a:cubicBezTo>
                      <a:pt x="655" y="651"/>
                      <a:pt x="649" y="646"/>
                      <a:pt x="643" y="646"/>
                    </a:cubicBezTo>
                    <a:close/>
                    <a:moveTo>
                      <a:pt x="643" y="400"/>
                    </a:moveTo>
                    <a:cubicBezTo>
                      <a:pt x="636" y="400"/>
                      <a:pt x="630" y="405"/>
                      <a:pt x="630" y="412"/>
                    </a:cubicBezTo>
                    <a:cubicBezTo>
                      <a:pt x="630" y="419"/>
                      <a:pt x="636" y="424"/>
                      <a:pt x="643" y="424"/>
                    </a:cubicBezTo>
                    <a:cubicBezTo>
                      <a:pt x="649" y="424"/>
                      <a:pt x="655" y="419"/>
                      <a:pt x="655" y="412"/>
                    </a:cubicBezTo>
                    <a:cubicBezTo>
                      <a:pt x="655" y="405"/>
                      <a:pt x="649" y="400"/>
                      <a:pt x="643" y="400"/>
                    </a:cubicBezTo>
                    <a:close/>
                    <a:moveTo>
                      <a:pt x="643" y="523"/>
                    </a:moveTo>
                    <a:cubicBezTo>
                      <a:pt x="636" y="523"/>
                      <a:pt x="630" y="528"/>
                      <a:pt x="630" y="535"/>
                    </a:cubicBezTo>
                    <a:cubicBezTo>
                      <a:pt x="630" y="542"/>
                      <a:pt x="636" y="547"/>
                      <a:pt x="643" y="547"/>
                    </a:cubicBezTo>
                    <a:cubicBezTo>
                      <a:pt x="649" y="547"/>
                      <a:pt x="655" y="542"/>
                      <a:pt x="655" y="535"/>
                    </a:cubicBezTo>
                    <a:cubicBezTo>
                      <a:pt x="655" y="528"/>
                      <a:pt x="649" y="523"/>
                      <a:pt x="643" y="523"/>
                    </a:cubicBezTo>
                    <a:close/>
                    <a:moveTo>
                      <a:pt x="643" y="461"/>
                    </a:moveTo>
                    <a:cubicBezTo>
                      <a:pt x="636" y="461"/>
                      <a:pt x="630" y="467"/>
                      <a:pt x="630" y="474"/>
                    </a:cubicBezTo>
                    <a:cubicBezTo>
                      <a:pt x="630" y="480"/>
                      <a:pt x="636" y="486"/>
                      <a:pt x="643" y="486"/>
                    </a:cubicBezTo>
                    <a:cubicBezTo>
                      <a:pt x="649" y="486"/>
                      <a:pt x="655" y="480"/>
                      <a:pt x="655" y="474"/>
                    </a:cubicBezTo>
                    <a:cubicBezTo>
                      <a:pt x="655" y="467"/>
                      <a:pt x="649" y="461"/>
                      <a:pt x="643" y="461"/>
                    </a:cubicBezTo>
                    <a:close/>
                    <a:moveTo>
                      <a:pt x="643" y="431"/>
                    </a:moveTo>
                    <a:cubicBezTo>
                      <a:pt x="636" y="431"/>
                      <a:pt x="630" y="436"/>
                      <a:pt x="630" y="443"/>
                    </a:cubicBezTo>
                    <a:cubicBezTo>
                      <a:pt x="630" y="449"/>
                      <a:pt x="636" y="455"/>
                      <a:pt x="643" y="455"/>
                    </a:cubicBezTo>
                    <a:cubicBezTo>
                      <a:pt x="649" y="455"/>
                      <a:pt x="655" y="449"/>
                      <a:pt x="655" y="443"/>
                    </a:cubicBezTo>
                    <a:cubicBezTo>
                      <a:pt x="655" y="436"/>
                      <a:pt x="649" y="431"/>
                      <a:pt x="643" y="431"/>
                    </a:cubicBezTo>
                    <a:close/>
                    <a:moveTo>
                      <a:pt x="643" y="492"/>
                    </a:moveTo>
                    <a:cubicBezTo>
                      <a:pt x="636" y="492"/>
                      <a:pt x="630" y="498"/>
                      <a:pt x="630" y="504"/>
                    </a:cubicBezTo>
                    <a:cubicBezTo>
                      <a:pt x="630" y="511"/>
                      <a:pt x="636" y="516"/>
                      <a:pt x="643" y="516"/>
                    </a:cubicBezTo>
                    <a:cubicBezTo>
                      <a:pt x="649" y="516"/>
                      <a:pt x="655" y="511"/>
                      <a:pt x="655" y="504"/>
                    </a:cubicBezTo>
                    <a:cubicBezTo>
                      <a:pt x="655" y="498"/>
                      <a:pt x="649" y="492"/>
                      <a:pt x="643" y="492"/>
                    </a:cubicBezTo>
                    <a:close/>
                    <a:moveTo>
                      <a:pt x="573" y="0"/>
                    </a:moveTo>
                    <a:cubicBezTo>
                      <a:pt x="566" y="0"/>
                      <a:pt x="560" y="6"/>
                      <a:pt x="560" y="12"/>
                    </a:cubicBezTo>
                    <a:cubicBezTo>
                      <a:pt x="560" y="19"/>
                      <a:pt x="566" y="25"/>
                      <a:pt x="573" y="25"/>
                    </a:cubicBezTo>
                    <a:cubicBezTo>
                      <a:pt x="579" y="25"/>
                      <a:pt x="585" y="19"/>
                      <a:pt x="585" y="12"/>
                    </a:cubicBezTo>
                    <a:cubicBezTo>
                      <a:pt x="585" y="6"/>
                      <a:pt x="579" y="0"/>
                      <a:pt x="573" y="0"/>
                    </a:cubicBezTo>
                    <a:close/>
                    <a:moveTo>
                      <a:pt x="538" y="492"/>
                    </a:moveTo>
                    <a:cubicBezTo>
                      <a:pt x="531" y="492"/>
                      <a:pt x="525" y="498"/>
                      <a:pt x="525" y="504"/>
                    </a:cubicBezTo>
                    <a:cubicBezTo>
                      <a:pt x="525" y="511"/>
                      <a:pt x="531" y="516"/>
                      <a:pt x="538" y="516"/>
                    </a:cubicBezTo>
                    <a:cubicBezTo>
                      <a:pt x="544" y="516"/>
                      <a:pt x="550" y="511"/>
                      <a:pt x="550" y="504"/>
                    </a:cubicBezTo>
                    <a:cubicBezTo>
                      <a:pt x="550" y="498"/>
                      <a:pt x="544" y="492"/>
                      <a:pt x="538" y="492"/>
                    </a:cubicBezTo>
                    <a:close/>
                    <a:moveTo>
                      <a:pt x="538" y="369"/>
                    </a:moveTo>
                    <a:cubicBezTo>
                      <a:pt x="531" y="369"/>
                      <a:pt x="525" y="375"/>
                      <a:pt x="525" y="381"/>
                    </a:cubicBezTo>
                    <a:cubicBezTo>
                      <a:pt x="525" y="388"/>
                      <a:pt x="531" y="393"/>
                      <a:pt x="538" y="393"/>
                    </a:cubicBezTo>
                    <a:cubicBezTo>
                      <a:pt x="544" y="393"/>
                      <a:pt x="550" y="388"/>
                      <a:pt x="550" y="381"/>
                    </a:cubicBezTo>
                    <a:cubicBezTo>
                      <a:pt x="550" y="375"/>
                      <a:pt x="544" y="369"/>
                      <a:pt x="538" y="369"/>
                    </a:cubicBezTo>
                    <a:close/>
                    <a:moveTo>
                      <a:pt x="538" y="338"/>
                    </a:moveTo>
                    <a:cubicBezTo>
                      <a:pt x="531" y="338"/>
                      <a:pt x="525" y="344"/>
                      <a:pt x="525" y="351"/>
                    </a:cubicBezTo>
                    <a:cubicBezTo>
                      <a:pt x="525" y="357"/>
                      <a:pt x="531" y="363"/>
                      <a:pt x="538" y="363"/>
                    </a:cubicBezTo>
                    <a:cubicBezTo>
                      <a:pt x="544" y="363"/>
                      <a:pt x="550" y="357"/>
                      <a:pt x="550" y="351"/>
                    </a:cubicBezTo>
                    <a:cubicBezTo>
                      <a:pt x="550" y="344"/>
                      <a:pt x="544" y="338"/>
                      <a:pt x="538" y="338"/>
                    </a:cubicBezTo>
                    <a:close/>
                    <a:moveTo>
                      <a:pt x="538" y="431"/>
                    </a:moveTo>
                    <a:cubicBezTo>
                      <a:pt x="531" y="431"/>
                      <a:pt x="525" y="436"/>
                      <a:pt x="525" y="443"/>
                    </a:cubicBezTo>
                    <a:cubicBezTo>
                      <a:pt x="525" y="449"/>
                      <a:pt x="531" y="455"/>
                      <a:pt x="538" y="455"/>
                    </a:cubicBezTo>
                    <a:cubicBezTo>
                      <a:pt x="544" y="455"/>
                      <a:pt x="550" y="449"/>
                      <a:pt x="550" y="443"/>
                    </a:cubicBezTo>
                    <a:cubicBezTo>
                      <a:pt x="550" y="436"/>
                      <a:pt x="544" y="431"/>
                      <a:pt x="538" y="431"/>
                    </a:cubicBezTo>
                    <a:close/>
                    <a:moveTo>
                      <a:pt x="538" y="461"/>
                    </a:moveTo>
                    <a:cubicBezTo>
                      <a:pt x="531" y="461"/>
                      <a:pt x="525" y="467"/>
                      <a:pt x="525" y="474"/>
                    </a:cubicBezTo>
                    <a:cubicBezTo>
                      <a:pt x="525" y="480"/>
                      <a:pt x="531" y="486"/>
                      <a:pt x="538" y="486"/>
                    </a:cubicBezTo>
                    <a:cubicBezTo>
                      <a:pt x="544" y="486"/>
                      <a:pt x="550" y="480"/>
                      <a:pt x="550" y="474"/>
                    </a:cubicBezTo>
                    <a:cubicBezTo>
                      <a:pt x="550" y="467"/>
                      <a:pt x="544" y="461"/>
                      <a:pt x="538" y="461"/>
                    </a:cubicBezTo>
                    <a:close/>
                    <a:moveTo>
                      <a:pt x="538" y="185"/>
                    </a:moveTo>
                    <a:cubicBezTo>
                      <a:pt x="531" y="185"/>
                      <a:pt x="525" y="190"/>
                      <a:pt x="525" y="197"/>
                    </a:cubicBezTo>
                    <a:cubicBezTo>
                      <a:pt x="525" y="204"/>
                      <a:pt x="531" y="209"/>
                      <a:pt x="538" y="209"/>
                    </a:cubicBezTo>
                    <a:cubicBezTo>
                      <a:pt x="544" y="209"/>
                      <a:pt x="550" y="204"/>
                      <a:pt x="550" y="197"/>
                    </a:cubicBezTo>
                    <a:cubicBezTo>
                      <a:pt x="550" y="190"/>
                      <a:pt x="544" y="185"/>
                      <a:pt x="538" y="185"/>
                    </a:cubicBezTo>
                    <a:close/>
                    <a:moveTo>
                      <a:pt x="538" y="246"/>
                    </a:moveTo>
                    <a:cubicBezTo>
                      <a:pt x="531" y="246"/>
                      <a:pt x="525" y="252"/>
                      <a:pt x="525" y="258"/>
                    </a:cubicBezTo>
                    <a:cubicBezTo>
                      <a:pt x="525" y="265"/>
                      <a:pt x="531" y="270"/>
                      <a:pt x="538" y="270"/>
                    </a:cubicBezTo>
                    <a:cubicBezTo>
                      <a:pt x="544" y="270"/>
                      <a:pt x="550" y="265"/>
                      <a:pt x="550" y="258"/>
                    </a:cubicBezTo>
                    <a:cubicBezTo>
                      <a:pt x="550" y="252"/>
                      <a:pt x="544" y="246"/>
                      <a:pt x="538" y="246"/>
                    </a:cubicBezTo>
                    <a:close/>
                    <a:moveTo>
                      <a:pt x="538" y="215"/>
                    </a:moveTo>
                    <a:cubicBezTo>
                      <a:pt x="531" y="215"/>
                      <a:pt x="525" y="221"/>
                      <a:pt x="525" y="228"/>
                    </a:cubicBezTo>
                    <a:cubicBezTo>
                      <a:pt x="525" y="234"/>
                      <a:pt x="531" y="240"/>
                      <a:pt x="538" y="240"/>
                    </a:cubicBezTo>
                    <a:cubicBezTo>
                      <a:pt x="544" y="240"/>
                      <a:pt x="550" y="234"/>
                      <a:pt x="550" y="228"/>
                    </a:cubicBezTo>
                    <a:cubicBezTo>
                      <a:pt x="550" y="221"/>
                      <a:pt x="544" y="215"/>
                      <a:pt x="538" y="215"/>
                    </a:cubicBezTo>
                    <a:close/>
                    <a:moveTo>
                      <a:pt x="538" y="308"/>
                    </a:moveTo>
                    <a:cubicBezTo>
                      <a:pt x="531" y="308"/>
                      <a:pt x="525" y="313"/>
                      <a:pt x="525" y="320"/>
                    </a:cubicBezTo>
                    <a:cubicBezTo>
                      <a:pt x="525" y="327"/>
                      <a:pt x="531" y="332"/>
                      <a:pt x="538" y="332"/>
                    </a:cubicBezTo>
                    <a:cubicBezTo>
                      <a:pt x="544" y="332"/>
                      <a:pt x="550" y="327"/>
                      <a:pt x="550" y="320"/>
                    </a:cubicBezTo>
                    <a:cubicBezTo>
                      <a:pt x="550" y="313"/>
                      <a:pt x="544" y="308"/>
                      <a:pt x="538" y="308"/>
                    </a:cubicBezTo>
                    <a:close/>
                    <a:moveTo>
                      <a:pt x="538" y="277"/>
                    </a:moveTo>
                    <a:cubicBezTo>
                      <a:pt x="531" y="277"/>
                      <a:pt x="525" y="282"/>
                      <a:pt x="525" y="289"/>
                    </a:cubicBezTo>
                    <a:cubicBezTo>
                      <a:pt x="525" y="296"/>
                      <a:pt x="531" y="301"/>
                      <a:pt x="538" y="301"/>
                    </a:cubicBezTo>
                    <a:cubicBezTo>
                      <a:pt x="544" y="301"/>
                      <a:pt x="550" y="296"/>
                      <a:pt x="550" y="289"/>
                    </a:cubicBezTo>
                    <a:cubicBezTo>
                      <a:pt x="550" y="282"/>
                      <a:pt x="544" y="277"/>
                      <a:pt x="538" y="277"/>
                    </a:cubicBezTo>
                    <a:close/>
                    <a:moveTo>
                      <a:pt x="538" y="400"/>
                    </a:moveTo>
                    <a:cubicBezTo>
                      <a:pt x="531" y="400"/>
                      <a:pt x="525" y="405"/>
                      <a:pt x="525" y="412"/>
                    </a:cubicBezTo>
                    <a:cubicBezTo>
                      <a:pt x="525" y="419"/>
                      <a:pt x="531" y="424"/>
                      <a:pt x="538" y="424"/>
                    </a:cubicBezTo>
                    <a:cubicBezTo>
                      <a:pt x="544" y="424"/>
                      <a:pt x="550" y="419"/>
                      <a:pt x="550" y="412"/>
                    </a:cubicBezTo>
                    <a:cubicBezTo>
                      <a:pt x="550" y="405"/>
                      <a:pt x="544" y="400"/>
                      <a:pt x="538" y="400"/>
                    </a:cubicBezTo>
                    <a:close/>
                    <a:moveTo>
                      <a:pt x="573" y="62"/>
                    </a:moveTo>
                    <a:cubicBezTo>
                      <a:pt x="566" y="62"/>
                      <a:pt x="560" y="67"/>
                      <a:pt x="560" y="74"/>
                    </a:cubicBezTo>
                    <a:cubicBezTo>
                      <a:pt x="560" y="81"/>
                      <a:pt x="566" y="86"/>
                      <a:pt x="573" y="86"/>
                    </a:cubicBezTo>
                    <a:cubicBezTo>
                      <a:pt x="579" y="86"/>
                      <a:pt x="585" y="81"/>
                      <a:pt x="585" y="74"/>
                    </a:cubicBezTo>
                    <a:cubicBezTo>
                      <a:pt x="585" y="67"/>
                      <a:pt x="579" y="62"/>
                      <a:pt x="573" y="62"/>
                    </a:cubicBezTo>
                    <a:close/>
                    <a:moveTo>
                      <a:pt x="502" y="246"/>
                    </a:moveTo>
                    <a:cubicBezTo>
                      <a:pt x="496" y="246"/>
                      <a:pt x="490" y="252"/>
                      <a:pt x="490" y="258"/>
                    </a:cubicBezTo>
                    <a:cubicBezTo>
                      <a:pt x="490" y="265"/>
                      <a:pt x="496" y="270"/>
                      <a:pt x="502" y="270"/>
                    </a:cubicBezTo>
                    <a:cubicBezTo>
                      <a:pt x="509" y="270"/>
                      <a:pt x="515" y="265"/>
                      <a:pt x="515" y="258"/>
                    </a:cubicBezTo>
                    <a:cubicBezTo>
                      <a:pt x="515" y="252"/>
                      <a:pt x="509" y="246"/>
                      <a:pt x="502" y="246"/>
                    </a:cubicBezTo>
                    <a:close/>
                    <a:moveTo>
                      <a:pt x="502" y="277"/>
                    </a:moveTo>
                    <a:cubicBezTo>
                      <a:pt x="496" y="277"/>
                      <a:pt x="490" y="282"/>
                      <a:pt x="490" y="289"/>
                    </a:cubicBezTo>
                    <a:cubicBezTo>
                      <a:pt x="490" y="296"/>
                      <a:pt x="496" y="301"/>
                      <a:pt x="502" y="301"/>
                    </a:cubicBezTo>
                    <a:cubicBezTo>
                      <a:pt x="509" y="301"/>
                      <a:pt x="515" y="296"/>
                      <a:pt x="515" y="289"/>
                    </a:cubicBezTo>
                    <a:cubicBezTo>
                      <a:pt x="515" y="282"/>
                      <a:pt x="509" y="277"/>
                      <a:pt x="502" y="277"/>
                    </a:cubicBezTo>
                    <a:close/>
                    <a:moveTo>
                      <a:pt x="502" y="308"/>
                    </a:moveTo>
                    <a:cubicBezTo>
                      <a:pt x="496" y="308"/>
                      <a:pt x="490" y="313"/>
                      <a:pt x="490" y="320"/>
                    </a:cubicBezTo>
                    <a:cubicBezTo>
                      <a:pt x="490" y="327"/>
                      <a:pt x="496" y="332"/>
                      <a:pt x="502" y="332"/>
                    </a:cubicBezTo>
                    <a:cubicBezTo>
                      <a:pt x="509" y="332"/>
                      <a:pt x="515" y="327"/>
                      <a:pt x="515" y="320"/>
                    </a:cubicBezTo>
                    <a:cubicBezTo>
                      <a:pt x="515" y="313"/>
                      <a:pt x="509" y="308"/>
                      <a:pt x="502" y="308"/>
                    </a:cubicBezTo>
                    <a:close/>
                    <a:moveTo>
                      <a:pt x="502" y="185"/>
                    </a:moveTo>
                    <a:cubicBezTo>
                      <a:pt x="496" y="185"/>
                      <a:pt x="490" y="190"/>
                      <a:pt x="490" y="197"/>
                    </a:cubicBezTo>
                    <a:cubicBezTo>
                      <a:pt x="490" y="204"/>
                      <a:pt x="496" y="209"/>
                      <a:pt x="502" y="209"/>
                    </a:cubicBezTo>
                    <a:cubicBezTo>
                      <a:pt x="509" y="209"/>
                      <a:pt x="515" y="204"/>
                      <a:pt x="515" y="197"/>
                    </a:cubicBezTo>
                    <a:cubicBezTo>
                      <a:pt x="515" y="190"/>
                      <a:pt x="509" y="185"/>
                      <a:pt x="502" y="185"/>
                    </a:cubicBezTo>
                    <a:close/>
                    <a:moveTo>
                      <a:pt x="538" y="523"/>
                    </a:moveTo>
                    <a:cubicBezTo>
                      <a:pt x="531" y="523"/>
                      <a:pt x="525" y="528"/>
                      <a:pt x="525" y="535"/>
                    </a:cubicBezTo>
                    <a:cubicBezTo>
                      <a:pt x="525" y="542"/>
                      <a:pt x="531" y="547"/>
                      <a:pt x="538" y="547"/>
                    </a:cubicBezTo>
                    <a:cubicBezTo>
                      <a:pt x="544" y="547"/>
                      <a:pt x="550" y="542"/>
                      <a:pt x="550" y="535"/>
                    </a:cubicBezTo>
                    <a:cubicBezTo>
                      <a:pt x="550" y="528"/>
                      <a:pt x="544" y="523"/>
                      <a:pt x="538" y="523"/>
                    </a:cubicBezTo>
                    <a:close/>
                    <a:moveTo>
                      <a:pt x="538" y="554"/>
                    </a:moveTo>
                    <a:cubicBezTo>
                      <a:pt x="531" y="554"/>
                      <a:pt x="525" y="559"/>
                      <a:pt x="525" y="566"/>
                    </a:cubicBezTo>
                    <a:cubicBezTo>
                      <a:pt x="525" y="572"/>
                      <a:pt x="531" y="578"/>
                      <a:pt x="538" y="578"/>
                    </a:cubicBezTo>
                    <a:cubicBezTo>
                      <a:pt x="544" y="578"/>
                      <a:pt x="550" y="572"/>
                      <a:pt x="550" y="566"/>
                    </a:cubicBezTo>
                    <a:cubicBezTo>
                      <a:pt x="550" y="559"/>
                      <a:pt x="544" y="554"/>
                      <a:pt x="538" y="554"/>
                    </a:cubicBezTo>
                    <a:close/>
                    <a:moveTo>
                      <a:pt x="502" y="123"/>
                    </a:moveTo>
                    <a:cubicBezTo>
                      <a:pt x="496" y="123"/>
                      <a:pt x="490" y="129"/>
                      <a:pt x="490" y="135"/>
                    </a:cubicBezTo>
                    <a:cubicBezTo>
                      <a:pt x="490" y="142"/>
                      <a:pt x="496" y="148"/>
                      <a:pt x="502" y="148"/>
                    </a:cubicBezTo>
                    <a:cubicBezTo>
                      <a:pt x="509" y="148"/>
                      <a:pt x="515" y="142"/>
                      <a:pt x="515" y="135"/>
                    </a:cubicBezTo>
                    <a:cubicBezTo>
                      <a:pt x="515" y="129"/>
                      <a:pt x="509" y="123"/>
                      <a:pt x="502" y="123"/>
                    </a:cubicBezTo>
                    <a:close/>
                    <a:moveTo>
                      <a:pt x="502" y="154"/>
                    </a:moveTo>
                    <a:cubicBezTo>
                      <a:pt x="496" y="154"/>
                      <a:pt x="490" y="159"/>
                      <a:pt x="490" y="166"/>
                    </a:cubicBezTo>
                    <a:cubicBezTo>
                      <a:pt x="490" y="173"/>
                      <a:pt x="496" y="178"/>
                      <a:pt x="502" y="178"/>
                    </a:cubicBezTo>
                    <a:cubicBezTo>
                      <a:pt x="509" y="178"/>
                      <a:pt x="515" y="173"/>
                      <a:pt x="515" y="166"/>
                    </a:cubicBezTo>
                    <a:cubicBezTo>
                      <a:pt x="515" y="159"/>
                      <a:pt x="509" y="154"/>
                      <a:pt x="502" y="154"/>
                    </a:cubicBezTo>
                    <a:close/>
                    <a:moveTo>
                      <a:pt x="502" y="215"/>
                    </a:moveTo>
                    <a:cubicBezTo>
                      <a:pt x="496" y="215"/>
                      <a:pt x="490" y="221"/>
                      <a:pt x="490" y="228"/>
                    </a:cubicBezTo>
                    <a:cubicBezTo>
                      <a:pt x="490" y="234"/>
                      <a:pt x="496" y="240"/>
                      <a:pt x="502" y="240"/>
                    </a:cubicBezTo>
                    <a:cubicBezTo>
                      <a:pt x="509" y="240"/>
                      <a:pt x="515" y="234"/>
                      <a:pt x="515" y="228"/>
                    </a:cubicBezTo>
                    <a:cubicBezTo>
                      <a:pt x="515" y="221"/>
                      <a:pt x="509" y="215"/>
                      <a:pt x="502" y="215"/>
                    </a:cubicBezTo>
                    <a:close/>
                    <a:moveTo>
                      <a:pt x="573" y="308"/>
                    </a:moveTo>
                    <a:cubicBezTo>
                      <a:pt x="566" y="308"/>
                      <a:pt x="560" y="313"/>
                      <a:pt x="560" y="320"/>
                    </a:cubicBezTo>
                    <a:cubicBezTo>
                      <a:pt x="560" y="327"/>
                      <a:pt x="566" y="332"/>
                      <a:pt x="573" y="332"/>
                    </a:cubicBezTo>
                    <a:cubicBezTo>
                      <a:pt x="579" y="332"/>
                      <a:pt x="585" y="327"/>
                      <a:pt x="585" y="320"/>
                    </a:cubicBezTo>
                    <a:cubicBezTo>
                      <a:pt x="585" y="313"/>
                      <a:pt x="579" y="308"/>
                      <a:pt x="573" y="308"/>
                    </a:cubicBezTo>
                    <a:close/>
                    <a:moveTo>
                      <a:pt x="573" y="400"/>
                    </a:moveTo>
                    <a:cubicBezTo>
                      <a:pt x="566" y="400"/>
                      <a:pt x="560" y="405"/>
                      <a:pt x="560" y="412"/>
                    </a:cubicBezTo>
                    <a:cubicBezTo>
                      <a:pt x="560" y="419"/>
                      <a:pt x="566" y="424"/>
                      <a:pt x="573" y="424"/>
                    </a:cubicBezTo>
                    <a:cubicBezTo>
                      <a:pt x="579" y="424"/>
                      <a:pt x="585" y="419"/>
                      <a:pt x="585" y="412"/>
                    </a:cubicBezTo>
                    <a:cubicBezTo>
                      <a:pt x="585" y="405"/>
                      <a:pt x="579" y="400"/>
                      <a:pt x="573" y="400"/>
                    </a:cubicBezTo>
                    <a:close/>
                    <a:moveTo>
                      <a:pt x="573" y="369"/>
                    </a:moveTo>
                    <a:cubicBezTo>
                      <a:pt x="566" y="369"/>
                      <a:pt x="560" y="375"/>
                      <a:pt x="560" y="381"/>
                    </a:cubicBezTo>
                    <a:cubicBezTo>
                      <a:pt x="560" y="388"/>
                      <a:pt x="566" y="393"/>
                      <a:pt x="573" y="393"/>
                    </a:cubicBezTo>
                    <a:cubicBezTo>
                      <a:pt x="579" y="393"/>
                      <a:pt x="585" y="388"/>
                      <a:pt x="585" y="381"/>
                    </a:cubicBezTo>
                    <a:cubicBezTo>
                      <a:pt x="585" y="375"/>
                      <a:pt x="579" y="369"/>
                      <a:pt x="573" y="369"/>
                    </a:cubicBezTo>
                    <a:close/>
                    <a:moveTo>
                      <a:pt x="573" y="338"/>
                    </a:moveTo>
                    <a:cubicBezTo>
                      <a:pt x="566" y="338"/>
                      <a:pt x="560" y="344"/>
                      <a:pt x="560" y="351"/>
                    </a:cubicBezTo>
                    <a:cubicBezTo>
                      <a:pt x="560" y="357"/>
                      <a:pt x="566" y="363"/>
                      <a:pt x="573" y="363"/>
                    </a:cubicBezTo>
                    <a:cubicBezTo>
                      <a:pt x="579" y="363"/>
                      <a:pt x="585" y="357"/>
                      <a:pt x="585" y="351"/>
                    </a:cubicBezTo>
                    <a:cubicBezTo>
                      <a:pt x="585" y="344"/>
                      <a:pt x="579" y="338"/>
                      <a:pt x="573" y="338"/>
                    </a:cubicBezTo>
                    <a:close/>
                    <a:moveTo>
                      <a:pt x="573" y="246"/>
                    </a:moveTo>
                    <a:cubicBezTo>
                      <a:pt x="566" y="246"/>
                      <a:pt x="560" y="252"/>
                      <a:pt x="560" y="258"/>
                    </a:cubicBezTo>
                    <a:cubicBezTo>
                      <a:pt x="560" y="265"/>
                      <a:pt x="566" y="270"/>
                      <a:pt x="573" y="270"/>
                    </a:cubicBezTo>
                    <a:cubicBezTo>
                      <a:pt x="579" y="270"/>
                      <a:pt x="585" y="265"/>
                      <a:pt x="585" y="258"/>
                    </a:cubicBezTo>
                    <a:cubicBezTo>
                      <a:pt x="585" y="252"/>
                      <a:pt x="579" y="246"/>
                      <a:pt x="573" y="246"/>
                    </a:cubicBezTo>
                    <a:close/>
                    <a:moveTo>
                      <a:pt x="573" y="277"/>
                    </a:moveTo>
                    <a:cubicBezTo>
                      <a:pt x="566" y="277"/>
                      <a:pt x="560" y="282"/>
                      <a:pt x="560" y="289"/>
                    </a:cubicBezTo>
                    <a:cubicBezTo>
                      <a:pt x="560" y="296"/>
                      <a:pt x="566" y="301"/>
                      <a:pt x="573" y="301"/>
                    </a:cubicBezTo>
                    <a:cubicBezTo>
                      <a:pt x="579" y="301"/>
                      <a:pt x="585" y="296"/>
                      <a:pt x="585" y="289"/>
                    </a:cubicBezTo>
                    <a:cubicBezTo>
                      <a:pt x="585" y="282"/>
                      <a:pt x="579" y="277"/>
                      <a:pt x="573" y="277"/>
                    </a:cubicBezTo>
                    <a:close/>
                    <a:moveTo>
                      <a:pt x="573" y="215"/>
                    </a:moveTo>
                    <a:cubicBezTo>
                      <a:pt x="566" y="215"/>
                      <a:pt x="560" y="221"/>
                      <a:pt x="560" y="228"/>
                    </a:cubicBezTo>
                    <a:cubicBezTo>
                      <a:pt x="560" y="234"/>
                      <a:pt x="566" y="240"/>
                      <a:pt x="573" y="240"/>
                    </a:cubicBezTo>
                    <a:cubicBezTo>
                      <a:pt x="579" y="240"/>
                      <a:pt x="585" y="234"/>
                      <a:pt x="585" y="228"/>
                    </a:cubicBezTo>
                    <a:cubicBezTo>
                      <a:pt x="585" y="221"/>
                      <a:pt x="579" y="215"/>
                      <a:pt x="573" y="215"/>
                    </a:cubicBezTo>
                    <a:close/>
                    <a:moveTo>
                      <a:pt x="573" y="123"/>
                    </a:moveTo>
                    <a:cubicBezTo>
                      <a:pt x="566" y="123"/>
                      <a:pt x="560" y="129"/>
                      <a:pt x="560" y="135"/>
                    </a:cubicBezTo>
                    <a:cubicBezTo>
                      <a:pt x="560" y="142"/>
                      <a:pt x="566" y="148"/>
                      <a:pt x="573" y="148"/>
                    </a:cubicBezTo>
                    <a:cubicBezTo>
                      <a:pt x="579" y="148"/>
                      <a:pt x="585" y="142"/>
                      <a:pt x="585" y="135"/>
                    </a:cubicBezTo>
                    <a:cubicBezTo>
                      <a:pt x="585" y="129"/>
                      <a:pt x="579" y="123"/>
                      <a:pt x="573" y="123"/>
                    </a:cubicBezTo>
                    <a:close/>
                    <a:moveTo>
                      <a:pt x="573" y="154"/>
                    </a:moveTo>
                    <a:cubicBezTo>
                      <a:pt x="566" y="154"/>
                      <a:pt x="560" y="159"/>
                      <a:pt x="560" y="166"/>
                    </a:cubicBezTo>
                    <a:cubicBezTo>
                      <a:pt x="560" y="173"/>
                      <a:pt x="566" y="178"/>
                      <a:pt x="573" y="178"/>
                    </a:cubicBezTo>
                    <a:cubicBezTo>
                      <a:pt x="579" y="178"/>
                      <a:pt x="585" y="173"/>
                      <a:pt x="585" y="166"/>
                    </a:cubicBezTo>
                    <a:cubicBezTo>
                      <a:pt x="585" y="159"/>
                      <a:pt x="579" y="154"/>
                      <a:pt x="573" y="154"/>
                    </a:cubicBezTo>
                    <a:close/>
                    <a:moveTo>
                      <a:pt x="573" y="185"/>
                    </a:moveTo>
                    <a:cubicBezTo>
                      <a:pt x="566" y="185"/>
                      <a:pt x="560" y="190"/>
                      <a:pt x="560" y="197"/>
                    </a:cubicBezTo>
                    <a:cubicBezTo>
                      <a:pt x="560" y="204"/>
                      <a:pt x="566" y="209"/>
                      <a:pt x="573" y="209"/>
                    </a:cubicBezTo>
                    <a:cubicBezTo>
                      <a:pt x="579" y="209"/>
                      <a:pt x="585" y="204"/>
                      <a:pt x="585" y="197"/>
                    </a:cubicBezTo>
                    <a:cubicBezTo>
                      <a:pt x="585" y="190"/>
                      <a:pt x="579" y="185"/>
                      <a:pt x="573" y="185"/>
                    </a:cubicBezTo>
                    <a:close/>
                    <a:moveTo>
                      <a:pt x="573" y="584"/>
                    </a:moveTo>
                    <a:cubicBezTo>
                      <a:pt x="566" y="584"/>
                      <a:pt x="560" y="590"/>
                      <a:pt x="560" y="596"/>
                    </a:cubicBezTo>
                    <a:cubicBezTo>
                      <a:pt x="560" y="603"/>
                      <a:pt x="566" y="609"/>
                      <a:pt x="573" y="609"/>
                    </a:cubicBezTo>
                    <a:cubicBezTo>
                      <a:pt x="579" y="609"/>
                      <a:pt x="585" y="603"/>
                      <a:pt x="585" y="596"/>
                    </a:cubicBezTo>
                    <a:cubicBezTo>
                      <a:pt x="585" y="590"/>
                      <a:pt x="579" y="584"/>
                      <a:pt x="573" y="584"/>
                    </a:cubicBezTo>
                    <a:close/>
                    <a:moveTo>
                      <a:pt x="538" y="62"/>
                    </a:moveTo>
                    <a:cubicBezTo>
                      <a:pt x="531" y="62"/>
                      <a:pt x="525" y="67"/>
                      <a:pt x="525" y="74"/>
                    </a:cubicBezTo>
                    <a:cubicBezTo>
                      <a:pt x="525" y="81"/>
                      <a:pt x="531" y="86"/>
                      <a:pt x="538" y="86"/>
                    </a:cubicBezTo>
                    <a:cubicBezTo>
                      <a:pt x="544" y="86"/>
                      <a:pt x="550" y="81"/>
                      <a:pt x="550" y="74"/>
                    </a:cubicBezTo>
                    <a:cubicBezTo>
                      <a:pt x="550" y="67"/>
                      <a:pt x="544" y="62"/>
                      <a:pt x="538" y="62"/>
                    </a:cubicBezTo>
                    <a:close/>
                    <a:moveTo>
                      <a:pt x="573" y="615"/>
                    </a:moveTo>
                    <a:cubicBezTo>
                      <a:pt x="566" y="615"/>
                      <a:pt x="560" y="620"/>
                      <a:pt x="560" y="627"/>
                    </a:cubicBezTo>
                    <a:cubicBezTo>
                      <a:pt x="560" y="634"/>
                      <a:pt x="566" y="639"/>
                      <a:pt x="573" y="639"/>
                    </a:cubicBezTo>
                    <a:cubicBezTo>
                      <a:pt x="579" y="639"/>
                      <a:pt x="585" y="634"/>
                      <a:pt x="585" y="627"/>
                    </a:cubicBezTo>
                    <a:cubicBezTo>
                      <a:pt x="585" y="620"/>
                      <a:pt x="579" y="615"/>
                      <a:pt x="573" y="615"/>
                    </a:cubicBezTo>
                    <a:close/>
                    <a:moveTo>
                      <a:pt x="538" y="123"/>
                    </a:moveTo>
                    <a:cubicBezTo>
                      <a:pt x="531" y="123"/>
                      <a:pt x="525" y="129"/>
                      <a:pt x="525" y="135"/>
                    </a:cubicBezTo>
                    <a:cubicBezTo>
                      <a:pt x="525" y="142"/>
                      <a:pt x="531" y="148"/>
                      <a:pt x="538" y="148"/>
                    </a:cubicBezTo>
                    <a:cubicBezTo>
                      <a:pt x="544" y="148"/>
                      <a:pt x="550" y="142"/>
                      <a:pt x="550" y="135"/>
                    </a:cubicBezTo>
                    <a:cubicBezTo>
                      <a:pt x="550" y="129"/>
                      <a:pt x="544" y="123"/>
                      <a:pt x="538" y="123"/>
                    </a:cubicBezTo>
                    <a:close/>
                    <a:moveTo>
                      <a:pt x="538" y="154"/>
                    </a:moveTo>
                    <a:cubicBezTo>
                      <a:pt x="531" y="154"/>
                      <a:pt x="525" y="159"/>
                      <a:pt x="525" y="166"/>
                    </a:cubicBezTo>
                    <a:cubicBezTo>
                      <a:pt x="525" y="173"/>
                      <a:pt x="531" y="178"/>
                      <a:pt x="538" y="178"/>
                    </a:cubicBezTo>
                    <a:cubicBezTo>
                      <a:pt x="544" y="178"/>
                      <a:pt x="550" y="173"/>
                      <a:pt x="550" y="166"/>
                    </a:cubicBezTo>
                    <a:cubicBezTo>
                      <a:pt x="550" y="159"/>
                      <a:pt x="544" y="154"/>
                      <a:pt x="538" y="154"/>
                    </a:cubicBezTo>
                    <a:close/>
                    <a:moveTo>
                      <a:pt x="573" y="554"/>
                    </a:moveTo>
                    <a:cubicBezTo>
                      <a:pt x="566" y="554"/>
                      <a:pt x="560" y="559"/>
                      <a:pt x="560" y="566"/>
                    </a:cubicBezTo>
                    <a:cubicBezTo>
                      <a:pt x="560" y="572"/>
                      <a:pt x="566" y="578"/>
                      <a:pt x="573" y="578"/>
                    </a:cubicBezTo>
                    <a:cubicBezTo>
                      <a:pt x="579" y="578"/>
                      <a:pt x="585" y="572"/>
                      <a:pt x="585" y="566"/>
                    </a:cubicBezTo>
                    <a:cubicBezTo>
                      <a:pt x="585" y="559"/>
                      <a:pt x="579" y="554"/>
                      <a:pt x="573" y="554"/>
                    </a:cubicBezTo>
                    <a:close/>
                    <a:moveTo>
                      <a:pt x="573" y="461"/>
                    </a:moveTo>
                    <a:cubicBezTo>
                      <a:pt x="566" y="461"/>
                      <a:pt x="560" y="467"/>
                      <a:pt x="560" y="474"/>
                    </a:cubicBezTo>
                    <a:cubicBezTo>
                      <a:pt x="560" y="480"/>
                      <a:pt x="566" y="486"/>
                      <a:pt x="573" y="486"/>
                    </a:cubicBezTo>
                    <a:cubicBezTo>
                      <a:pt x="579" y="486"/>
                      <a:pt x="585" y="480"/>
                      <a:pt x="585" y="474"/>
                    </a:cubicBezTo>
                    <a:cubicBezTo>
                      <a:pt x="585" y="467"/>
                      <a:pt x="579" y="461"/>
                      <a:pt x="573" y="461"/>
                    </a:cubicBezTo>
                    <a:close/>
                    <a:moveTo>
                      <a:pt x="573" y="431"/>
                    </a:moveTo>
                    <a:cubicBezTo>
                      <a:pt x="566" y="431"/>
                      <a:pt x="560" y="436"/>
                      <a:pt x="560" y="443"/>
                    </a:cubicBezTo>
                    <a:cubicBezTo>
                      <a:pt x="560" y="449"/>
                      <a:pt x="566" y="455"/>
                      <a:pt x="573" y="455"/>
                    </a:cubicBezTo>
                    <a:cubicBezTo>
                      <a:pt x="579" y="455"/>
                      <a:pt x="585" y="449"/>
                      <a:pt x="585" y="443"/>
                    </a:cubicBezTo>
                    <a:cubicBezTo>
                      <a:pt x="585" y="436"/>
                      <a:pt x="579" y="431"/>
                      <a:pt x="573" y="431"/>
                    </a:cubicBezTo>
                    <a:close/>
                    <a:moveTo>
                      <a:pt x="573" y="492"/>
                    </a:moveTo>
                    <a:cubicBezTo>
                      <a:pt x="566" y="492"/>
                      <a:pt x="560" y="498"/>
                      <a:pt x="560" y="504"/>
                    </a:cubicBezTo>
                    <a:cubicBezTo>
                      <a:pt x="560" y="511"/>
                      <a:pt x="566" y="516"/>
                      <a:pt x="573" y="516"/>
                    </a:cubicBezTo>
                    <a:cubicBezTo>
                      <a:pt x="579" y="516"/>
                      <a:pt x="585" y="511"/>
                      <a:pt x="585" y="504"/>
                    </a:cubicBezTo>
                    <a:cubicBezTo>
                      <a:pt x="585" y="498"/>
                      <a:pt x="579" y="492"/>
                      <a:pt x="573" y="492"/>
                    </a:cubicBezTo>
                    <a:close/>
                    <a:moveTo>
                      <a:pt x="573" y="523"/>
                    </a:moveTo>
                    <a:cubicBezTo>
                      <a:pt x="566" y="523"/>
                      <a:pt x="560" y="528"/>
                      <a:pt x="560" y="535"/>
                    </a:cubicBezTo>
                    <a:cubicBezTo>
                      <a:pt x="560" y="542"/>
                      <a:pt x="566" y="547"/>
                      <a:pt x="573" y="547"/>
                    </a:cubicBezTo>
                    <a:cubicBezTo>
                      <a:pt x="579" y="547"/>
                      <a:pt x="585" y="542"/>
                      <a:pt x="585" y="535"/>
                    </a:cubicBezTo>
                    <a:cubicBezTo>
                      <a:pt x="585" y="528"/>
                      <a:pt x="579" y="523"/>
                      <a:pt x="573" y="523"/>
                    </a:cubicBezTo>
                    <a:close/>
                    <a:moveTo>
                      <a:pt x="1203" y="277"/>
                    </a:moveTo>
                    <a:cubicBezTo>
                      <a:pt x="1197" y="277"/>
                      <a:pt x="1191" y="282"/>
                      <a:pt x="1191" y="289"/>
                    </a:cubicBezTo>
                    <a:cubicBezTo>
                      <a:pt x="1191" y="296"/>
                      <a:pt x="1197" y="301"/>
                      <a:pt x="1203" y="301"/>
                    </a:cubicBezTo>
                    <a:cubicBezTo>
                      <a:pt x="1210" y="301"/>
                      <a:pt x="1216" y="296"/>
                      <a:pt x="1216" y="289"/>
                    </a:cubicBezTo>
                    <a:cubicBezTo>
                      <a:pt x="1216" y="282"/>
                      <a:pt x="1210" y="277"/>
                      <a:pt x="1203" y="277"/>
                    </a:cubicBezTo>
                    <a:close/>
                    <a:moveTo>
                      <a:pt x="1203" y="246"/>
                    </a:moveTo>
                    <a:cubicBezTo>
                      <a:pt x="1197" y="246"/>
                      <a:pt x="1191" y="252"/>
                      <a:pt x="1191" y="258"/>
                    </a:cubicBezTo>
                    <a:cubicBezTo>
                      <a:pt x="1191" y="265"/>
                      <a:pt x="1197" y="270"/>
                      <a:pt x="1203" y="270"/>
                    </a:cubicBezTo>
                    <a:cubicBezTo>
                      <a:pt x="1210" y="270"/>
                      <a:pt x="1216" y="265"/>
                      <a:pt x="1216" y="258"/>
                    </a:cubicBezTo>
                    <a:cubicBezTo>
                      <a:pt x="1216" y="252"/>
                      <a:pt x="1210" y="246"/>
                      <a:pt x="1203" y="246"/>
                    </a:cubicBezTo>
                    <a:close/>
                    <a:moveTo>
                      <a:pt x="1203" y="338"/>
                    </a:moveTo>
                    <a:cubicBezTo>
                      <a:pt x="1197" y="338"/>
                      <a:pt x="1191" y="344"/>
                      <a:pt x="1191" y="351"/>
                    </a:cubicBezTo>
                    <a:cubicBezTo>
                      <a:pt x="1191" y="357"/>
                      <a:pt x="1197" y="363"/>
                      <a:pt x="1203" y="363"/>
                    </a:cubicBezTo>
                    <a:cubicBezTo>
                      <a:pt x="1210" y="363"/>
                      <a:pt x="1216" y="357"/>
                      <a:pt x="1216" y="351"/>
                    </a:cubicBezTo>
                    <a:cubicBezTo>
                      <a:pt x="1216" y="344"/>
                      <a:pt x="1210" y="338"/>
                      <a:pt x="1203" y="338"/>
                    </a:cubicBezTo>
                    <a:close/>
                    <a:moveTo>
                      <a:pt x="1203" y="369"/>
                    </a:moveTo>
                    <a:cubicBezTo>
                      <a:pt x="1197" y="369"/>
                      <a:pt x="1191" y="375"/>
                      <a:pt x="1191" y="381"/>
                    </a:cubicBezTo>
                    <a:cubicBezTo>
                      <a:pt x="1191" y="388"/>
                      <a:pt x="1197" y="393"/>
                      <a:pt x="1203" y="393"/>
                    </a:cubicBezTo>
                    <a:cubicBezTo>
                      <a:pt x="1210" y="393"/>
                      <a:pt x="1216" y="388"/>
                      <a:pt x="1216" y="381"/>
                    </a:cubicBezTo>
                    <a:cubicBezTo>
                      <a:pt x="1216" y="375"/>
                      <a:pt x="1210" y="369"/>
                      <a:pt x="1203" y="369"/>
                    </a:cubicBezTo>
                    <a:close/>
                    <a:moveTo>
                      <a:pt x="1203" y="400"/>
                    </a:moveTo>
                    <a:cubicBezTo>
                      <a:pt x="1197" y="400"/>
                      <a:pt x="1191" y="405"/>
                      <a:pt x="1191" y="412"/>
                    </a:cubicBezTo>
                    <a:cubicBezTo>
                      <a:pt x="1191" y="419"/>
                      <a:pt x="1197" y="424"/>
                      <a:pt x="1203" y="424"/>
                    </a:cubicBezTo>
                    <a:cubicBezTo>
                      <a:pt x="1210" y="424"/>
                      <a:pt x="1216" y="419"/>
                      <a:pt x="1216" y="412"/>
                    </a:cubicBezTo>
                    <a:cubicBezTo>
                      <a:pt x="1216" y="405"/>
                      <a:pt x="1210" y="400"/>
                      <a:pt x="1203" y="400"/>
                    </a:cubicBezTo>
                    <a:close/>
                    <a:moveTo>
                      <a:pt x="1203" y="92"/>
                    </a:moveTo>
                    <a:cubicBezTo>
                      <a:pt x="1197" y="92"/>
                      <a:pt x="1191" y="98"/>
                      <a:pt x="1191" y="105"/>
                    </a:cubicBezTo>
                    <a:cubicBezTo>
                      <a:pt x="1191" y="111"/>
                      <a:pt x="1197" y="117"/>
                      <a:pt x="1203" y="117"/>
                    </a:cubicBezTo>
                    <a:cubicBezTo>
                      <a:pt x="1210" y="117"/>
                      <a:pt x="1216" y="111"/>
                      <a:pt x="1216" y="105"/>
                    </a:cubicBezTo>
                    <a:cubicBezTo>
                      <a:pt x="1216" y="98"/>
                      <a:pt x="1210" y="92"/>
                      <a:pt x="1203" y="92"/>
                    </a:cubicBezTo>
                    <a:close/>
                    <a:moveTo>
                      <a:pt x="1203" y="185"/>
                    </a:moveTo>
                    <a:cubicBezTo>
                      <a:pt x="1197" y="185"/>
                      <a:pt x="1191" y="190"/>
                      <a:pt x="1191" y="197"/>
                    </a:cubicBezTo>
                    <a:cubicBezTo>
                      <a:pt x="1191" y="204"/>
                      <a:pt x="1197" y="209"/>
                      <a:pt x="1203" y="209"/>
                    </a:cubicBezTo>
                    <a:cubicBezTo>
                      <a:pt x="1210" y="209"/>
                      <a:pt x="1216" y="204"/>
                      <a:pt x="1216" y="197"/>
                    </a:cubicBezTo>
                    <a:cubicBezTo>
                      <a:pt x="1216" y="190"/>
                      <a:pt x="1210" y="185"/>
                      <a:pt x="1203" y="185"/>
                    </a:cubicBezTo>
                    <a:close/>
                    <a:moveTo>
                      <a:pt x="1203" y="123"/>
                    </a:moveTo>
                    <a:cubicBezTo>
                      <a:pt x="1197" y="123"/>
                      <a:pt x="1191" y="129"/>
                      <a:pt x="1191" y="135"/>
                    </a:cubicBezTo>
                    <a:cubicBezTo>
                      <a:pt x="1191" y="142"/>
                      <a:pt x="1197" y="148"/>
                      <a:pt x="1203" y="148"/>
                    </a:cubicBezTo>
                    <a:cubicBezTo>
                      <a:pt x="1210" y="148"/>
                      <a:pt x="1216" y="142"/>
                      <a:pt x="1216" y="135"/>
                    </a:cubicBezTo>
                    <a:cubicBezTo>
                      <a:pt x="1216" y="129"/>
                      <a:pt x="1210" y="123"/>
                      <a:pt x="1203" y="123"/>
                    </a:cubicBezTo>
                    <a:close/>
                    <a:moveTo>
                      <a:pt x="1203" y="154"/>
                    </a:moveTo>
                    <a:cubicBezTo>
                      <a:pt x="1197" y="154"/>
                      <a:pt x="1191" y="159"/>
                      <a:pt x="1191" y="166"/>
                    </a:cubicBezTo>
                    <a:cubicBezTo>
                      <a:pt x="1191" y="173"/>
                      <a:pt x="1197" y="178"/>
                      <a:pt x="1203" y="178"/>
                    </a:cubicBezTo>
                    <a:cubicBezTo>
                      <a:pt x="1210" y="178"/>
                      <a:pt x="1216" y="173"/>
                      <a:pt x="1216" y="166"/>
                    </a:cubicBezTo>
                    <a:cubicBezTo>
                      <a:pt x="1216" y="159"/>
                      <a:pt x="1210" y="154"/>
                      <a:pt x="1203" y="154"/>
                    </a:cubicBezTo>
                    <a:close/>
                    <a:moveTo>
                      <a:pt x="1203" y="308"/>
                    </a:moveTo>
                    <a:cubicBezTo>
                      <a:pt x="1197" y="308"/>
                      <a:pt x="1191" y="313"/>
                      <a:pt x="1191" y="320"/>
                    </a:cubicBezTo>
                    <a:cubicBezTo>
                      <a:pt x="1191" y="327"/>
                      <a:pt x="1197" y="332"/>
                      <a:pt x="1203" y="332"/>
                    </a:cubicBezTo>
                    <a:cubicBezTo>
                      <a:pt x="1210" y="332"/>
                      <a:pt x="1216" y="327"/>
                      <a:pt x="1216" y="320"/>
                    </a:cubicBezTo>
                    <a:cubicBezTo>
                      <a:pt x="1216" y="313"/>
                      <a:pt x="1210" y="308"/>
                      <a:pt x="1203" y="308"/>
                    </a:cubicBezTo>
                    <a:close/>
                    <a:moveTo>
                      <a:pt x="1203" y="492"/>
                    </a:moveTo>
                    <a:cubicBezTo>
                      <a:pt x="1197" y="492"/>
                      <a:pt x="1191" y="498"/>
                      <a:pt x="1191" y="504"/>
                    </a:cubicBezTo>
                    <a:cubicBezTo>
                      <a:pt x="1191" y="511"/>
                      <a:pt x="1197" y="516"/>
                      <a:pt x="1203" y="516"/>
                    </a:cubicBezTo>
                    <a:cubicBezTo>
                      <a:pt x="1210" y="516"/>
                      <a:pt x="1216" y="511"/>
                      <a:pt x="1216" y="504"/>
                    </a:cubicBezTo>
                    <a:cubicBezTo>
                      <a:pt x="1216" y="498"/>
                      <a:pt x="1210" y="492"/>
                      <a:pt x="1203" y="492"/>
                    </a:cubicBezTo>
                    <a:close/>
                    <a:moveTo>
                      <a:pt x="1203" y="461"/>
                    </a:moveTo>
                    <a:cubicBezTo>
                      <a:pt x="1197" y="461"/>
                      <a:pt x="1191" y="467"/>
                      <a:pt x="1191" y="474"/>
                    </a:cubicBezTo>
                    <a:cubicBezTo>
                      <a:pt x="1191" y="480"/>
                      <a:pt x="1197" y="486"/>
                      <a:pt x="1203" y="486"/>
                    </a:cubicBezTo>
                    <a:cubicBezTo>
                      <a:pt x="1210" y="486"/>
                      <a:pt x="1216" y="480"/>
                      <a:pt x="1216" y="474"/>
                    </a:cubicBezTo>
                    <a:cubicBezTo>
                      <a:pt x="1216" y="467"/>
                      <a:pt x="1210" y="461"/>
                      <a:pt x="1203" y="461"/>
                    </a:cubicBezTo>
                    <a:close/>
                    <a:moveTo>
                      <a:pt x="1203" y="431"/>
                    </a:moveTo>
                    <a:cubicBezTo>
                      <a:pt x="1197" y="431"/>
                      <a:pt x="1191" y="436"/>
                      <a:pt x="1191" y="443"/>
                    </a:cubicBezTo>
                    <a:cubicBezTo>
                      <a:pt x="1191" y="449"/>
                      <a:pt x="1197" y="455"/>
                      <a:pt x="1203" y="455"/>
                    </a:cubicBezTo>
                    <a:cubicBezTo>
                      <a:pt x="1210" y="455"/>
                      <a:pt x="1216" y="449"/>
                      <a:pt x="1216" y="443"/>
                    </a:cubicBezTo>
                    <a:cubicBezTo>
                      <a:pt x="1216" y="436"/>
                      <a:pt x="1210" y="431"/>
                      <a:pt x="1203" y="431"/>
                    </a:cubicBezTo>
                    <a:close/>
                    <a:moveTo>
                      <a:pt x="1203" y="523"/>
                    </a:moveTo>
                    <a:cubicBezTo>
                      <a:pt x="1197" y="523"/>
                      <a:pt x="1191" y="528"/>
                      <a:pt x="1191" y="535"/>
                    </a:cubicBezTo>
                    <a:cubicBezTo>
                      <a:pt x="1191" y="542"/>
                      <a:pt x="1197" y="547"/>
                      <a:pt x="1203" y="547"/>
                    </a:cubicBezTo>
                    <a:cubicBezTo>
                      <a:pt x="1210" y="547"/>
                      <a:pt x="1216" y="542"/>
                      <a:pt x="1216" y="535"/>
                    </a:cubicBezTo>
                    <a:cubicBezTo>
                      <a:pt x="1216" y="528"/>
                      <a:pt x="1210" y="523"/>
                      <a:pt x="1203" y="523"/>
                    </a:cubicBezTo>
                    <a:close/>
                    <a:moveTo>
                      <a:pt x="1168" y="308"/>
                    </a:moveTo>
                    <a:cubicBezTo>
                      <a:pt x="1162" y="308"/>
                      <a:pt x="1156" y="313"/>
                      <a:pt x="1156" y="320"/>
                    </a:cubicBezTo>
                    <a:cubicBezTo>
                      <a:pt x="1156" y="327"/>
                      <a:pt x="1162" y="332"/>
                      <a:pt x="1168" y="332"/>
                    </a:cubicBezTo>
                    <a:cubicBezTo>
                      <a:pt x="1175" y="332"/>
                      <a:pt x="1180" y="327"/>
                      <a:pt x="1180" y="320"/>
                    </a:cubicBezTo>
                    <a:cubicBezTo>
                      <a:pt x="1180" y="313"/>
                      <a:pt x="1175" y="308"/>
                      <a:pt x="1168" y="308"/>
                    </a:cubicBezTo>
                    <a:close/>
                    <a:moveTo>
                      <a:pt x="1168" y="431"/>
                    </a:moveTo>
                    <a:cubicBezTo>
                      <a:pt x="1162" y="431"/>
                      <a:pt x="1156" y="436"/>
                      <a:pt x="1156" y="443"/>
                    </a:cubicBezTo>
                    <a:cubicBezTo>
                      <a:pt x="1156" y="449"/>
                      <a:pt x="1162" y="455"/>
                      <a:pt x="1168" y="455"/>
                    </a:cubicBezTo>
                    <a:cubicBezTo>
                      <a:pt x="1175" y="455"/>
                      <a:pt x="1180" y="449"/>
                      <a:pt x="1180" y="443"/>
                    </a:cubicBezTo>
                    <a:cubicBezTo>
                      <a:pt x="1180" y="436"/>
                      <a:pt x="1175" y="431"/>
                      <a:pt x="1168" y="431"/>
                    </a:cubicBezTo>
                    <a:close/>
                    <a:moveTo>
                      <a:pt x="1168" y="277"/>
                    </a:moveTo>
                    <a:cubicBezTo>
                      <a:pt x="1162" y="277"/>
                      <a:pt x="1156" y="282"/>
                      <a:pt x="1156" y="289"/>
                    </a:cubicBezTo>
                    <a:cubicBezTo>
                      <a:pt x="1156" y="296"/>
                      <a:pt x="1162" y="301"/>
                      <a:pt x="1168" y="301"/>
                    </a:cubicBezTo>
                    <a:cubicBezTo>
                      <a:pt x="1175" y="301"/>
                      <a:pt x="1180" y="296"/>
                      <a:pt x="1180" y="289"/>
                    </a:cubicBezTo>
                    <a:cubicBezTo>
                      <a:pt x="1180" y="282"/>
                      <a:pt x="1175" y="277"/>
                      <a:pt x="1168" y="277"/>
                    </a:cubicBezTo>
                    <a:close/>
                    <a:moveTo>
                      <a:pt x="1168" y="400"/>
                    </a:moveTo>
                    <a:cubicBezTo>
                      <a:pt x="1162" y="400"/>
                      <a:pt x="1156" y="405"/>
                      <a:pt x="1156" y="412"/>
                    </a:cubicBezTo>
                    <a:cubicBezTo>
                      <a:pt x="1156" y="419"/>
                      <a:pt x="1162" y="424"/>
                      <a:pt x="1168" y="424"/>
                    </a:cubicBezTo>
                    <a:cubicBezTo>
                      <a:pt x="1175" y="424"/>
                      <a:pt x="1180" y="419"/>
                      <a:pt x="1180" y="412"/>
                    </a:cubicBezTo>
                    <a:cubicBezTo>
                      <a:pt x="1180" y="405"/>
                      <a:pt x="1175" y="400"/>
                      <a:pt x="1168" y="400"/>
                    </a:cubicBezTo>
                    <a:close/>
                    <a:moveTo>
                      <a:pt x="1168" y="369"/>
                    </a:moveTo>
                    <a:cubicBezTo>
                      <a:pt x="1162" y="369"/>
                      <a:pt x="1156" y="375"/>
                      <a:pt x="1156" y="381"/>
                    </a:cubicBezTo>
                    <a:cubicBezTo>
                      <a:pt x="1156" y="388"/>
                      <a:pt x="1162" y="393"/>
                      <a:pt x="1168" y="393"/>
                    </a:cubicBezTo>
                    <a:cubicBezTo>
                      <a:pt x="1175" y="393"/>
                      <a:pt x="1180" y="388"/>
                      <a:pt x="1180" y="381"/>
                    </a:cubicBezTo>
                    <a:cubicBezTo>
                      <a:pt x="1180" y="375"/>
                      <a:pt x="1175" y="369"/>
                      <a:pt x="1168" y="369"/>
                    </a:cubicBezTo>
                    <a:close/>
                    <a:moveTo>
                      <a:pt x="1168" y="338"/>
                    </a:moveTo>
                    <a:cubicBezTo>
                      <a:pt x="1162" y="338"/>
                      <a:pt x="1156" y="344"/>
                      <a:pt x="1156" y="351"/>
                    </a:cubicBezTo>
                    <a:cubicBezTo>
                      <a:pt x="1156" y="357"/>
                      <a:pt x="1162" y="363"/>
                      <a:pt x="1168" y="363"/>
                    </a:cubicBezTo>
                    <a:cubicBezTo>
                      <a:pt x="1175" y="363"/>
                      <a:pt x="1180" y="357"/>
                      <a:pt x="1180" y="351"/>
                    </a:cubicBezTo>
                    <a:cubicBezTo>
                      <a:pt x="1180" y="344"/>
                      <a:pt x="1175" y="338"/>
                      <a:pt x="1168" y="338"/>
                    </a:cubicBezTo>
                    <a:close/>
                    <a:moveTo>
                      <a:pt x="1168" y="154"/>
                    </a:moveTo>
                    <a:cubicBezTo>
                      <a:pt x="1162" y="154"/>
                      <a:pt x="1156" y="159"/>
                      <a:pt x="1156" y="166"/>
                    </a:cubicBezTo>
                    <a:cubicBezTo>
                      <a:pt x="1156" y="173"/>
                      <a:pt x="1162" y="178"/>
                      <a:pt x="1168" y="178"/>
                    </a:cubicBezTo>
                    <a:cubicBezTo>
                      <a:pt x="1175" y="178"/>
                      <a:pt x="1180" y="173"/>
                      <a:pt x="1180" y="166"/>
                    </a:cubicBezTo>
                    <a:cubicBezTo>
                      <a:pt x="1180" y="159"/>
                      <a:pt x="1175" y="154"/>
                      <a:pt x="1168" y="154"/>
                    </a:cubicBezTo>
                    <a:close/>
                    <a:moveTo>
                      <a:pt x="1168" y="123"/>
                    </a:moveTo>
                    <a:cubicBezTo>
                      <a:pt x="1162" y="123"/>
                      <a:pt x="1156" y="129"/>
                      <a:pt x="1156" y="135"/>
                    </a:cubicBezTo>
                    <a:cubicBezTo>
                      <a:pt x="1156" y="142"/>
                      <a:pt x="1162" y="148"/>
                      <a:pt x="1168" y="148"/>
                    </a:cubicBezTo>
                    <a:cubicBezTo>
                      <a:pt x="1175" y="148"/>
                      <a:pt x="1180" y="142"/>
                      <a:pt x="1180" y="135"/>
                    </a:cubicBezTo>
                    <a:cubicBezTo>
                      <a:pt x="1180" y="129"/>
                      <a:pt x="1175" y="123"/>
                      <a:pt x="1168" y="123"/>
                    </a:cubicBezTo>
                    <a:close/>
                    <a:moveTo>
                      <a:pt x="1168" y="92"/>
                    </a:moveTo>
                    <a:cubicBezTo>
                      <a:pt x="1162" y="92"/>
                      <a:pt x="1156" y="98"/>
                      <a:pt x="1156" y="105"/>
                    </a:cubicBezTo>
                    <a:cubicBezTo>
                      <a:pt x="1156" y="111"/>
                      <a:pt x="1162" y="117"/>
                      <a:pt x="1168" y="117"/>
                    </a:cubicBezTo>
                    <a:cubicBezTo>
                      <a:pt x="1175" y="117"/>
                      <a:pt x="1180" y="111"/>
                      <a:pt x="1180" y="105"/>
                    </a:cubicBezTo>
                    <a:cubicBezTo>
                      <a:pt x="1180" y="98"/>
                      <a:pt x="1175" y="92"/>
                      <a:pt x="1168" y="92"/>
                    </a:cubicBezTo>
                    <a:close/>
                    <a:moveTo>
                      <a:pt x="1168" y="246"/>
                    </a:moveTo>
                    <a:cubicBezTo>
                      <a:pt x="1162" y="246"/>
                      <a:pt x="1156" y="252"/>
                      <a:pt x="1156" y="258"/>
                    </a:cubicBezTo>
                    <a:cubicBezTo>
                      <a:pt x="1156" y="265"/>
                      <a:pt x="1162" y="270"/>
                      <a:pt x="1168" y="270"/>
                    </a:cubicBezTo>
                    <a:cubicBezTo>
                      <a:pt x="1175" y="270"/>
                      <a:pt x="1180" y="265"/>
                      <a:pt x="1180" y="258"/>
                    </a:cubicBezTo>
                    <a:cubicBezTo>
                      <a:pt x="1180" y="252"/>
                      <a:pt x="1175" y="246"/>
                      <a:pt x="1168" y="246"/>
                    </a:cubicBezTo>
                    <a:close/>
                    <a:moveTo>
                      <a:pt x="1168" y="185"/>
                    </a:moveTo>
                    <a:cubicBezTo>
                      <a:pt x="1162" y="185"/>
                      <a:pt x="1156" y="190"/>
                      <a:pt x="1156" y="197"/>
                    </a:cubicBezTo>
                    <a:cubicBezTo>
                      <a:pt x="1156" y="204"/>
                      <a:pt x="1162" y="209"/>
                      <a:pt x="1168" y="209"/>
                    </a:cubicBezTo>
                    <a:cubicBezTo>
                      <a:pt x="1175" y="209"/>
                      <a:pt x="1180" y="204"/>
                      <a:pt x="1180" y="197"/>
                    </a:cubicBezTo>
                    <a:cubicBezTo>
                      <a:pt x="1180" y="190"/>
                      <a:pt x="1175" y="185"/>
                      <a:pt x="1168" y="185"/>
                    </a:cubicBezTo>
                    <a:close/>
                    <a:moveTo>
                      <a:pt x="1168" y="461"/>
                    </a:moveTo>
                    <a:cubicBezTo>
                      <a:pt x="1162" y="461"/>
                      <a:pt x="1156" y="467"/>
                      <a:pt x="1156" y="474"/>
                    </a:cubicBezTo>
                    <a:cubicBezTo>
                      <a:pt x="1156" y="480"/>
                      <a:pt x="1162" y="486"/>
                      <a:pt x="1168" y="486"/>
                    </a:cubicBezTo>
                    <a:cubicBezTo>
                      <a:pt x="1175" y="486"/>
                      <a:pt x="1180" y="480"/>
                      <a:pt x="1180" y="474"/>
                    </a:cubicBezTo>
                    <a:cubicBezTo>
                      <a:pt x="1180" y="467"/>
                      <a:pt x="1175" y="461"/>
                      <a:pt x="1168" y="461"/>
                    </a:cubicBezTo>
                    <a:close/>
                    <a:moveTo>
                      <a:pt x="1168" y="492"/>
                    </a:moveTo>
                    <a:cubicBezTo>
                      <a:pt x="1162" y="492"/>
                      <a:pt x="1156" y="498"/>
                      <a:pt x="1156" y="504"/>
                    </a:cubicBezTo>
                    <a:cubicBezTo>
                      <a:pt x="1156" y="511"/>
                      <a:pt x="1162" y="516"/>
                      <a:pt x="1168" y="516"/>
                    </a:cubicBezTo>
                    <a:cubicBezTo>
                      <a:pt x="1175" y="516"/>
                      <a:pt x="1180" y="511"/>
                      <a:pt x="1180" y="504"/>
                    </a:cubicBezTo>
                    <a:cubicBezTo>
                      <a:pt x="1180" y="498"/>
                      <a:pt x="1175" y="492"/>
                      <a:pt x="1168" y="492"/>
                    </a:cubicBezTo>
                    <a:close/>
                    <a:moveTo>
                      <a:pt x="1168" y="554"/>
                    </a:moveTo>
                    <a:cubicBezTo>
                      <a:pt x="1162" y="554"/>
                      <a:pt x="1156" y="559"/>
                      <a:pt x="1156" y="566"/>
                    </a:cubicBezTo>
                    <a:cubicBezTo>
                      <a:pt x="1156" y="572"/>
                      <a:pt x="1162" y="578"/>
                      <a:pt x="1168" y="578"/>
                    </a:cubicBezTo>
                    <a:cubicBezTo>
                      <a:pt x="1175" y="578"/>
                      <a:pt x="1180" y="572"/>
                      <a:pt x="1180" y="566"/>
                    </a:cubicBezTo>
                    <a:cubicBezTo>
                      <a:pt x="1180" y="559"/>
                      <a:pt x="1175" y="554"/>
                      <a:pt x="1168" y="554"/>
                    </a:cubicBezTo>
                    <a:close/>
                    <a:moveTo>
                      <a:pt x="1168" y="523"/>
                    </a:moveTo>
                    <a:cubicBezTo>
                      <a:pt x="1162" y="523"/>
                      <a:pt x="1156" y="528"/>
                      <a:pt x="1156" y="535"/>
                    </a:cubicBezTo>
                    <a:cubicBezTo>
                      <a:pt x="1156" y="542"/>
                      <a:pt x="1162" y="547"/>
                      <a:pt x="1168" y="547"/>
                    </a:cubicBezTo>
                    <a:cubicBezTo>
                      <a:pt x="1175" y="547"/>
                      <a:pt x="1180" y="542"/>
                      <a:pt x="1180" y="535"/>
                    </a:cubicBezTo>
                    <a:cubicBezTo>
                      <a:pt x="1180" y="528"/>
                      <a:pt x="1175" y="523"/>
                      <a:pt x="1168" y="523"/>
                    </a:cubicBezTo>
                    <a:close/>
                    <a:moveTo>
                      <a:pt x="1168" y="62"/>
                    </a:moveTo>
                    <a:cubicBezTo>
                      <a:pt x="1162" y="62"/>
                      <a:pt x="1156" y="67"/>
                      <a:pt x="1156" y="74"/>
                    </a:cubicBezTo>
                    <a:cubicBezTo>
                      <a:pt x="1156" y="81"/>
                      <a:pt x="1162" y="86"/>
                      <a:pt x="1168" y="86"/>
                    </a:cubicBezTo>
                    <a:cubicBezTo>
                      <a:pt x="1175" y="86"/>
                      <a:pt x="1180" y="81"/>
                      <a:pt x="1180" y="74"/>
                    </a:cubicBezTo>
                    <a:cubicBezTo>
                      <a:pt x="1180" y="67"/>
                      <a:pt x="1175" y="62"/>
                      <a:pt x="1168" y="62"/>
                    </a:cubicBezTo>
                    <a:close/>
                    <a:moveTo>
                      <a:pt x="1273" y="185"/>
                    </a:moveTo>
                    <a:cubicBezTo>
                      <a:pt x="1267" y="185"/>
                      <a:pt x="1261" y="190"/>
                      <a:pt x="1261" y="197"/>
                    </a:cubicBezTo>
                    <a:cubicBezTo>
                      <a:pt x="1261" y="204"/>
                      <a:pt x="1267" y="209"/>
                      <a:pt x="1273" y="209"/>
                    </a:cubicBezTo>
                    <a:cubicBezTo>
                      <a:pt x="1280" y="209"/>
                      <a:pt x="1286" y="204"/>
                      <a:pt x="1286" y="197"/>
                    </a:cubicBezTo>
                    <a:cubicBezTo>
                      <a:pt x="1286" y="190"/>
                      <a:pt x="1280" y="185"/>
                      <a:pt x="1273" y="185"/>
                    </a:cubicBezTo>
                    <a:close/>
                    <a:moveTo>
                      <a:pt x="1273" y="277"/>
                    </a:moveTo>
                    <a:cubicBezTo>
                      <a:pt x="1267" y="277"/>
                      <a:pt x="1261" y="282"/>
                      <a:pt x="1261" y="289"/>
                    </a:cubicBezTo>
                    <a:cubicBezTo>
                      <a:pt x="1261" y="296"/>
                      <a:pt x="1267" y="301"/>
                      <a:pt x="1273" y="301"/>
                    </a:cubicBezTo>
                    <a:cubicBezTo>
                      <a:pt x="1280" y="301"/>
                      <a:pt x="1286" y="296"/>
                      <a:pt x="1286" y="289"/>
                    </a:cubicBezTo>
                    <a:cubicBezTo>
                      <a:pt x="1286" y="282"/>
                      <a:pt x="1280" y="277"/>
                      <a:pt x="1273" y="277"/>
                    </a:cubicBezTo>
                    <a:close/>
                    <a:moveTo>
                      <a:pt x="1273" y="154"/>
                    </a:moveTo>
                    <a:cubicBezTo>
                      <a:pt x="1267" y="154"/>
                      <a:pt x="1261" y="159"/>
                      <a:pt x="1261" y="166"/>
                    </a:cubicBezTo>
                    <a:cubicBezTo>
                      <a:pt x="1261" y="173"/>
                      <a:pt x="1267" y="178"/>
                      <a:pt x="1273" y="178"/>
                    </a:cubicBezTo>
                    <a:cubicBezTo>
                      <a:pt x="1280" y="178"/>
                      <a:pt x="1286" y="173"/>
                      <a:pt x="1286" y="166"/>
                    </a:cubicBezTo>
                    <a:cubicBezTo>
                      <a:pt x="1286" y="159"/>
                      <a:pt x="1280" y="154"/>
                      <a:pt x="1273" y="154"/>
                    </a:cubicBezTo>
                    <a:close/>
                    <a:moveTo>
                      <a:pt x="1273" y="308"/>
                    </a:moveTo>
                    <a:cubicBezTo>
                      <a:pt x="1267" y="308"/>
                      <a:pt x="1261" y="313"/>
                      <a:pt x="1261" y="320"/>
                    </a:cubicBezTo>
                    <a:cubicBezTo>
                      <a:pt x="1261" y="327"/>
                      <a:pt x="1267" y="332"/>
                      <a:pt x="1273" y="332"/>
                    </a:cubicBezTo>
                    <a:cubicBezTo>
                      <a:pt x="1280" y="332"/>
                      <a:pt x="1286" y="327"/>
                      <a:pt x="1286" y="320"/>
                    </a:cubicBezTo>
                    <a:cubicBezTo>
                      <a:pt x="1286" y="313"/>
                      <a:pt x="1280" y="308"/>
                      <a:pt x="1273" y="308"/>
                    </a:cubicBezTo>
                    <a:close/>
                    <a:moveTo>
                      <a:pt x="1273" y="338"/>
                    </a:moveTo>
                    <a:cubicBezTo>
                      <a:pt x="1267" y="338"/>
                      <a:pt x="1261" y="344"/>
                      <a:pt x="1261" y="351"/>
                    </a:cubicBezTo>
                    <a:cubicBezTo>
                      <a:pt x="1261" y="357"/>
                      <a:pt x="1267" y="363"/>
                      <a:pt x="1273" y="363"/>
                    </a:cubicBezTo>
                    <a:cubicBezTo>
                      <a:pt x="1280" y="363"/>
                      <a:pt x="1286" y="357"/>
                      <a:pt x="1286" y="351"/>
                    </a:cubicBezTo>
                    <a:cubicBezTo>
                      <a:pt x="1286" y="344"/>
                      <a:pt x="1280" y="338"/>
                      <a:pt x="1273" y="338"/>
                    </a:cubicBezTo>
                    <a:close/>
                    <a:moveTo>
                      <a:pt x="1273" y="369"/>
                    </a:moveTo>
                    <a:cubicBezTo>
                      <a:pt x="1267" y="369"/>
                      <a:pt x="1261" y="375"/>
                      <a:pt x="1261" y="381"/>
                    </a:cubicBezTo>
                    <a:cubicBezTo>
                      <a:pt x="1261" y="388"/>
                      <a:pt x="1267" y="393"/>
                      <a:pt x="1273" y="393"/>
                    </a:cubicBezTo>
                    <a:cubicBezTo>
                      <a:pt x="1280" y="393"/>
                      <a:pt x="1286" y="388"/>
                      <a:pt x="1286" y="381"/>
                    </a:cubicBezTo>
                    <a:cubicBezTo>
                      <a:pt x="1286" y="375"/>
                      <a:pt x="1280" y="369"/>
                      <a:pt x="1273" y="369"/>
                    </a:cubicBezTo>
                    <a:close/>
                    <a:moveTo>
                      <a:pt x="1273" y="123"/>
                    </a:moveTo>
                    <a:cubicBezTo>
                      <a:pt x="1267" y="123"/>
                      <a:pt x="1261" y="129"/>
                      <a:pt x="1261" y="135"/>
                    </a:cubicBezTo>
                    <a:cubicBezTo>
                      <a:pt x="1261" y="142"/>
                      <a:pt x="1267" y="148"/>
                      <a:pt x="1273" y="148"/>
                    </a:cubicBezTo>
                    <a:cubicBezTo>
                      <a:pt x="1280" y="148"/>
                      <a:pt x="1286" y="142"/>
                      <a:pt x="1286" y="135"/>
                    </a:cubicBezTo>
                    <a:cubicBezTo>
                      <a:pt x="1286" y="129"/>
                      <a:pt x="1280" y="123"/>
                      <a:pt x="1273" y="123"/>
                    </a:cubicBezTo>
                    <a:close/>
                    <a:moveTo>
                      <a:pt x="1273" y="400"/>
                    </a:moveTo>
                    <a:cubicBezTo>
                      <a:pt x="1267" y="400"/>
                      <a:pt x="1261" y="405"/>
                      <a:pt x="1261" y="412"/>
                    </a:cubicBezTo>
                    <a:cubicBezTo>
                      <a:pt x="1261" y="419"/>
                      <a:pt x="1267" y="424"/>
                      <a:pt x="1273" y="424"/>
                    </a:cubicBezTo>
                    <a:cubicBezTo>
                      <a:pt x="1280" y="424"/>
                      <a:pt x="1286" y="419"/>
                      <a:pt x="1286" y="412"/>
                    </a:cubicBezTo>
                    <a:cubicBezTo>
                      <a:pt x="1286" y="405"/>
                      <a:pt x="1280" y="400"/>
                      <a:pt x="1273" y="400"/>
                    </a:cubicBezTo>
                    <a:close/>
                    <a:moveTo>
                      <a:pt x="1273" y="461"/>
                    </a:moveTo>
                    <a:cubicBezTo>
                      <a:pt x="1267" y="461"/>
                      <a:pt x="1261" y="467"/>
                      <a:pt x="1261" y="474"/>
                    </a:cubicBezTo>
                    <a:cubicBezTo>
                      <a:pt x="1261" y="480"/>
                      <a:pt x="1267" y="486"/>
                      <a:pt x="1273" y="486"/>
                    </a:cubicBezTo>
                    <a:cubicBezTo>
                      <a:pt x="1280" y="486"/>
                      <a:pt x="1286" y="480"/>
                      <a:pt x="1286" y="474"/>
                    </a:cubicBezTo>
                    <a:cubicBezTo>
                      <a:pt x="1286" y="467"/>
                      <a:pt x="1280" y="461"/>
                      <a:pt x="1273" y="461"/>
                    </a:cubicBezTo>
                    <a:close/>
                    <a:moveTo>
                      <a:pt x="1273" y="431"/>
                    </a:moveTo>
                    <a:cubicBezTo>
                      <a:pt x="1267" y="431"/>
                      <a:pt x="1261" y="436"/>
                      <a:pt x="1261" y="443"/>
                    </a:cubicBezTo>
                    <a:cubicBezTo>
                      <a:pt x="1261" y="449"/>
                      <a:pt x="1267" y="455"/>
                      <a:pt x="1273" y="455"/>
                    </a:cubicBezTo>
                    <a:cubicBezTo>
                      <a:pt x="1280" y="455"/>
                      <a:pt x="1286" y="449"/>
                      <a:pt x="1286" y="443"/>
                    </a:cubicBezTo>
                    <a:cubicBezTo>
                      <a:pt x="1286" y="436"/>
                      <a:pt x="1280" y="431"/>
                      <a:pt x="1273" y="431"/>
                    </a:cubicBezTo>
                    <a:close/>
                    <a:moveTo>
                      <a:pt x="888" y="523"/>
                    </a:moveTo>
                    <a:cubicBezTo>
                      <a:pt x="881" y="523"/>
                      <a:pt x="876" y="528"/>
                      <a:pt x="876" y="535"/>
                    </a:cubicBezTo>
                    <a:cubicBezTo>
                      <a:pt x="876" y="542"/>
                      <a:pt x="881" y="547"/>
                      <a:pt x="888" y="547"/>
                    </a:cubicBezTo>
                    <a:cubicBezTo>
                      <a:pt x="895" y="547"/>
                      <a:pt x="900" y="542"/>
                      <a:pt x="900" y="535"/>
                    </a:cubicBezTo>
                    <a:cubicBezTo>
                      <a:pt x="900" y="528"/>
                      <a:pt x="895" y="523"/>
                      <a:pt x="888" y="523"/>
                    </a:cubicBezTo>
                    <a:close/>
                    <a:moveTo>
                      <a:pt x="1238" y="338"/>
                    </a:moveTo>
                    <a:cubicBezTo>
                      <a:pt x="1232" y="338"/>
                      <a:pt x="1226" y="344"/>
                      <a:pt x="1226" y="351"/>
                    </a:cubicBezTo>
                    <a:cubicBezTo>
                      <a:pt x="1226" y="357"/>
                      <a:pt x="1232" y="363"/>
                      <a:pt x="1238" y="363"/>
                    </a:cubicBezTo>
                    <a:cubicBezTo>
                      <a:pt x="1245" y="363"/>
                      <a:pt x="1251" y="357"/>
                      <a:pt x="1251" y="351"/>
                    </a:cubicBezTo>
                    <a:cubicBezTo>
                      <a:pt x="1251" y="344"/>
                      <a:pt x="1245" y="338"/>
                      <a:pt x="1238" y="338"/>
                    </a:cubicBezTo>
                    <a:close/>
                    <a:moveTo>
                      <a:pt x="1238" y="369"/>
                    </a:moveTo>
                    <a:cubicBezTo>
                      <a:pt x="1232" y="369"/>
                      <a:pt x="1226" y="375"/>
                      <a:pt x="1226" y="381"/>
                    </a:cubicBezTo>
                    <a:cubicBezTo>
                      <a:pt x="1226" y="388"/>
                      <a:pt x="1232" y="393"/>
                      <a:pt x="1238" y="393"/>
                    </a:cubicBezTo>
                    <a:cubicBezTo>
                      <a:pt x="1245" y="393"/>
                      <a:pt x="1251" y="388"/>
                      <a:pt x="1251" y="381"/>
                    </a:cubicBezTo>
                    <a:cubicBezTo>
                      <a:pt x="1251" y="375"/>
                      <a:pt x="1245" y="369"/>
                      <a:pt x="1238" y="369"/>
                    </a:cubicBezTo>
                    <a:close/>
                    <a:moveTo>
                      <a:pt x="1238" y="461"/>
                    </a:moveTo>
                    <a:cubicBezTo>
                      <a:pt x="1232" y="461"/>
                      <a:pt x="1226" y="467"/>
                      <a:pt x="1226" y="474"/>
                    </a:cubicBezTo>
                    <a:cubicBezTo>
                      <a:pt x="1226" y="480"/>
                      <a:pt x="1232" y="486"/>
                      <a:pt x="1238" y="486"/>
                    </a:cubicBezTo>
                    <a:cubicBezTo>
                      <a:pt x="1245" y="486"/>
                      <a:pt x="1251" y="480"/>
                      <a:pt x="1251" y="474"/>
                    </a:cubicBezTo>
                    <a:cubicBezTo>
                      <a:pt x="1251" y="467"/>
                      <a:pt x="1245" y="461"/>
                      <a:pt x="1238" y="461"/>
                    </a:cubicBezTo>
                    <a:close/>
                    <a:moveTo>
                      <a:pt x="1238" y="92"/>
                    </a:moveTo>
                    <a:cubicBezTo>
                      <a:pt x="1232" y="92"/>
                      <a:pt x="1226" y="98"/>
                      <a:pt x="1226" y="105"/>
                    </a:cubicBezTo>
                    <a:cubicBezTo>
                      <a:pt x="1226" y="111"/>
                      <a:pt x="1232" y="117"/>
                      <a:pt x="1238" y="117"/>
                    </a:cubicBezTo>
                    <a:cubicBezTo>
                      <a:pt x="1245" y="117"/>
                      <a:pt x="1251" y="111"/>
                      <a:pt x="1251" y="105"/>
                    </a:cubicBezTo>
                    <a:cubicBezTo>
                      <a:pt x="1251" y="98"/>
                      <a:pt x="1245" y="92"/>
                      <a:pt x="1238" y="92"/>
                    </a:cubicBezTo>
                    <a:close/>
                    <a:moveTo>
                      <a:pt x="1238" y="400"/>
                    </a:moveTo>
                    <a:cubicBezTo>
                      <a:pt x="1232" y="400"/>
                      <a:pt x="1226" y="405"/>
                      <a:pt x="1226" y="412"/>
                    </a:cubicBezTo>
                    <a:cubicBezTo>
                      <a:pt x="1226" y="419"/>
                      <a:pt x="1232" y="424"/>
                      <a:pt x="1238" y="424"/>
                    </a:cubicBezTo>
                    <a:cubicBezTo>
                      <a:pt x="1245" y="424"/>
                      <a:pt x="1251" y="419"/>
                      <a:pt x="1251" y="412"/>
                    </a:cubicBezTo>
                    <a:cubicBezTo>
                      <a:pt x="1251" y="405"/>
                      <a:pt x="1245" y="400"/>
                      <a:pt x="1238" y="400"/>
                    </a:cubicBezTo>
                    <a:close/>
                    <a:moveTo>
                      <a:pt x="1238" y="308"/>
                    </a:moveTo>
                    <a:cubicBezTo>
                      <a:pt x="1232" y="308"/>
                      <a:pt x="1226" y="313"/>
                      <a:pt x="1226" y="320"/>
                    </a:cubicBezTo>
                    <a:cubicBezTo>
                      <a:pt x="1226" y="327"/>
                      <a:pt x="1232" y="332"/>
                      <a:pt x="1238" y="332"/>
                    </a:cubicBezTo>
                    <a:cubicBezTo>
                      <a:pt x="1245" y="332"/>
                      <a:pt x="1251" y="327"/>
                      <a:pt x="1251" y="320"/>
                    </a:cubicBezTo>
                    <a:cubicBezTo>
                      <a:pt x="1251" y="313"/>
                      <a:pt x="1245" y="308"/>
                      <a:pt x="1238" y="308"/>
                    </a:cubicBezTo>
                    <a:close/>
                    <a:moveTo>
                      <a:pt x="1238" y="277"/>
                    </a:moveTo>
                    <a:cubicBezTo>
                      <a:pt x="1232" y="277"/>
                      <a:pt x="1226" y="282"/>
                      <a:pt x="1226" y="289"/>
                    </a:cubicBezTo>
                    <a:cubicBezTo>
                      <a:pt x="1226" y="296"/>
                      <a:pt x="1232" y="301"/>
                      <a:pt x="1238" y="301"/>
                    </a:cubicBezTo>
                    <a:cubicBezTo>
                      <a:pt x="1245" y="301"/>
                      <a:pt x="1251" y="296"/>
                      <a:pt x="1251" y="289"/>
                    </a:cubicBezTo>
                    <a:cubicBezTo>
                      <a:pt x="1251" y="282"/>
                      <a:pt x="1245" y="277"/>
                      <a:pt x="1238" y="277"/>
                    </a:cubicBezTo>
                    <a:close/>
                    <a:moveTo>
                      <a:pt x="1238" y="154"/>
                    </a:moveTo>
                    <a:cubicBezTo>
                      <a:pt x="1232" y="154"/>
                      <a:pt x="1226" y="159"/>
                      <a:pt x="1226" y="166"/>
                    </a:cubicBezTo>
                    <a:cubicBezTo>
                      <a:pt x="1226" y="173"/>
                      <a:pt x="1232" y="178"/>
                      <a:pt x="1238" y="178"/>
                    </a:cubicBezTo>
                    <a:cubicBezTo>
                      <a:pt x="1245" y="178"/>
                      <a:pt x="1251" y="173"/>
                      <a:pt x="1251" y="166"/>
                    </a:cubicBezTo>
                    <a:cubicBezTo>
                      <a:pt x="1251" y="159"/>
                      <a:pt x="1245" y="154"/>
                      <a:pt x="1238" y="154"/>
                    </a:cubicBezTo>
                    <a:close/>
                    <a:moveTo>
                      <a:pt x="1238" y="123"/>
                    </a:moveTo>
                    <a:cubicBezTo>
                      <a:pt x="1232" y="123"/>
                      <a:pt x="1226" y="129"/>
                      <a:pt x="1226" y="135"/>
                    </a:cubicBezTo>
                    <a:cubicBezTo>
                      <a:pt x="1226" y="142"/>
                      <a:pt x="1232" y="148"/>
                      <a:pt x="1238" y="148"/>
                    </a:cubicBezTo>
                    <a:cubicBezTo>
                      <a:pt x="1245" y="148"/>
                      <a:pt x="1251" y="142"/>
                      <a:pt x="1251" y="135"/>
                    </a:cubicBezTo>
                    <a:cubicBezTo>
                      <a:pt x="1251" y="129"/>
                      <a:pt x="1245" y="123"/>
                      <a:pt x="1238" y="123"/>
                    </a:cubicBezTo>
                    <a:close/>
                    <a:moveTo>
                      <a:pt x="1238" y="185"/>
                    </a:moveTo>
                    <a:cubicBezTo>
                      <a:pt x="1232" y="185"/>
                      <a:pt x="1226" y="190"/>
                      <a:pt x="1226" y="197"/>
                    </a:cubicBezTo>
                    <a:cubicBezTo>
                      <a:pt x="1226" y="204"/>
                      <a:pt x="1232" y="209"/>
                      <a:pt x="1238" y="209"/>
                    </a:cubicBezTo>
                    <a:cubicBezTo>
                      <a:pt x="1245" y="209"/>
                      <a:pt x="1251" y="204"/>
                      <a:pt x="1251" y="197"/>
                    </a:cubicBezTo>
                    <a:cubicBezTo>
                      <a:pt x="1251" y="190"/>
                      <a:pt x="1245" y="185"/>
                      <a:pt x="1238" y="185"/>
                    </a:cubicBezTo>
                    <a:close/>
                    <a:moveTo>
                      <a:pt x="1238" y="431"/>
                    </a:moveTo>
                    <a:cubicBezTo>
                      <a:pt x="1232" y="431"/>
                      <a:pt x="1226" y="436"/>
                      <a:pt x="1226" y="443"/>
                    </a:cubicBezTo>
                    <a:cubicBezTo>
                      <a:pt x="1226" y="449"/>
                      <a:pt x="1232" y="455"/>
                      <a:pt x="1238" y="455"/>
                    </a:cubicBezTo>
                    <a:cubicBezTo>
                      <a:pt x="1245" y="455"/>
                      <a:pt x="1251" y="449"/>
                      <a:pt x="1251" y="443"/>
                    </a:cubicBezTo>
                    <a:cubicBezTo>
                      <a:pt x="1251" y="436"/>
                      <a:pt x="1245" y="431"/>
                      <a:pt x="1238" y="431"/>
                    </a:cubicBezTo>
                    <a:close/>
                    <a:moveTo>
                      <a:pt x="958" y="154"/>
                    </a:moveTo>
                    <a:cubicBezTo>
                      <a:pt x="951" y="154"/>
                      <a:pt x="946" y="159"/>
                      <a:pt x="946" y="166"/>
                    </a:cubicBezTo>
                    <a:cubicBezTo>
                      <a:pt x="946" y="173"/>
                      <a:pt x="951" y="178"/>
                      <a:pt x="958" y="178"/>
                    </a:cubicBezTo>
                    <a:cubicBezTo>
                      <a:pt x="965" y="178"/>
                      <a:pt x="970" y="173"/>
                      <a:pt x="970" y="166"/>
                    </a:cubicBezTo>
                    <a:cubicBezTo>
                      <a:pt x="970" y="159"/>
                      <a:pt x="965" y="154"/>
                      <a:pt x="958" y="154"/>
                    </a:cubicBezTo>
                    <a:close/>
                    <a:moveTo>
                      <a:pt x="958" y="92"/>
                    </a:moveTo>
                    <a:cubicBezTo>
                      <a:pt x="951" y="92"/>
                      <a:pt x="946" y="98"/>
                      <a:pt x="946" y="105"/>
                    </a:cubicBezTo>
                    <a:cubicBezTo>
                      <a:pt x="946" y="111"/>
                      <a:pt x="951" y="117"/>
                      <a:pt x="958" y="117"/>
                    </a:cubicBezTo>
                    <a:cubicBezTo>
                      <a:pt x="965" y="117"/>
                      <a:pt x="970" y="111"/>
                      <a:pt x="970" y="105"/>
                    </a:cubicBezTo>
                    <a:cubicBezTo>
                      <a:pt x="970" y="98"/>
                      <a:pt x="965" y="92"/>
                      <a:pt x="958" y="92"/>
                    </a:cubicBezTo>
                    <a:close/>
                    <a:moveTo>
                      <a:pt x="993" y="707"/>
                    </a:moveTo>
                    <a:cubicBezTo>
                      <a:pt x="986" y="707"/>
                      <a:pt x="981" y="713"/>
                      <a:pt x="981" y="719"/>
                    </a:cubicBezTo>
                    <a:cubicBezTo>
                      <a:pt x="981" y="726"/>
                      <a:pt x="986" y="732"/>
                      <a:pt x="993" y="732"/>
                    </a:cubicBezTo>
                    <a:cubicBezTo>
                      <a:pt x="1000" y="732"/>
                      <a:pt x="1005" y="726"/>
                      <a:pt x="1005" y="719"/>
                    </a:cubicBezTo>
                    <a:cubicBezTo>
                      <a:pt x="1005" y="713"/>
                      <a:pt x="1000" y="707"/>
                      <a:pt x="993" y="707"/>
                    </a:cubicBezTo>
                    <a:close/>
                    <a:moveTo>
                      <a:pt x="958" y="123"/>
                    </a:moveTo>
                    <a:cubicBezTo>
                      <a:pt x="951" y="123"/>
                      <a:pt x="946" y="129"/>
                      <a:pt x="946" y="135"/>
                    </a:cubicBezTo>
                    <a:cubicBezTo>
                      <a:pt x="946" y="142"/>
                      <a:pt x="951" y="148"/>
                      <a:pt x="958" y="148"/>
                    </a:cubicBezTo>
                    <a:cubicBezTo>
                      <a:pt x="965" y="148"/>
                      <a:pt x="970" y="142"/>
                      <a:pt x="970" y="135"/>
                    </a:cubicBezTo>
                    <a:cubicBezTo>
                      <a:pt x="970" y="129"/>
                      <a:pt x="965" y="123"/>
                      <a:pt x="958" y="123"/>
                    </a:cubicBezTo>
                    <a:close/>
                    <a:moveTo>
                      <a:pt x="958" y="584"/>
                    </a:moveTo>
                    <a:cubicBezTo>
                      <a:pt x="951" y="584"/>
                      <a:pt x="946" y="590"/>
                      <a:pt x="946" y="596"/>
                    </a:cubicBezTo>
                    <a:cubicBezTo>
                      <a:pt x="946" y="603"/>
                      <a:pt x="951" y="609"/>
                      <a:pt x="958" y="609"/>
                    </a:cubicBezTo>
                    <a:cubicBezTo>
                      <a:pt x="965" y="609"/>
                      <a:pt x="970" y="603"/>
                      <a:pt x="970" y="596"/>
                    </a:cubicBezTo>
                    <a:cubicBezTo>
                      <a:pt x="970" y="590"/>
                      <a:pt x="965" y="584"/>
                      <a:pt x="958" y="584"/>
                    </a:cubicBezTo>
                    <a:close/>
                    <a:moveTo>
                      <a:pt x="993" y="584"/>
                    </a:moveTo>
                    <a:cubicBezTo>
                      <a:pt x="986" y="584"/>
                      <a:pt x="981" y="590"/>
                      <a:pt x="981" y="596"/>
                    </a:cubicBezTo>
                    <a:cubicBezTo>
                      <a:pt x="981" y="603"/>
                      <a:pt x="986" y="609"/>
                      <a:pt x="993" y="609"/>
                    </a:cubicBezTo>
                    <a:cubicBezTo>
                      <a:pt x="1000" y="609"/>
                      <a:pt x="1005" y="603"/>
                      <a:pt x="1005" y="596"/>
                    </a:cubicBezTo>
                    <a:cubicBezTo>
                      <a:pt x="1005" y="590"/>
                      <a:pt x="1000" y="584"/>
                      <a:pt x="993" y="584"/>
                    </a:cubicBezTo>
                    <a:close/>
                    <a:moveTo>
                      <a:pt x="993" y="646"/>
                    </a:moveTo>
                    <a:cubicBezTo>
                      <a:pt x="986" y="646"/>
                      <a:pt x="981" y="651"/>
                      <a:pt x="981" y="658"/>
                    </a:cubicBezTo>
                    <a:cubicBezTo>
                      <a:pt x="981" y="665"/>
                      <a:pt x="986" y="670"/>
                      <a:pt x="993" y="670"/>
                    </a:cubicBezTo>
                    <a:cubicBezTo>
                      <a:pt x="1000" y="670"/>
                      <a:pt x="1005" y="665"/>
                      <a:pt x="1005" y="658"/>
                    </a:cubicBezTo>
                    <a:cubicBezTo>
                      <a:pt x="1005" y="651"/>
                      <a:pt x="1000" y="646"/>
                      <a:pt x="993" y="646"/>
                    </a:cubicBezTo>
                    <a:close/>
                    <a:moveTo>
                      <a:pt x="993" y="677"/>
                    </a:moveTo>
                    <a:cubicBezTo>
                      <a:pt x="986" y="677"/>
                      <a:pt x="981" y="682"/>
                      <a:pt x="981" y="689"/>
                    </a:cubicBezTo>
                    <a:cubicBezTo>
                      <a:pt x="981" y="695"/>
                      <a:pt x="986" y="701"/>
                      <a:pt x="993" y="701"/>
                    </a:cubicBezTo>
                    <a:cubicBezTo>
                      <a:pt x="1000" y="701"/>
                      <a:pt x="1005" y="695"/>
                      <a:pt x="1005" y="689"/>
                    </a:cubicBezTo>
                    <a:cubicBezTo>
                      <a:pt x="1005" y="682"/>
                      <a:pt x="1000" y="677"/>
                      <a:pt x="993" y="677"/>
                    </a:cubicBezTo>
                    <a:close/>
                    <a:moveTo>
                      <a:pt x="958" y="554"/>
                    </a:moveTo>
                    <a:cubicBezTo>
                      <a:pt x="951" y="554"/>
                      <a:pt x="946" y="559"/>
                      <a:pt x="946" y="566"/>
                    </a:cubicBezTo>
                    <a:cubicBezTo>
                      <a:pt x="946" y="572"/>
                      <a:pt x="951" y="578"/>
                      <a:pt x="958" y="578"/>
                    </a:cubicBezTo>
                    <a:cubicBezTo>
                      <a:pt x="965" y="578"/>
                      <a:pt x="970" y="572"/>
                      <a:pt x="970" y="566"/>
                    </a:cubicBezTo>
                    <a:cubicBezTo>
                      <a:pt x="970" y="559"/>
                      <a:pt x="965" y="554"/>
                      <a:pt x="958" y="554"/>
                    </a:cubicBezTo>
                    <a:close/>
                    <a:moveTo>
                      <a:pt x="958" y="461"/>
                    </a:moveTo>
                    <a:cubicBezTo>
                      <a:pt x="951" y="461"/>
                      <a:pt x="946" y="467"/>
                      <a:pt x="946" y="474"/>
                    </a:cubicBezTo>
                    <a:cubicBezTo>
                      <a:pt x="946" y="480"/>
                      <a:pt x="951" y="486"/>
                      <a:pt x="958" y="486"/>
                    </a:cubicBezTo>
                    <a:cubicBezTo>
                      <a:pt x="965" y="486"/>
                      <a:pt x="970" y="480"/>
                      <a:pt x="970" y="474"/>
                    </a:cubicBezTo>
                    <a:cubicBezTo>
                      <a:pt x="970" y="467"/>
                      <a:pt x="965" y="461"/>
                      <a:pt x="958" y="461"/>
                    </a:cubicBezTo>
                    <a:close/>
                    <a:moveTo>
                      <a:pt x="958" y="431"/>
                    </a:moveTo>
                    <a:cubicBezTo>
                      <a:pt x="951" y="431"/>
                      <a:pt x="946" y="436"/>
                      <a:pt x="946" y="443"/>
                    </a:cubicBezTo>
                    <a:cubicBezTo>
                      <a:pt x="946" y="449"/>
                      <a:pt x="951" y="455"/>
                      <a:pt x="958" y="455"/>
                    </a:cubicBezTo>
                    <a:cubicBezTo>
                      <a:pt x="965" y="455"/>
                      <a:pt x="970" y="449"/>
                      <a:pt x="970" y="443"/>
                    </a:cubicBezTo>
                    <a:cubicBezTo>
                      <a:pt x="970" y="436"/>
                      <a:pt x="965" y="431"/>
                      <a:pt x="958" y="431"/>
                    </a:cubicBezTo>
                    <a:close/>
                    <a:moveTo>
                      <a:pt x="958" y="492"/>
                    </a:moveTo>
                    <a:cubicBezTo>
                      <a:pt x="951" y="492"/>
                      <a:pt x="946" y="498"/>
                      <a:pt x="946" y="504"/>
                    </a:cubicBezTo>
                    <a:cubicBezTo>
                      <a:pt x="946" y="511"/>
                      <a:pt x="951" y="516"/>
                      <a:pt x="958" y="516"/>
                    </a:cubicBezTo>
                    <a:cubicBezTo>
                      <a:pt x="965" y="516"/>
                      <a:pt x="970" y="511"/>
                      <a:pt x="970" y="504"/>
                    </a:cubicBezTo>
                    <a:cubicBezTo>
                      <a:pt x="970" y="498"/>
                      <a:pt x="965" y="492"/>
                      <a:pt x="958" y="492"/>
                    </a:cubicBezTo>
                    <a:close/>
                    <a:moveTo>
                      <a:pt x="993" y="554"/>
                    </a:moveTo>
                    <a:cubicBezTo>
                      <a:pt x="986" y="554"/>
                      <a:pt x="981" y="559"/>
                      <a:pt x="981" y="566"/>
                    </a:cubicBezTo>
                    <a:cubicBezTo>
                      <a:pt x="981" y="572"/>
                      <a:pt x="986" y="578"/>
                      <a:pt x="993" y="578"/>
                    </a:cubicBezTo>
                    <a:cubicBezTo>
                      <a:pt x="1000" y="578"/>
                      <a:pt x="1005" y="572"/>
                      <a:pt x="1005" y="566"/>
                    </a:cubicBezTo>
                    <a:cubicBezTo>
                      <a:pt x="1005" y="559"/>
                      <a:pt x="1000" y="554"/>
                      <a:pt x="993" y="554"/>
                    </a:cubicBezTo>
                    <a:close/>
                    <a:moveTo>
                      <a:pt x="958" y="523"/>
                    </a:moveTo>
                    <a:cubicBezTo>
                      <a:pt x="951" y="523"/>
                      <a:pt x="946" y="528"/>
                      <a:pt x="946" y="535"/>
                    </a:cubicBezTo>
                    <a:cubicBezTo>
                      <a:pt x="946" y="542"/>
                      <a:pt x="951" y="547"/>
                      <a:pt x="958" y="547"/>
                    </a:cubicBezTo>
                    <a:cubicBezTo>
                      <a:pt x="965" y="547"/>
                      <a:pt x="970" y="542"/>
                      <a:pt x="970" y="535"/>
                    </a:cubicBezTo>
                    <a:cubicBezTo>
                      <a:pt x="970" y="528"/>
                      <a:pt x="965" y="523"/>
                      <a:pt x="958" y="523"/>
                    </a:cubicBezTo>
                    <a:close/>
                    <a:moveTo>
                      <a:pt x="958" y="338"/>
                    </a:moveTo>
                    <a:cubicBezTo>
                      <a:pt x="951" y="338"/>
                      <a:pt x="946" y="344"/>
                      <a:pt x="946" y="351"/>
                    </a:cubicBezTo>
                    <a:cubicBezTo>
                      <a:pt x="946" y="357"/>
                      <a:pt x="951" y="363"/>
                      <a:pt x="958" y="363"/>
                    </a:cubicBezTo>
                    <a:cubicBezTo>
                      <a:pt x="965" y="363"/>
                      <a:pt x="970" y="357"/>
                      <a:pt x="970" y="351"/>
                    </a:cubicBezTo>
                    <a:cubicBezTo>
                      <a:pt x="970" y="344"/>
                      <a:pt x="965" y="338"/>
                      <a:pt x="958" y="338"/>
                    </a:cubicBezTo>
                    <a:close/>
                    <a:moveTo>
                      <a:pt x="958" y="185"/>
                    </a:moveTo>
                    <a:cubicBezTo>
                      <a:pt x="951" y="185"/>
                      <a:pt x="946" y="190"/>
                      <a:pt x="946" y="197"/>
                    </a:cubicBezTo>
                    <a:cubicBezTo>
                      <a:pt x="946" y="204"/>
                      <a:pt x="951" y="209"/>
                      <a:pt x="958" y="209"/>
                    </a:cubicBezTo>
                    <a:cubicBezTo>
                      <a:pt x="965" y="209"/>
                      <a:pt x="970" y="204"/>
                      <a:pt x="970" y="197"/>
                    </a:cubicBezTo>
                    <a:cubicBezTo>
                      <a:pt x="970" y="190"/>
                      <a:pt x="965" y="185"/>
                      <a:pt x="958" y="185"/>
                    </a:cubicBezTo>
                    <a:close/>
                    <a:moveTo>
                      <a:pt x="958" y="308"/>
                    </a:moveTo>
                    <a:cubicBezTo>
                      <a:pt x="951" y="308"/>
                      <a:pt x="946" y="313"/>
                      <a:pt x="946" y="320"/>
                    </a:cubicBezTo>
                    <a:cubicBezTo>
                      <a:pt x="946" y="327"/>
                      <a:pt x="951" y="332"/>
                      <a:pt x="958" y="332"/>
                    </a:cubicBezTo>
                    <a:cubicBezTo>
                      <a:pt x="965" y="332"/>
                      <a:pt x="970" y="327"/>
                      <a:pt x="970" y="320"/>
                    </a:cubicBezTo>
                    <a:cubicBezTo>
                      <a:pt x="970" y="313"/>
                      <a:pt x="965" y="308"/>
                      <a:pt x="958" y="308"/>
                    </a:cubicBezTo>
                    <a:close/>
                    <a:moveTo>
                      <a:pt x="958" y="369"/>
                    </a:moveTo>
                    <a:cubicBezTo>
                      <a:pt x="951" y="369"/>
                      <a:pt x="946" y="375"/>
                      <a:pt x="946" y="381"/>
                    </a:cubicBezTo>
                    <a:cubicBezTo>
                      <a:pt x="946" y="388"/>
                      <a:pt x="951" y="393"/>
                      <a:pt x="958" y="393"/>
                    </a:cubicBezTo>
                    <a:cubicBezTo>
                      <a:pt x="965" y="393"/>
                      <a:pt x="970" y="388"/>
                      <a:pt x="970" y="381"/>
                    </a:cubicBezTo>
                    <a:cubicBezTo>
                      <a:pt x="970" y="375"/>
                      <a:pt x="965" y="369"/>
                      <a:pt x="958" y="369"/>
                    </a:cubicBezTo>
                    <a:close/>
                    <a:moveTo>
                      <a:pt x="958" y="400"/>
                    </a:moveTo>
                    <a:cubicBezTo>
                      <a:pt x="951" y="400"/>
                      <a:pt x="946" y="405"/>
                      <a:pt x="946" y="412"/>
                    </a:cubicBezTo>
                    <a:cubicBezTo>
                      <a:pt x="946" y="419"/>
                      <a:pt x="951" y="424"/>
                      <a:pt x="958" y="424"/>
                    </a:cubicBezTo>
                    <a:cubicBezTo>
                      <a:pt x="965" y="424"/>
                      <a:pt x="970" y="419"/>
                      <a:pt x="970" y="412"/>
                    </a:cubicBezTo>
                    <a:cubicBezTo>
                      <a:pt x="970" y="405"/>
                      <a:pt x="965" y="400"/>
                      <a:pt x="958" y="400"/>
                    </a:cubicBezTo>
                    <a:close/>
                    <a:moveTo>
                      <a:pt x="993" y="615"/>
                    </a:moveTo>
                    <a:cubicBezTo>
                      <a:pt x="986" y="615"/>
                      <a:pt x="981" y="620"/>
                      <a:pt x="981" y="627"/>
                    </a:cubicBezTo>
                    <a:cubicBezTo>
                      <a:pt x="981" y="634"/>
                      <a:pt x="986" y="639"/>
                      <a:pt x="993" y="639"/>
                    </a:cubicBezTo>
                    <a:cubicBezTo>
                      <a:pt x="1000" y="639"/>
                      <a:pt x="1005" y="634"/>
                      <a:pt x="1005" y="627"/>
                    </a:cubicBezTo>
                    <a:cubicBezTo>
                      <a:pt x="1005" y="620"/>
                      <a:pt x="1000" y="615"/>
                      <a:pt x="993" y="615"/>
                    </a:cubicBezTo>
                    <a:close/>
                    <a:moveTo>
                      <a:pt x="993" y="92"/>
                    </a:moveTo>
                    <a:cubicBezTo>
                      <a:pt x="986" y="92"/>
                      <a:pt x="981" y="98"/>
                      <a:pt x="981" y="105"/>
                    </a:cubicBezTo>
                    <a:cubicBezTo>
                      <a:pt x="981" y="111"/>
                      <a:pt x="986" y="117"/>
                      <a:pt x="993" y="117"/>
                    </a:cubicBezTo>
                    <a:cubicBezTo>
                      <a:pt x="1000" y="117"/>
                      <a:pt x="1005" y="111"/>
                      <a:pt x="1005" y="105"/>
                    </a:cubicBezTo>
                    <a:cubicBezTo>
                      <a:pt x="1005" y="98"/>
                      <a:pt x="1000" y="92"/>
                      <a:pt x="993" y="92"/>
                    </a:cubicBezTo>
                    <a:close/>
                    <a:moveTo>
                      <a:pt x="993" y="62"/>
                    </a:moveTo>
                    <a:cubicBezTo>
                      <a:pt x="986" y="62"/>
                      <a:pt x="981" y="67"/>
                      <a:pt x="981" y="74"/>
                    </a:cubicBezTo>
                    <a:cubicBezTo>
                      <a:pt x="981" y="81"/>
                      <a:pt x="986" y="86"/>
                      <a:pt x="993" y="86"/>
                    </a:cubicBezTo>
                    <a:cubicBezTo>
                      <a:pt x="1000" y="86"/>
                      <a:pt x="1005" y="81"/>
                      <a:pt x="1005" y="74"/>
                    </a:cubicBezTo>
                    <a:cubicBezTo>
                      <a:pt x="1005" y="67"/>
                      <a:pt x="1000" y="62"/>
                      <a:pt x="993" y="62"/>
                    </a:cubicBezTo>
                    <a:close/>
                    <a:moveTo>
                      <a:pt x="1028" y="707"/>
                    </a:moveTo>
                    <a:cubicBezTo>
                      <a:pt x="1021" y="707"/>
                      <a:pt x="1016" y="713"/>
                      <a:pt x="1016" y="719"/>
                    </a:cubicBezTo>
                    <a:cubicBezTo>
                      <a:pt x="1016" y="726"/>
                      <a:pt x="1021" y="732"/>
                      <a:pt x="1028" y="732"/>
                    </a:cubicBezTo>
                    <a:cubicBezTo>
                      <a:pt x="1035" y="732"/>
                      <a:pt x="1040" y="726"/>
                      <a:pt x="1040" y="719"/>
                    </a:cubicBezTo>
                    <a:cubicBezTo>
                      <a:pt x="1040" y="713"/>
                      <a:pt x="1035" y="707"/>
                      <a:pt x="1028" y="707"/>
                    </a:cubicBezTo>
                    <a:close/>
                    <a:moveTo>
                      <a:pt x="1028" y="646"/>
                    </a:moveTo>
                    <a:cubicBezTo>
                      <a:pt x="1021" y="646"/>
                      <a:pt x="1016" y="651"/>
                      <a:pt x="1016" y="658"/>
                    </a:cubicBezTo>
                    <a:cubicBezTo>
                      <a:pt x="1016" y="665"/>
                      <a:pt x="1021" y="670"/>
                      <a:pt x="1028" y="670"/>
                    </a:cubicBezTo>
                    <a:cubicBezTo>
                      <a:pt x="1035" y="670"/>
                      <a:pt x="1040" y="665"/>
                      <a:pt x="1040" y="658"/>
                    </a:cubicBezTo>
                    <a:cubicBezTo>
                      <a:pt x="1040" y="651"/>
                      <a:pt x="1035" y="646"/>
                      <a:pt x="1028" y="646"/>
                    </a:cubicBezTo>
                    <a:close/>
                    <a:moveTo>
                      <a:pt x="1028" y="677"/>
                    </a:moveTo>
                    <a:cubicBezTo>
                      <a:pt x="1021" y="677"/>
                      <a:pt x="1016" y="682"/>
                      <a:pt x="1016" y="689"/>
                    </a:cubicBezTo>
                    <a:cubicBezTo>
                      <a:pt x="1016" y="695"/>
                      <a:pt x="1021" y="701"/>
                      <a:pt x="1028" y="701"/>
                    </a:cubicBezTo>
                    <a:cubicBezTo>
                      <a:pt x="1035" y="701"/>
                      <a:pt x="1040" y="695"/>
                      <a:pt x="1040" y="689"/>
                    </a:cubicBezTo>
                    <a:cubicBezTo>
                      <a:pt x="1040" y="682"/>
                      <a:pt x="1035" y="677"/>
                      <a:pt x="1028" y="677"/>
                    </a:cubicBezTo>
                    <a:close/>
                    <a:moveTo>
                      <a:pt x="1028" y="800"/>
                    </a:moveTo>
                    <a:cubicBezTo>
                      <a:pt x="1021" y="800"/>
                      <a:pt x="1016" y="805"/>
                      <a:pt x="1016" y="812"/>
                    </a:cubicBezTo>
                    <a:cubicBezTo>
                      <a:pt x="1016" y="818"/>
                      <a:pt x="1021" y="824"/>
                      <a:pt x="1028" y="824"/>
                    </a:cubicBezTo>
                    <a:cubicBezTo>
                      <a:pt x="1035" y="824"/>
                      <a:pt x="1040" y="818"/>
                      <a:pt x="1040" y="812"/>
                    </a:cubicBezTo>
                    <a:cubicBezTo>
                      <a:pt x="1040" y="805"/>
                      <a:pt x="1035" y="800"/>
                      <a:pt x="1028" y="800"/>
                    </a:cubicBezTo>
                    <a:close/>
                    <a:moveTo>
                      <a:pt x="993" y="523"/>
                    </a:moveTo>
                    <a:cubicBezTo>
                      <a:pt x="986" y="523"/>
                      <a:pt x="981" y="528"/>
                      <a:pt x="981" y="535"/>
                    </a:cubicBezTo>
                    <a:cubicBezTo>
                      <a:pt x="981" y="542"/>
                      <a:pt x="986" y="547"/>
                      <a:pt x="993" y="547"/>
                    </a:cubicBezTo>
                    <a:cubicBezTo>
                      <a:pt x="1000" y="547"/>
                      <a:pt x="1005" y="542"/>
                      <a:pt x="1005" y="535"/>
                    </a:cubicBezTo>
                    <a:cubicBezTo>
                      <a:pt x="1005" y="528"/>
                      <a:pt x="1000" y="523"/>
                      <a:pt x="993" y="523"/>
                    </a:cubicBezTo>
                    <a:close/>
                    <a:moveTo>
                      <a:pt x="993" y="123"/>
                    </a:moveTo>
                    <a:cubicBezTo>
                      <a:pt x="986" y="123"/>
                      <a:pt x="981" y="129"/>
                      <a:pt x="981" y="135"/>
                    </a:cubicBezTo>
                    <a:cubicBezTo>
                      <a:pt x="981" y="142"/>
                      <a:pt x="986" y="148"/>
                      <a:pt x="993" y="148"/>
                    </a:cubicBezTo>
                    <a:cubicBezTo>
                      <a:pt x="1000" y="148"/>
                      <a:pt x="1005" y="142"/>
                      <a:pt x="1005" y="135"/>
                    </a:cubicBezTo>
                    <a:cubicBezTo>
                      <a:pt x="1005" y="129"/>
                      <a:pt x="1000" y="123"/>
                      <a:pt x="993" y="123"/>
                    </a:cubicBezTo>
                    <a:close/>
                    <a:moveTo>
                      <a:pt x="993" y="431"/>
                    </a:moveTo>
                    <a:cubicBezTo>
                      <a:pt x="986" y="431"/>
                      <a:pt x="981" y="436"/>
                      <a:pt x="981" y="443"/>
                    </a:cubicBezTo>
                    <a:cubicBezTo>
                      <a:pt x="981" y="449"/>
                      <a:pt x="986" y="455"/>
                      <a:pt x="993" y="455"/>
                    </a:cubicBezTo>
                    <a:cubicBezTo>
                      <a:pt x="1000" y="455"/>
                      <a:pt x="1005" y="449"/>
                      <a:pt x="1005" y="443"/>
                    </a:cubicBezTo>
                    <a:cubicBezTo>
                      <a:pt x="1005" y="436"/>
                      <a:pt x="1000" y="431"/>
                      <a:pt x="993" y="431"/>
                    </a:cubicBezTo>
                    <a:close/>
                    <a:moveTo>
                      <a:pt x="993" y="461"/>
                    </a:moveTo>
                    <a:cubicBezTo>
                      <a:pt x="986" y="461"/>
                      <a:pt x="981" y="467"/>
                      <a:pt x="981" y="474"/>
                    </a:cubicBezTo>
                    <a:cubicBezTo>
                      <a:pt x="981" y="480"/>
                      <a:pt x="986" y="486"/>
                      <a:pt x="993" y="486"/>
                    </a:cubicBezTo>
                    <a:cubicBezTo>
                      <a:pt x="1000" y="486"/>
                      <a:pt x="1005" y="480"/>
                      <a:pt x="1005" y="474"/>
                    </a:cubicBezTo>
                    <a:cubicBezTo>
                      <a:pt x="1005" y="467"/>
                      <a:pt x="1000" y="461"/>
                      <a:pt x="993" y="461"/>
                    </a:cubicBezTo>
                    <a:close/>
                    <a:moveTo>
                      <a:pt x="993" y="492"/>
                    </a:moveTo>
                    <a:cubicBezTo>
                      <a:pt x="986" y="492"/>
                      <a:pt x="981" y="498"/>
                      <a:pt x="981" y="504"/>
                    </a:cubicBezTo>
                    <a:cubicBezTo>
                      <a:pt x="981" y="511"/>
                      <a:pt x="986" y="516"/>
                      <a:pt x="993" y="516"/>
                    </a:cubicBezTo>
                    <a:cubicBezTo>
                      <a:pt x="1000" y="516"/>
                      <a:pt x="1005" y="511"/>
                      <a:pt x="1005" y="504"/>
                    </a:cubicBezTo>
                    <a:cubicBezTo>
                      <a:pt x="1005" y="498"/>
                      <a:pt x="1000" y="492"/>
                      <a:pt x="993" y="492"/>
                    </a:cubicBezTo>
                    <a:close/>
                    <a:moveTo>
                      <a:pt x="993" y="400"/>
                    </a:moveTo>
                    <a:cubicBezTo>
                      <a:pt x="986" y="400"/>
                      <a:pt x="981" y="405"/>
                      <a:pt x="981" y="412"/>
                    </a:cubicBezTo>
                    <a:cubicBezTo>
                      <a:pt x="981" y="419"/>
                      <a:pt x="986" y="424"/>
                      <a:pt x="993" y="424"/>
                    </a:cubicBezTo>
                    <a:cubicBezTo>
                      <a:pt x="1000" y="424"/>
                      <a:pt x="1005" y="419"/>
                      <a:pt x="1005" y="412"/>
                    </a:cubicBezTo>
                    <a:cubicBezTo>
                      <a:pt x="1005" y="405"/>
                      <a:pt x="1000" y="400"/>
                      <a:pt x="993" y="400"/>
                    </a:cubicBezTo>
                    <a:close/>
                    <a:moveTo>
                      <a:pt x="993" y="185"/>
                    </a:moveTo>
                    <a:cubicBezTo>
                      <a:pt x="986" y="185"/>
                      <a:pt x="981" y="190"/>
                      <a:pt x="981" y="197"/>
                    </a:cubicBezTo>
                    <a:cubicBezTo>
                      <a:pt x="981" y="204"/>
                      <a:pt x="986" y="209"/>
                      <a:pt x="993" y="209"/>
                    </a:cubicBezTo>
                    <a:cubicBezTo>
                      <a:pt x="1000" y="209"/>
                      <a:pt x="1005" y="204"/>
                      <a:pt x="1005" y="197"/>
                    </a:cubicBezTo>
                    <a:cubicBezTo>
                      <a:pt x="1005" y="190"/>
                      <a:pt x="1000" y="185"/>
                      <a:pt x="993" y="185"/>
                    </a:cubicBezTo>
                    <a:close/>
                    <a:moveTo>
                      <a:pt x="993" y="308"/>
                    </a:moveTo>
                    <a:cubicBezTo>
                      <a:pt x="986" y="308"/>
                      <a:pt x="981" y="313"/>
                      <a:pt x="981" y="320"/>
                    </a:cubicBezTo>
                    <a:cubicBezTo>
                      <a:pt x="981" y="327"/>
                      <a:pt x="986" y="332"/>
                      <a:pt x="993" y="332"/>
                    </a:cubicBezTo>
                    <a:cubicBezTo>
                      <a:pt x="1000" y="332"/>
                      <a:pt x="1005" y="327"/>
                      <a:pt x="1005" y="320"/>
                    </a:cubicBezTo>
                    <a:cubicBezTo>
                      <a:pt x="1005" y="313"/>
                      <a:pt x="1000" y="308"/>
                      <a:pt x="993" y="308"/>
                    </a:cubicBezTo>
                    <a:close/>
                    <a:moveTo>
                      <a:pt x="993" y="369"/>
                    </a:moveTo>
                    <a:cubicBezTo>
                      <a:pt x="986" y="369"/>
                      <a:pt x="981" y="375"/>
                      <a:pt x="981" y="381"/>
                    </a:cubicBezTo>
                    <a:cubicBezTo>
                      <a:pt x="981" y="388"/>
                      <a:pt x="986" y="393"/>
                      <a:pt x="993" y="393"/>
                    </a:cubicBezTo>
                    <a:cubicBezTo>
                      <a:pt x="1000" y="393"/>
                      <a:pt x="1005" y="388"/>
                      <a:pt x="1005" y="381"/>
                    </a:cubicBezTo>
                    <a:cubicBezTo>
                      <a:pt x="1005" y="375"/>
                      <a:pt x="1000" y="369"/>
                      <a:pt x="993" y="369"/>
                    </a:cubicBezTo>
                    <a:close/>
                    <a:moveTo>
                      <a:pt x="993" y="154"/>
                    </a:moveTo>
                    <a:cubicBezTo>
                      <a:pt x="986" y="154"/>
                      <a:pt x="981" y="159"/>
                      <a:pt x="981" y="166"/>
                    </a:cubicBezTo>
                    <a:cubicBezTo>
                      <a:pt x="981" y="173"/>
                      <a:pt x="986" y="178"/>
                      <a:pt x="993" y="178"/>
                    </a:cubicBezTo>
                    <a:cubicBezTo>
                      <a:pt x="1000" y="178"/>
                      <a:pt x="1005" y="173"/>
                      <a:pt x="1005" y="166"/>
                    </a:cubicBezTo>
                    <a:cubicBezTo>
                      <a:pt x="1005" y="159"/>
                      <a:pt x="1000" y="154"/>
                      <a:pt x="993" y="154"/>
                    </a:cubicBezTo>
                    <a:close/>
                    <a:moveTo>
                      <a:pt x="993" y="338"/>
                    </a:moveTo>
                    <a:cubicBezTo>
                      <a:pt x="986" y="338"/>
                      <a:pt x="981" y="344"/>
                      <a:pt x="981" y="351"/>
                    </a:cubicBezTo>
                    <a:cubicBezTo>
                      <a:pt x="981" y="357"/>
                      <a:pt x="986" y="363"/>
                      <a:pt x="993" y="363"/>
                    </a:cubicBezTo>
                    <a:cubicBezTo>
                      <a:pt x="1000" y="363"/>
                      <a:pt x="1005" y="357"/>
                      <a:pt x="1005" y="351"/>
                    </a:cubicBezTo>
                    <a:cubicBezTo>
                      <a:pt x="1005" y="344"/>
                      <a:pt x="1000" y="338"/>
                      <a:pt x="993" y="338"/>
                    </a:cubicBezTo>
                    <a:close/>
                    <a:moveTo>
                      <a:pt x="923" y="523"/>
                    </a:moveTo>
                    <a:cubicBezTo>
                      <a:pt x="916" y="523"/>
                      <a:pt x="911" y="528"/>
                      <a:pt x="911" y="535"/>
                    </a:cubicBezTo>
                    <a:cubicBezTo>
                      <a:pt x="911" y="542"/>
                      <a:pt x="916" y="547"/>
                      <a:pt x="923" y="547"/>
                    </a:cubicBezTo>
                    <a:cubicBezTo>
                      <a:pt x="930" y="547"/>
                      <a:pt x="935" y="542"/>
                      <a:pt x="935" y="535"/>
                    </a:cubicBezTo>
                    <a:cubicBezTo>
                      <a:pt x="935" y="528"/>
                      <a:pt x="930" y="523"/>
                      <a:pt x="923" y="523"/>
                    </a:cubicBezTo>
                    <a:close/>
                    <a:moveTo>
                      <a:pt x="888" y="215"/>
                    </a:moveTo>
                    <a:cubicBezTo>
                      <a:pt x="881" y="215"/>
                      <a:pt x="876" y="221"/>
                      <a:pt x="876" y="228"/>
                    </a:cubicBezTo>
                    <a:cubicBezTo>
                      <a:pt x="876" y="234"/>
                      <a:pt x="881" y="240"/>
                      <a:pt x="888" y="240"/>
                    </a:cubicBezTo>
                    <a:cubicBezTo>
                      <a:pt x="895" y="240"/>
                      <a:pt x="900" y="234"/>
                      <a:pt x="900" y="228"/>
                    </a:cubicBezTo>
                    <a:cubicBezTo>
                      <a:pt x="900" y="221"/>
                      <a:pt x="895" y="215"/>
                      <a:pt x="888" y="215"/>
                    </a:cubicBezTo>
                    <a:close/>
                    <a:moveTo>
                      <a:pt x="888" y="185"/>
                    </a:moveTo>
                    <a:cubicBezTo>
                      <a:pt x="881" y="185"/>
                      <a:pt x="876" y="190"/>
                      <a:pt x="876" y="197"/>
                    </a:cubicBezTo>
                    <a:cubicBezTo>
                      <a:pt x="876" y="204"/>
                      <a:pt x="881" y="209"/>
                      <a:pt x="888" y="209"/>
                    </a:cubicBezTo>
                    <a:cubicBezTo>
                      <a:pt x="895" y="209"/>
                      <a:pt x="900" y="204"/>
                      <a:pt x="900" y="197"/>
                    </a:cubicBezTo>
                    <a:cubicBezTo>
                      <a:pt x="900" y="190"/>
                      <a:pt x="895" y="185"/>
                      <a:pt x="888" y="185"/>
                    </a:cubicBezTo>
                    <a:close/>
                    <a:moveTo>
                      <a:pt x="888" y="154"/>
                    </a:moveTo>
                    <a:cubicBezTo>
                      <a:pt x="881" y="154"/>
                      <a:pt x="876" y="159"/>
                      <a:pt x="876" y="166"/>
                    </a:cubicBezTo>
                    <a:cubicBezTo>
                      <a:pt x="876" y="173"/>
                      <a:pt x="881" y="178"/>
                      <a:pt x="888" y="178"/>
                    </a:cubicBezTo>
                    <a:cubicBezTo>
                      <a:pt x="895" y="178"/>
                      <a:pt x="900" y="173"/>
                      <a:pt x="900" y="166"/>
                    </a:cubicBezTo>
                    <a:cubicBezTo>
                      <a:pt x="900" y="159"/>
                      <a:pt x="895" y="154"/>
                      <a:pt x="888" y="154"/>
                    </a:cubicBezTo>
                    <a:close/>
                    <a:moveTo>
                      <a:pt x="888" y="123"/>
                    </a:moveTo>
                    <a:cubicBezTo>
                      <a:pt x="881" y="123"/>
                      <a:pt x="876" y="129"/>
                      <a:pt x="876" y="135"/>
                    </a:cubicBezTo>
                    <a:cubicBezTo>
                      <a:pt x="876" y="142"/>
                      <a:pt x="881" y="148"/>
                      <a:pt x="888" y="148"/>
                    </a:cubicBezTo>
                    <a:cubicBezTo>
                      <a:pt x="895" y="148"/>
                      <a:pt x="900" y="142"/>
                      <a:pt x="900" y="135"/>
                    </a:cubicBezTo>
                    <a:cubicBezTo>
                      <a:pt x="900" y="129"/>
                      <a:pt x="895" y="123"/>
                      <a:pt x="888" y="123"/>
                    </a:cubicBezTo>
                    <a:close/>
                    <a:moveTo>
                      <a:pt x="923" y="646"/>
                    </a:moveTo>
                    <a:cubicBezTo>
                      <a:pt x="916" y="646"/>
                      <a:pt x="911" y="651"/>
                      <a:pt x="911" y="658"/>
                    </a:cubicBezTo>
                    <a:cubicBezTo>
                      <a:pt x="911" y="665"/>
                      <a:pt x="916" y="670"/>
                      <a:pt x="923" y="670"/>
                    </a:cubicBezTo>
                    <a:cubicBezTo>
                      <a:pt x="930" y="670"/>
                      <a:pt x="935" y="665"/>
                      <a:pt x="935" y="658"/>
                    </a:cubicBezTo>
                    <a:cubicBezTo>
                      <a:pt x="935" y="651"/>
                      <a:pt x="930" y="646"/>
                      <a:pt x="923" y="646"/>
                    </a:cubicBezTo>
                    <a:close/>
                    <a:moveTo>
                      <a:pt x="923" y="615"/>
                    </a:moveTo>
                    <a:cubicBezTo>
                      <a:pt x="916" y="615"/>
                      <a:pt x="911" y="620"/>
                      <a:pt x="911" y="627"/>
                    </a:cubicBezTo>
                    <a:cubicBezTo>
                      <a:pt x="911" y="634"/>
                      <a:pt x="916" y="639"/>
                      <a:pt x="923" y="639"/>
                    </a:cubicBezTo>
                    <a:cubicBezTo>
                      <a:pt x="930" y="639"/>
                      <a:pt x="935" y="634"/>
                      <a:pt x="935" y="627"/>
                    </a:cubicBezTo>
                    <a:cubicBezTo>
                      <a:pt x="935" y="620"/>
                      <a:pt x="930" y="615"/>
                      <a:pt x="923" y="615"/>
                    </a:cubicBezTo>
                    <a:close/>
                    <a:moveTo>
                      <a:pt x="923" y="677"/>
                    </a:moveTo>
                    <a:cubicBezTo>
                      <a:pt x="916" y="677"/>
                      <a:pt x="911" y="682"/>
                      <a:pt x="911" y="689"/>
                    </a:cubicBezTo>
                    <a:cubicBezTo>
                      <a:pt x="911" y="695"/>
                      <a:pt x="916" y="701"/>
                      <a:pt x="923" y="701"/>
                    </a:cubicBezTo>
                    <a:cubicBezTo>
                      <a:pt x="930" y="701"/>
                      <a:pt x="935" y="695"/>
                      <a:pt x="935" y="689"/>
                    </a:cubicBezTo>
                    <a:cubicBezTo>
                      <a:pt x="935" y="682"/>
                      <a:pt x="930" y="677"/>
                      <a:pt x="923" y="677"/>
                    </a:cubicBezTo>
                    <a:close/>
                    <a:moveTo>
                      <a:pt x="923" y="707"/>
                    </a:moveTo>
                    <a:cubicBezTo>
                      <a:pt x="916" y="707"/>
                      <a:pt x="911" y="713"/>
                      <a:pt x="911" y="719"/>
                    </a:cubicBezTo>
                    <a:cubicBezTo>
                      <a:pt x="911" y="726"/>
                      <a:pt x="916" y="732"/>
                      <a:pt x="923" y="732"/>
                    </a:cubicBezTo>
                    <a:cubicBezTo>
                      <a:pt x="930" y="732"/>
                      <a:pt x="935" y="726"/>
                      <a:pt x="935" y="719"/>
                    </a:cubicBezTo>
                    <a:cubicBezTo>
                      <a:pt x="935" y="713"/>
                      <a:pt x="930" y="707"/>
                      <a:pt x="923" y="707"/>
                    </a:cubicBezTo>
                    <a:close/>
                    <a:moveTo>
                      <a:pt x="888" y="338"/>
                    </a:moveTo>
                    <a:cubicBezTo>
                      <a:pt x="881" y="338"/>
                      <a:pt x="876" y="344"/>
                      <a:pt x="876" y="351"/>
                    </a:cubicBezTo>
                    <a:cubicBezTo>
                      <a:pt x="876" y="357"/>
                      <a:pt x="881" y="363"/>
                      <a:pt x="888" y="363"/>
                    </a:cubicBezTo>
                    <a:cubicBezTo>
                      <a:pt x="895" y="363"/>
                      <a:pt x="900" y="357"/>
                      <a:pt x="900" y="351"/>
                    </a:cubicBezTo>
                    <a:cubicBezTo>
                      <a:pt x="900" y="344"/>
                      <a:pt x="895" y="338"/>
                      <a:pt x="888" y="338"/>
                    </a:cubicBezTo>
                    <a:close/>
                    <a:moveTo>
                      <a:pt x="888" y="400"/>
                    </a:moveTo>
                    <a:cubicBezTo>
                      <a:pt x="881" y="400"/>
                      <a:pt x="876" y="405"/>
                      <a:pt x="876" y="412"/>
                    </a:cubicBezTo>
                    <a:cubicBezTo>
                      <a:pt x="876" y="419"/>
                      <a:pt x="881" y="424"/>
                      <a:pt x="888" y="424"/>
                    </a:cubicBezTo>
                    <a:cubicBezTo>
                      <a:pt x="895" y="424"/>
                      <a:pt x="900" y="419"/>
                      <a:pt x="900" y="412"/>
                    </a:cubicBezTo>
                    <a:cubicBezTo>
                      <a:pt x="900" y="405"/>
                      <a:pt x="895" y="400"/>
                      <a:pt x="888" y="400"/>
                    </a:cubicBezTo>
                    <a:close/>
                    <a:moveTo>
                      <a:pt x="888" y="431"/>
                    </a:moveTo>
                    <a:cubicBezTo>
                      <a:pt x="881" y="431"/>
                      <a:pt x="876" y="436"/>
                      <a:pt x="876" y="443"/>
                    </a:cubicBezTo>
                    <a:cubicBezTo>
                      <a:pt x="876" y="449"/>
                      <a:pt x="881" y="455"/>
                      <a:pt x="888" y="455"/>
                    </a:cubicBezTo>
                    <a:cubicBezTo>
                      <a:pt x="895" y="455"/>
                      <a:pt x="900" y="449"/>
                      <a:pt x="900" y="443"/>
                    </a:cubicBezTo>
                    <a:cubicBezTo>
                      <a:pt x="900" y="436"/>
                      <a:pt x="895" y="431"/>
                      <a:pt x="888" y="431"/>
                    </a:cubicBezTo>
                    <a:close/>
                    <a:moveTo>
                      <a:pt x="888" y="461"/>
                    </a:moveTo>
                    <a:cubicBezTo>
                      <a:pt x="881" y="461"/>
                      <a:pt x="876" y="467"/>
                      <a:pt x="876" y="474"/>
                    </a:cubicBezTo>
                    <a:cubicBezTo>
                      <a:pt x="876" y="480"/>
                      <a:pt x="881" y="486"/>
                      <a:pt x="888" y="486"/>
                    </a:cubicBezTo>
                    <a:cubicBezTo>
                      <a:pt x="895" y="486"/>
                      <a:pt x="900" y="480"/>
                      <a:pt x="900" y="474"/>
                    </a:cubicBezTo>
                    <a:cubicBezTo>
                      <a:pt x="900" y="467"/>
                      <a:pt x="895" y="461"/>
                      <a:pt x="888" y="461"/>
                    </a:cubicBezTo>
                    <a:close/>
                    <a:moveTo>
                      <a:pt x="888" y="492"/>
                    </a:moveTo>
                    <a:cubicBezTo>
                      <a:pt x="881" y="492"/>
                      <a:pt x="876" y="498"/>
                      <a:pt x="876" y="504"/>
                    </a:cubicBezTo>
                    <a:cubicBezTo>
                      <a:pt x="876" y="511"/>
                      <a:pt x="881" y="516"/>
                      <a:pt x="888" y="516"/>
                    </a:cubicBezTo>
                    <a:cubicBezTo>
                      <a:pt x="895" y="516"/>
                      <a:pt x="900" y="511"/>
                      <a:pt x="900" y="504"/>
                    </a:cubicBezTo>
                    <a:cubicBezTo>
                      <a:pt x="900" y="498"/>
                      <a:pt x="895" y="492"/>
                      <a:pt x="888" y="492"/>
                    </a:cubicBezTo>
                    <a:close/>
                    <a:moveTo>
                      <a:pt x="888" y="246"/>
                    </a:moveTo>
                    <a:cubicBezTo>
                      <a:pt x="881" y="246"/>
                      <a:pt x="876" y="252"/>
                      <a:pt x="876" y="258"/>
                    </a:cubicBezTo>
                    <a:cubicBezTo>
                      <a:pt x="876" y="265"/>
                      <a:pt x="881" y="270"/>
                      <a:pt x="888" y="270"/>
                    </a:cubicBezTo>
                    <a:cubicBezTo>
                      <a:pt x="895" y="270"/>
                      <a:pt x="900" y="265"/>
                      <a:pt x="900" y="258"/>
                    </a:cubicBezTo>
                    <a:cubicBezTo>
                      <a:pt x="900" y="252"/>
                      <a:pt x="895" y="246"/>
                      <a:pt x="888" y="246"/>
                    </a:cubicBezTo>
                    <a:close/>
                    <a:moveTo>
                      <a:pt x="888" y="277"/>
                    </a:moveTo>
                    <a:cubicBezTo>
                      <a:pt x="881" y="277"/>
                      <a:pt x="876" y="282"/>
                      <a:pt x="876" y="289"/>
                    </a:cubicBezTo>
                    <a:cubicBezTo>
                      <a:pt x="876" y="296"/>
                      <a:pt x="881" y="301"/>
                      <a:pt x="888" y="301"/>
                    </a:cubicBezTo>
                    <a:cubicBezTo>
                      <a:pt x="895" y="301"/>
                      <a:pt x="900" y="296"/>
                      <a:pt x="900" y="289"/>
                    </a:cubicBezTo>
                    <a:cubicBezTo>
                      <a:pt x="900" y="282"/>
                      <a:pt x="895" y="277"/>
                      <a:pt x="888" y="277"/>
                    </a:cubicBezTo>
                    <a:close/>
                    <a:moveTo>
                      <a:pt x="888" y="369"/>
                    </a:moveTo>
                    <a:cubicBezTo>
                      <a:pt x="881" y="369"/>
                      <a:pt x="876" y="375"/>
                      <a:pt x="876" y="381"/>
                    </a:cubicBezTo>
                    <a:cubicBezTo>
                      <a:pt x="876" y="388"/>
                      <a:pt x="881" y="393"/>
                      <a:pt x="888" y="393"/>
                    </a:cubicBezTo>
                    <a:cubicBezTo>
                      <a:pt x="895" y="393"/>
                      <a:pt x="900" y="388"/>
                      <a:pt x="900" y="381"/>
                    </a:cubicBezTo>
                    <a:cubicBezTo>
                      <a:pt x="900" y="375"/>
                      <a:pt x="895" y="369"/>
                      <a:pt x="888" y="369"/>
                    </a:cubicBezTo>
                    <a:close/>
                    <a:moveTo>
                      <a:pt x="888" y="308"/>
                    </a:moveTo>
                    <a:cubicBezTo>
                      <a:pt x="881" y="308"/>
                      <a:pt x="876" y="313"/>
                      <a:pt x="876" y="320"/>
                    </a:cubicBezTo>
                    <a:cubicBezTo>
                      <a:pt x="876" y="327"/>
                      <a:pt x="881" y="332"/>
                      <a:pt x="888" y="332"/>
                    </a:cubicBezTo>
                    <a:cubicBezTo>
                      <a:pt x="895" y="332"/>
                      <a:pt x="900" y="327"/>
                      <a:pt x="900" y="320"/>
                    </a:cubicBezTo>
                    <a:cubicBezTo>
                      <a:pt x="900" y="313"/>
                      <a:pt x="895" y="308"/>
                      <a:pt x="888" y="308"/>
                    </a:cubicBezTo>
                    <a:close/>
                    <a:moveTo>
                      <a:pt x="923" y="584"/>
                    </a:moveTo>
                    <a:cubicBezTo>
                      <a:pt x="916" y="584"/>
                      <a:pt x="911" y="590"/>
                      <a:pt x="911" y="596"/>
                    </a:cubicBezTo>
                    <a:cubicBezTo>
                      <a:pt x="911" y="603"/>
                      <a:pt x="916" y="609"/>
                      <a:pt x="923" y="609"/>
                    </a:cubicBezTo>
                    <a:cubicBezTo>
                      <a:pt x="930" y="609"/>
                      <a:pt x="935" y="603"/>
                      <a:pt x="935" y="596"/>
                    </a:cubicBezTo>
                    <a:cubicBezTo>
                      <a:pt x="935" y="590"/>
                      <a:pt x="930" y="584"/>
                      <a:pt x="923" y="584"/>
                    </a:cubicBezTo>
                    <a:close/>
                    <a:moveTo>
                      <a:pt x="923" y="92"/>
                    </a:moveTo>
                    <a:cubicBezTo>
                      <a:pt x="916" y="92"/>
                      <a:pt x="911" y="98"/>
                      <a:pt x="911" y="105"/>
                    </a:cubicBezTo>
                    <a:cubicBezTo>
                      <a:pt x="911" y="111"/>
                      <a:pt x="916" y="117"/>
                      <a:pt x="923" y="117"/>
                    </a:cubicBezTo>
                    <a:cubicBezTo>
                      <a:pt x="930" y="117"/>
                      <a:pt x="935" y="111"/>
                      <a:pt x="935" y="105"/>
                    </a:cubicBezTo>
                    <a:cubicBezTo>
                      <a:pt x="935" y="98"/>
                      <a:pt x="930" y="92"/>
                      <a:pt x="923" y="92"/>
                    </a:cubicBezTo>
                    <a:close/>
                    <a:moveTo>
                      <a:pt x="923" y="215"/>
                    </a:moveTo>
                    <a:cubicBezTo>
                      <a:pt x="916" y="215"/>
                      <a:pt x="911" y="221"/>
                      <a:pt x="911" y="228"/>
                    </a:cubicBezTo>
                    <a:cubicBezTo>
                      <a:pt x="911" y="234"/>
                      <a:pt x="916" y="240"/>
                      <a:pt x="923" y="240"/>
                    </a:cubicBezTo>
                    <a:cubicBezTo>
                      <a:pt x="930" y="240"/>
                      <a:pt x="935" y="234"/>
                      <a:pt x="935" y="228"/>
                    </a:cubicBezTo>
                    <a:cubicBezTo>
                      <a:pt x="935" y="221"/>
                      <a:pt x="930" y="215"/>
                      <a:pt x="923" y="215"/>
                    </a:cubicBezTo>
                    <a:close/>
                    <a:moveTo>
                      <a:pt x="923" y="154"/>
                    </a:moveTo>
                    <a:cubicBezTo>
                      <a:pt x="916" y="154"/>
                      <a:pt x="911" y="159"/>
                      <a:pt x="911" y="166"/>
                    </a:cubicBezTo>
                    <a:cubicBezTo>
                      <a:pt x="911" y="173"/>
                      <a:pt x="916" y="178"/>
                      <a:pt x="923" y="178"/>
                    </a:cubicBezTo>
                    <a:cubicBezTo>
                      <a:pt x="930" y="178"/>
                      <a:pt x="935" y="173"/>
                      <a:pt x="935" y="166"/>
                    </a:cubicBezTo>
                    <a:cubicBezTo>
                      <a:pt x="935" y="159"/>
                      <a:pt x="930" y="154"/>
                      <a:pt x="923" y="154"/>
                    </a:cubicBezTo>
                    <a:close/>
                    <a:moveTo>
                      <a:pt x="923" y="185"/>
                    </a:moveTo>
                    <a:cubicBezTo>
                      <a:pt x="916" y="185"/>
                      <a:pt x="911" y="190"/>
                      <a:pt x="911" y="197"/>
                    </a:cubicBezTo>
                    <a:cubicBezTo>
                      <a:pt x="911" y="204"/>
                      <a:pt x="916" y="209"/>
                      <a:pt x="923" y="209"/>
                    </a:cubicBezTo>
                    <a:cubicBezTo>
                      <a:pt x="930" y="209"/>
                      <a:pt x="935" y="204"/>
                      <a:pt x="935" y="197"/>
                    </a:cubicBezTo>
                    <a:cubicBezTo>
                      <a:pt x="935" y="190"/>
                      <a:pt x="930" y="185"/>
                      <a:pt x="923" y="185"/>
                    </a:cubicBezTo>
                    <a:close/>
                    <a:moveTo>
                      <a:pt x="958" y="615"/>
                    </a:moveTo>
                    <a:cubicBezTo>
                      <a:pt x="951" y="615"/>
                      <a:pt x="946" y="620"/>
                      <a:pt x="946" y="627"/>
                    </a:cubicBezTo>
                    <a:cubicBezTo>
                      <a:pt x="946" y="634"/>
                      <a:pt x="951" y="639"/>
                      <a:pt x="958" y="639"/>
                    </a:cubicBezTo>
                    <a:cubicBezTo>
                      <a:pt x="965" y="639"/>
                      <a:pt x="970" y="634"/>
                      <a:pt x="970" y="627"/>
                    </a:cubicBezTo>
                    <a:cubicBezTo>
                      <a:pt x="970" y="620"/>
                      <a:pt x="965" y="615"/>
                      <a:pt x="958" y="615"/>
                    </a:cubicBezTo>
                    <a:close/>
                    <a:moveTo>
                      <a:pt x="923" y="123"/>
                    </a:moveTo>
                    <a:cubicBezTo>
                      <a:pt x="916" y="123"/>
                      <a:pt x="911" y="129"/>
                      <a:pt x="911" y="135"/>
                    </a:cubicBezTo>
                    <a:cubicBezTo>
                      <a:pt x="911" y="142"/>
                      <a:pt x="916" y="148"/>
                      <a:pt x="923" y="148"/>
                    </a:cubicBezTo>
                    <a:cubicBezTo>
                      <a:pt x="930" y="148"/>
                      <a:pt x="935" y="142"/>
                      <a:pt x="935" y="135"/>
                    </a:cubicBezTo>
                    <a:cubicBezTo>
                      <a:pt x="935" y="129"/>
                      <a:pt x="930" y="123"/>
                      <a:pt x="923" y="123"/>
                    </a:cubicBezTo>
                    <a:close/>
                    <a:moveTo>
                      <a:pt x="923" y="554"/>
                    </a:moveTo>
                    <a:cubicBezTo>
                      <a:pt x="916" y="554"/>
                      <a:pt x="911" y="559"/>
                      <a:pt x="911" y="566"/>
                    </a:cubicBezTo>
                    <a:cubicBezTo>
                      <a:pt x="911" y="572"/>
                      <a:pt x="916" y="578"/>
                      <a:pt x="923" y="578"/>
                    </a:cubicBezTo>
                    <a:cubicBezTo>
                      <a:pt x="930" y="578"/>
                      <a:pt x="935" y="572"/>
                      <a:pt x="935" y="566"/>
                    </a:cubicBezTo>
                    <a:cubicBezTo>
                      <a:pt x="935" y="559"/>
                      <a:pt x="930" y="554"/>
                      <a:pt x="923" y="554"/>
                    </a:cubicBezTo>
                    <a:close/>
                    <a:moveTo>
                      <a:pt x="958" y="646"/>
                    </a:moveTo>
                    <a:cubicBezTo>
                      <a:pt x="951" y="646"/>
                      <a:pt x="946" y="651"/>
                      <a:pt x="946" y="658"/>
                    </a:cubicBezTo>
                    <a:cubicBezTo>
                      <a:pt x="946" y="665"/>
                      <a:pt x="951" y="670"/>
                      <a:pt x="958" y="670"/>
                    </a:cubicBezTo>
                    <a:cubicBezTo>
                      <a:pt x="965" y="670"/>
                      <a:pt x="970" y="665"/>
                      <a:pt x="970" y="658"/>
                    </a:cubicBezTo>
                    <a:cubicBezTo>
                      <a:pt x="970" y="651"/>
                      <a:pt x="965" y="646"/>
                      <a:pt x="958" y="646"/>
                    </a:cubicBezTo>
                    <a:close/>
                    <a:moveTo>
                      <a:pt x="958" y="707"/>
                    </a:moveTo>
                    <a:cubicBezTo>
                      <a:pt x="951" y="707"/>
                      <a:pt x="946" y="713"/>
                      <a:pt x="946" y="719"/>
                    </a:cubicBezTo>
                    <a:cubicBezTo>
                      <a:pt x="946" y="726"/>
                      <a:pt x="951" y="732"/>
                      <a:pt x="958" y="732"/>
                    </a:cubicBezTo>
                    <a:cubicBezTo>
                      <a:pt x="965" y="732"/>
                      <a:pt x="970" y="726"/>
                      <a:pt x="970" y="719"/>
                    </a:cubicBezTo>
                    <a:cubicBezTo>
                      <a:pt x="970" y="713"/>
                      <a:pt x="965" y="707"/>
                      <a:pt x="958" y="707"/>
                    </a:cubicBezTo>
                    <a:close/>
                    <a:moveTo>
                      <a:pt x="958" y="677"/>
                    </a:moveTo>
                    <a:cubicBezTo>
                      <a:pt x="951" y="677"/>
                      <a:pt x="946" y="682"/>
                      <a:pt x="946" y="689"/>
                    </a:cubicBezTo>
                    <a:cubicBezTo>
                      <a:pt x="946" y="695"/>
                      <a:pt x="951" y="701"/>
                      <a:pt x="958" y="701"/>
                    </a:cubicBezTo>
                    <a:cubicBezTo>
                      <a:pt x="965" y="701"/>
                      <a:pt x="970" y="695"/>
                      <a:pt x="970" y="689"/>
                    </a:cubicBezTo>
                    <a:cubicBezTo>
                      <a:pt x="970" y="682"/>
                      <a:pt x="965" y="677"/>
                      <a:pt x="958" y="677"/>
                    </a:cubicBezTo>
                    <a:close/>
                    <a:moveTo>
                      <a:pt x="923" y="431"/>
                    </a:moveTo>
                    <a:cubicBezTo>
                      <a:pt x="916" y="431"/>
                      <a:pt x="911" y="436"/>
                      <a:pt x="911" y="443"/>
                    </a:cubicBezTo>
                    <a:cubicBezTo>
                      <a:pt x="911" y="449"/>
                      <a:pt x="916" y="455"/>
                      <a:pt x="923" y="455"/>
                    </a:cubicBezTo>
                    <a:cubicBezTo>
                      <a:pt x="930" y="455"/>
                      <a:pt x="935" y="449"/>
                      <a:pt x="935" y="443"/>
                    </a:cubicBezTo>
                    <a:cubicBezTo>
                      <a:pt x="935" y="436"/>
                      <a:pt x="930" y="431"/>
                      <a:pt x="923" y="431"/>
                    </a:cubicBezTo>
                    <a:close/>
                    <a:moveTo>
                      <a:pt x="923" y="461"/>
                    </a:moveTo>
                    <a:cubicBezTo>
                      <a:pt x="916" y="461"/>
                      <a:pt x="911" y="467"/>
                      <a:pt x="911" y="474"/>
                    </a:cubicBezTo>
                    <a:cubicBezTo>
                      <a:pt x="911" y="480"/>
                      <a:pt x="916" y="486"/>
                      <a:pt x="923" y="486"/>
                    </a:cubicBezTo>
                    <a:cubicBezTo>
                      <a:pt x="930" y="486"/>
                      <a:pt x="935" y="480"/>
                      <a:pt x="935" y="474"/>
                    </a:cubicBezTo>
                    <a:cubicBezTo>
                      <a:pt x="935" y="467"/>
                      <a:pt x="930" y="461"/>
                      <a:pt x="923" y="461"/>
                    </a:cubicBezTo>
                    <a:close/>
                    <a:moveTo>
                      <a:pt x="923" y="492"/>
                    </a:moveTo>
                    <a:cubicBezTo>
                      <a:pt x="916" y="492"/>
                      <a:pt x="911" y="498"/>
                      <a:pt x="911" y="504"/>
                    </a:cubicBezTo>
                    <a:cubicBezTo>
                      <a:pt x="911" y="511"/>
                      <a:pt x="916" y="516"/>
                      <a:pt x="923" y="516"/>
                    </a:cubicBezTo>
                    <a:cubicBezTo>
                      <a:pt x="930" y="516"/>
                      <a:pt x="935" y="511"/>
                      <a:pt x="935" y="504"/>
                    </a:cubicBezTo>
                    <a:cubicBezTo>
                      <a:pt x="935" y="498"/>
                      <a:pt x="930" y="492"/>
                      <a:pt x="923" y="492"/>
                    </a:cubicBezTo>
                    <a:close/>
                    <a:moveTo>
                      <a:pt x="1028" y="615"/>
                    </a:moveTo>
                    <a:cubicBezTo>
                      <a:pt x="1021" y="615"/>
                      <a:pt x="1016" y="620"/>
                      <a:pt x="1016" y="627"/>
                    </a:cubicBezTo>
                    <a:cubicBezTo>
                      <a:pt x="1016" y="634"/>
                      <a:pt x="1021" y="639"/>
                      <a:pt x="1028" y="639"/>
                    </a:cubicBezTo>
                    <a:cubicBezTo>
                      <a:pt x="1035" y="639"/>
                      <a:pt x="1040" y="634"/>
                      <a:pt x="1040" y="627"/>
                    </a:cubicBezTo>
                    <a:cubicBezTo>
                      <a:pt x="1040" y="620"/>
                      <a:pt x="1035" y="615"/>
                      <a:pt x="1028" y="615"/>
                    </a:cubicBezTo>
                    <a:close/>
                    <a:moveTo>
                      <a:pt x="923" y="308"/>
                    </a:moveTo>
                    <a:cubicBezTo>
                      <a:pt x="916" y="308"/>
                      <a:pt x="911" y="313"/>
                      <a:pt x="911" y="320"/>
                    </a:cubicBezTo>
                    <a:cubicBezTo>
                      <a:pt x="911" y="327"/>
                      <a:pt x="916" y="332"/>
                      <a:pt x="923" y="332"/>
                    </a:cubicBezTo>
                    <a:cubicBezTo>
                      <a:pt x="930" y="332"/>
                      <a:pt x="935" y="327"/>
                      <a:pt x="935" y="320"/>
                    </a:cubicBezTo>
                    <a:cubicBezTo>
                      <a:pt x="935" y="313"/>
                      <a:pt x="930" y="308"/>
                      <a:pt x="923" y="308"/>
                    </a:cubicBezTo>
                    <a:close/>
                    <a:moveTo>
                      <a:pt x="923" y="277"/>
                    </a:moveTo>
                    <a:cubicBezTo>
                      <a:pt x="916" y="277"/>
                      <a:pt x="911" y="282"/>
                      <a:pt x="911" y="289"/>
                    </a:cubicBezTo>
                    <a:cubicBezTo>
                      <a:pt x="911" y="296"/>
                      <a:pt x="916" y="301"/>
                      <a:pt x="923" y="301"/>
                    </a:cubicBezTo>
                    <a:cubicBezTo>
                      <a:pt x="930" y="301"/>
                      <a:pt x="935" y="296"/>
                      <a:pt x="935" y="289"/>
                    </a:cubicBezTo>
                    <a:cubicBezTo>
                      <a:pt x="935" y="282"/>
                      <a:pt x="930" y="277"/>
                      <a:pt x="923" y="277"/>
                    </a:cubicBezTo>
                    <a:close/>
                    <a:moveTo>
                      <a:pt x="923" y="338"/>
                    </a:moveTo>
                    <a:cubicBezTo>
                      <a:pt x="916" y="338"/>
                      <a:pt x="911" y="344"/>
                      <a:pt x="911" y="351"/>
                    </a:cubicBezTo>
                    <a:cubicBezTo>
                      <a:pt x="911" y="357"/>
                      <a:pt x="916" y="363"/>
                      <a:pt x="923" y="363"/>
                    </a:cubicBezTo>
                    <a:cubicBezTo>
                      <a:pt x="930" y="363"/>
                      <a:pt x="935" y="357"/>
                      <a:pt x="935" y="351"/>
                    </a:cubicBezTo>
                    <a:cubicBezTo>
                      <a:pt x="935" y="344"/>
                      <a:pt x="930" y="338"/>
                      <a:pt x="923" y="338"/>
                    </a:cubicBezTo>
                    <a:close/>
                    <a:moveTo>
                      <a:pt x="923" y="400"/>
                    </a:moveTo>
                    <a:cubicBezTo>
                      <a:pt x="916" y="400"/>
                      <a:pt x="911" y="405"/>
                      <a:pt x="911" y="412"/>
                    </a:cubicBezTo>
                    <a:cubicBezTo>
                      <a:pt x="911" y="419"/>
                      <a:pt x="916" y="424"/>
                      <a:pt x="923" y="424"/>
                    </a:cubicBezTo>
                    <a:cubicBezTo>
                      <a:pt x="930" y="424"/>
                      <a:pt x="935" y="419"/>
                      <a:pt x="935" y="412"/>
                    </a:cubicBezTo>
                    <a:cubicBezTo>
                      <a:pt x="935" y="405"/>
                      <a:pt x="930" y="400"/>
                      <a:pt x="923" y="400"/>
                    </a:cubicBezTo>
                    <a:close/>
                    <a:moveTo>
                      <a:pt x="923" y="369"/>
                    </a:moveTo>
                    <a:cubicBezTo>
                      <a:pt x="916" y="369"/>
                      <a:pt x="911" y="375"/>
                      <a:pt x="911" y="381"/>
                    </a:cubicBezTo>
                    <a:cubicBezTo>
                      <a:pt x="911" y="388"/>
                      <a:pt x="916" y="393"/>
                      <a:pt x="923" y="393"/>
                    </a:cubicBezTo>
                    <a:cubicBezTo>
                      <a:pt x="930" y="393"/>
                      <a:pt x="935" y="388"/>
                      <a:pt x="935" y="381"/>
                    </a:cubicBezTo>
                    <a:cubicBezTo>
                      <a:pt x="935" y="375"/>
                      <a:pt x="930" y="369"/>
                      <a:pt x="923" y="369"/>
                    </a:cubicBezTo>
                    <a:close/>
                    <a:moveTo>
                      <a:pt x="1098" y="646"/>
                    </a:moveTo>
                    <a:cubicBezTo>
                      <a:pt x="1091" y="646"/>
                      <a:pt x="1086" y="651"/>
                      <a:pt x="1086" y="658"/>
                    </a:cubicBezTo>
                    <a:cubicBezTo>
                      <a:pt x="1086" y="665"/>
                      <a:pt x="1091" y="670"/>
                      <a:pt x="1098" y="670"/>
                    </a:cubicBezTo>
                    <a:cubicBezTo>
                      <a:pt x="1105" y="670"/>
                      <a:pt x="1110" y="665"/>
                      <a:pt x="1110" y="658"/>
                    </a:cubicBezTo>
                    <a:cubicBezTo>
                      <a:pt x="1110" y="651"/>
                      <a:pt x="1105" y="646"/>
                      <a:pt x="1098" y="646"/>
                    </a:cubicBezTo>
                    <a:close/>
                    <a:moveTo>
                      <a:pt x="1133" y="615"/>
                    </a:moveTo>
                    <a:cubicBezTo>
                      <a:pt x="1127" y="615"/>
                      <a:pt x="1121" y="620"/>
                      <a:pt x="1121" y="627"/>
                    </a:cubicBezTo>
                    <a:cubicBezTo>
                      <a:pt x="1121" y="634"/>
                      <a:pt x="1127" y="639"/>
                      <a:pt x="1133" y="639"/>
                    </a:cubicBezTo>
                    <a:cubicBezTo>
                      <a:pt x="1140" y="639"/>
                      <a:pt x="1145" y="634"/>
                      <a:pt x="1145" y="627"/>
                    </a:cubicBezTo>
                    <a:cubicBezTo>
                      <a:pt x="1145" y="620"/>
                      <a:pt x="1140" y="615"/>
                      <a:pt x="1133" y="615"/>
                    </a:cubicBezTo>
                    <a:close/>
                    <a:moveTo>
                      <a:pt x="1133" y="584"/>
                    </a:moveTo>
                    <a:cubicBezTo>
                      <a:pt x="1127" y="584"/>
                      <a:pt x="1121" y="590"/>
                      <a:pt x="1121" y="596"/>
                    </a:cubicBezTo>
                    <a:cubicBezTo>
                      <a:pt x="1121" y="603"/>
                      <a:pt x="1127" y="609"/>
                      <a:pt x="1133" y="609"/>
                    </a:cubicBezTo>
                    <a:cubicBezTo>
                      <a:pt x="1140" y="609"/>
                      <a:pt x="1145" y="603"/>
                      <a:pt x="1145" y="596"/>
                    </a:cubicBezTo>
                    <a:cubicBezTo>
                      <a:pt x="1145" y="590"/>
                      <a:pt x="1140" y="584"/>
                      <a:pt x="1133" y="584"/>
                    </a:cubicBezTo>
                    <a:close/>
                    <a:moveTo>
                      <a:pt x="1133" y="492"/>
                    </a:moveTo>
                    <a:cubicBezTo>
                      <a:pt x="1127" y="492"/>
                      <a:pt x="1121" y="498"/>
                      <a:pt x="1121" y="504"/>
                    </a:cubicBezTo>
                    <a:cubicBezTo>
                      <a:pt x="1121" y="511"/>
                      <a:pt x="1127" y="516"/>
                      <a:pt x="1133" y="516"/>
                    </a:cubicBezTo>
                    <a:cubicBezTo>
                      <a:pt x="1140" y="516"/>
                      <a:pt x="1145" y="511"/>
                      <a:pt x="1145" y="504"/>
                    </a:cubicBezTo>
                    <a:cubicBezTo>
                      <a:pt x="1145" y="498"/>
                      <a:pt x="1140" y="492"/>
                      <a:pt x="1133" y="492"/>
                    </a:cubicBezTo>
                    <a:close/>
                    <a:moveTo>
                      <a:pt x="1133" y="554"/>
                    </a:moveTo>
                    <a:cubicBezTo>
                      <a:pt x="1127" y="554"/>
                      <a:pt x="1121" y="559"/>
                      <a:pt x="1121" y="566"/>
                    </a:cubicBezTo>
                    <a:cubicBezTo>
                      <a:pt x="1121" y="572"/>
                      <a:pt x="1127" y="578"/>
                      <a:pt x="1133" y="578"/>
                    </a:cubicBezTo>
                    <a:cubicBezTo>
                      <a:pt x="1140" y="578"/>
                      <a:pt x="1145" y="572"/>
                      <a:pt x="1145" y="566"/>
                    </a:cubicBezTo>
                    <a:cubicBezTo>
                      <a:pt x="1145" y="559"/>
                      <a:pt x="1140" y="554"/>
                      <a:pt x="1133" y="554"/>
                    </a:cubicBezTo>
                    <a:close/>
                    <a:moveTo>
                      <a:pt x="1133" y="461"/>
                    </a:moveTo>
                    <a:cubicBezTo>
                      <a:pt x="1127" y="461"/>
                      <a:pt x="1121" y="467"/>
                      <a:pt x="1121" y="474"/>
                    </a:cubicBezTo>
                    <a:cubicBezTo>
                      <a:pt x="1121" y="480"/>
                      <a:pt x="1127" y="486"/>
                      <a:pt x="1133" y="486"/>
                    </a:cubicBezTo>
                    <a:cubicBezTo>
                      <a:pt x="1140" y="486"/>
                      <a:pt x="1145" y="480"/>
                      <a:pt x="1145" y="474"/>
                    </a:cubicBezTo>
                    <a:cubicBezTo>
                      <a:pt x="1145" y="467"/>
                      <a:pt x="1140" y="461"/>
                      <a:pt x="1133" y="461"/>
                    </a:cubicBezTo>
                    <a:close/>
                    <a:moveTo>
                      <a:pt x="1133" y="523"/>
                    </a:moveTo>
                    <a:cubicBezTo>
                      <a:pt x="1127" y="523"/>
                      <a:pt x="1121" y="528"/>
                      <a:pt x="1121" y="535"/>
                    </a:cubicBezTo>
                    <a:cubicBezTo>
                      <a:pt x="1121" y="542"/>
                      <a:pt x="1127" y="547"/>
                      <a:pt x="1133" y="547"/>
                    </a:cubicBezTo>
                    <a:cubicBezTo>
                      <a:pt x="1140" y="547"/>
                      <a:pt x="1145" y="542"/>
                      <a:pt x="1145" y="535"/>
                    </a:cubicBezTo>
                    <a:cubicBezTo>
                      <a:pt x="1145" y="528"/>
                      <a:pt x="1140" y="523"/>
                      <a:pt x="1133" y="523"/>
                    </a:cubicBezTo>
                    <a:close/>
                    <a:moveTo>
                      <a:pt x="1098" y="62"/>
                    </a:moveTo>
                    <a:cubicBezTo>
                      <a:pt x="1091" y="62"/>
                      <a:pt x="1086" y="67"/>
                      <a:pt x="1086" y="74"/>
                    </a:cubicBezTo>
                    <a:cubicBezTo>
                      <a:pt x="1086" y="81"/>
                      <a:pt x="1091" y="86"/>
                      <a:pt x="1098" y="86"/>
                    </a:cubicBezTo>
                    <a:cubicBezTo>
                      <a:pt x="1105" y="86"/>
                      <a:pt x="1110" y="81"/>
                      <a:pt x="1110" y="74"/>
                    </a:cubicBezTo>
                    <a:cubicBezTo>
                      <a:pt x="1110" y="67"/>
                      <a:pt x="1105" y="62"/>
                      <a:pt x="1098" y="62"/>
                    </a:cubicBezTo>
                    <a:close/>
                    <a:moveTo>
                      <a:pt x="1098" y="92"/>
                    </a:moveTo>
                    <a:cubicBezTo>
                      <a:pt x="1091" y="92"/>
                      <a:pt x="1086" y="98"/>
                      <a:pt x="1086" y="105"/>
                    </a:cubicBezTo>
                    <a:cubicBezTo>
                      <a:pt x="1086" y="111"/>
                      <a:pt x="1091" y="117"/>
                      <a:pt x="1098" y="117"/>
                    </a:cubicBezTo>
                    <a:cubicBezTo>
                      <a:pt x="1105" y="117"/>
                      <a:pt x="1110" y="111"/>
                      <a:pt x="1110" y="105"/>
                    </a:cubicBezTo>
                    <a:cubicBezTo>
                      <a:pt x="1110" y="98"/>
                      <a:pt x="1105" y="92"/>
                      <a:pt x="1098" y="92"/>
                    </a:cubicBezTo>
                    <a:close/>
                    <a:moveTo>
                      <a:pt x="1133" y="431"/>
                    </a:moveTo>
                    <a:cubicBezTo>
                      <a:pt x="1127" y="431"/>
                      <a:pt x="1121" y="436"/>
                      <a:pt x="1121" y="443"/>
                    </a:cubicBezTo>
                    <a:cubicBezTo>
                      <a:pt x="1121" y="449"/>
                      <a:pt x="1127" y="455"/>
                      <a:pt x="1133" y="455"/>
                    </a:cubicBezTo>
                    <a:cubicBezTo>
                      <a:pt x="1140" y="455"/>
                      <a:pt x="1145" y="449"/>
                      <a:pt x="1145" y="443"/>
                    </a:cubicBezTo>
                    <a:cubicBezTo>
                      <a:pt x="1145" y="436"/>
                      <a:pt x="1140" y="431"/>
                      <a:pt x="1133" y="431"/>
                    </a:cubicBezTo>
                    <a:close/>
                    <a:moveTo>
                      <a:pt x="1133" y="308"/>
                    </a:moveTo>
                    <a:cubicBezTo>
                      <a:pt x="1127" y="308"/>
                      <a:pt x="1121" y="313"/>
                      <a:pt x="1121" y="320"/>
                    </a:cubicBezTo>
                    <a:cubicBezTo>
                      <a:pt x="1121" y="327"/>
                      <a:pt x="1127" y="332"/>
                      <a:pt x="1133" y="332"/>
                    </a:cubicBezTo>
                    <a:cubicBezTo>
                      <a:pt x="1140" y="332"/>
                      <a:pt x="1145" y="327"/>
                      <a:pt x="1145" y="320"/>
                    </a:cubicBezTo>
                    <a:cubicBezTo>
                      <a:pt x="1145" y="313"/>
                      <a:pt x="1140" y="308"/>
                      <a:pt x="1133" y="308"/>
                    </a:cubicBezTo>
                    <a:close/>
                    <a:moveTo>
                      <a:pt x="1133" y="400"/>
                    </a:moveTo>
                    <a:cubicBezTo>
                      <a:pt x="1127" y="400"/>
                      <a:pt x="1121" y="405"/>
                      <a:pt x="1121" y="412"/>
                    </a:cubicBezTo>
                    <a:cubicBezTo>
                      <a:pt x="1121" y="419"/>
                      <a:pt x="1127" y="424"/>
                      <a:pt x="1133" y="424"/>
                    </a:cubicBezTo>
                    <a:cubicBezTo>
                      <a:pt x="1140" y="424"/>
                      <a:pt x="1145" y="419"/>
                      <a:pt x="1145" y="412"/>
                    </a:cubicBezTo>
                    <a:cubicBezTo>
                      <a:pt x="1145" y="405"/>
                      <a:pt x="1140" y="400"/>
                      <a:pt x="1133" y="400"/>
                    </a:cubicBezTo>
                    <a:close/>
                    <a:moveTo>
                      <a:pt x="1133" y="277"/>
                    </a:moveTo>
                    <a:cubicBezTo>
                      <a:pt x="1127" y="277"/>
                      <a:pt x="1121" y="282"/>
                      <a:pt x="1121" y="289"/>
                    </a:cubicBezTo>
                    <a:cubicBezTo>
                      <a:pt x="1121" y="296"/>
                      <a:pt x="1127" y="301"/>
                      <a:pt x="1133" y="301"/>
                    </a:cubicBezTo>
                    <a:cubicBezTo>
                      <a:pt x="1140" y="301"/>
                      <a:pt x="1145" y="296"/>
                      <a:pt x="1145" y="289"/>
                    </a:cubicBezTo>
                    <a:cubicBezTo>
                      <a:pt x="1145" y="282"/>
                      <a:pt x="1140" y="277"/>
                      <a:pt x="1133" y="277"/>
                    </a:cubicBezTo>
                    <a:close/>
                    <a:moveTo>
                      <a:pt x="1133" y="338"/>
                    </a:moveTo>
                    <a:cubicBezTo>
                      <a:pt x="1127" y="338"/>
                      <a:pt x="1121" y="344"/>
                      <a:pt x="1121" y="351"/>
                    </a:cubicBezTo>
                    <a:cubicBezTo>
                      <a:pt x="1121" y="357"/>
                      <a:pt x="1127" y="363"/>
                      <a:pt x="1133" y="363"/>
                    </a:cubicBezTo>
                    <a:cubicBezTo>
                      <a:pt x="1140" y="363"/>
                      <a:pt x="1145" y="357"/>
                      <a:pt x="1145" y="351"/>
                    </a:cubicBezTo>
                    <a:cubicBezTo>
                      <a:pt x="1145" y="344"/>
                      <a:pt x="1140" y="338"/>
                      <a:pt x="1133" y="338"/>
                    </a:cubicBezTo>
                    <a:close/>
                    <a:moveTo>
                      <a:pt x="1098" y="400"/>
                    </a:moveTo>
                    <a:cubicBezTo>
                      <a:pt x="1091" y="400"/>
                      <a:pt x="1086" y="405"/>
                      <a:pt x="1086" y="412"/>
                    </a:cubicBezTo>
                    <a:cubicBezTo>
                      <a:pt x="1086" y="419"/>
                      <a:pt x="1091" y="424"/>
                      <a:pt x="1098" y="424"/>
                    </a:cubicBezTo>
                    <a:cubicBezTo>
                      <a:pt x="1105" y="424"/>
                      <a:pt x="1110" y="419"/>
                      <a:pt x="1110" y="412"/>
                    </a:cubicBezTo>
                    <a:cubicBezTo>
                      <a:pt x="1110" y="405"/>
                      <a:pt x="1105" y="400"/>
                      <a:pt x="1098" y="400"/>
                    </a:cubicBezTo>
                    <a:close/>
                    <a:moveTo>
                      <a:pt x="1133" y="62"/>
                    </a:moveTo>
                    <a:cubicBezTo>
                      <a:pt x="1127" y="62"/>
                      <a:pt x="1121" y="67"/>
                      <a:pt x="1121" y="74"/>
                    </a:cubicBezTo>
                    <a:cubicBezTo>
                      <a:pt x="1121" y="81"/>
                      <a:pt x="1127" y="86"/>
                      <a:pt x="1133" y="86"/>
                    </a:cubicBezTo>
                    <a:cubicBezTo>
                      <a:pt x="1140" y="86"/>
                      <a:pt x="1145" y="81"/>
                      <a:pt x="1145" y="74"/>
                    </a:cubicBezTo>
                    <a:cubicBezTo>
                      <a:pt x="1145" y="67"/>
                      <a:pt x="1140" y="62"/>
                      <a:pt x="1133" y="62"/>
                    </a:cubicBezTo>
                    <a:close/>
                    <a:moveTo>
                      <a:pt x="1133" y="369"/>
                    </a:moveTo>
                    <a:cubicBezTo>
                      <a:pt x="1127" y="369"/>
                      <a:pt x="1121" y="375"/>
                      <a:pt x="1121" y="381"/>
                    </a:cubicBezTo>
                    <a:cubicBezTo>
                      <a:pt x="1121" y="388"/>
                      <a:pt x="1127" y="393"/>
                      <a:pt x="1133" y="393"/>
                    </a:cubicBezTo>
                    <a:cubicBezTo>
                      <a:pt x="1140" y="393"/>
                      <a:pt x="1145" y="388"/>
                      <a:pt x="1145" y="381"/>
                    </a:cubicBezTo>
                    <a:cubicBezTo>
                      <a:pt x="1145" y="375"/>
                      <a:pt x="1140" y="369"/>
                      <a:pt x="1133" y="369"/>
                    </a:cubicBezTo>
                    <a:close/>
                    <a:moveTo>
                      <a:pt x="1133" y="92"/>
                    </a:moveTo>
                    <a:cubicBezTo>
                      <a:pt x="1127" y="92"/>
                      <a:pt x="1121" y="98"/>
                      <a:pt x="1121" y="105"/>
                    </a:cubicBezTo>
                    <a:cubicBezTo>
                      <a:pt x="1121" y="111"/>
                      <a:pt x="1127" y="117"/>
                      <a:pt x="1133" y="117"/>
                    </a:cubicBezTo>
                    <a:cubicBezTo>
                      <a:pt x="1140" y="117"/>
                      <a:pt x="1145" y="111"/>
                      <a:pt x="1145" y="105"/>
                    </a:cubicBezTo>
                    <a:cubicBezTo>
                      <a:pt x="1145" y="98"/>
                      <a:pt x="1140" y="92"/>
                      <a:pt x="1133" y="92"/>
                    </a:cubicBezTo>
                    <a:close/>
                    <a:moveTo>
                      <a:pt x="1133" y="246"/>
                    </a:moveTo>
                    <a:cubicBezTo>
                      <a:pt x="1127" y="246"/>
                      <a:pt x="1121" y="252"/>
                      <a:pt x="1121" y="258"/>
                    </a:cubicBezTo>
                    <a:cubicBezTo>
                      <a:pt x="1121" y="265"/>
                      <a:pt x="1127" y="270"/>
                      <a:pt x="1133" y="270"/>
                    </a:cubicBezTo>
                    <a:cubicBezTo>
                      <a:pt x="1140" y="270"/>
                      <a:pt x="1145" y="265"/>
                      <a:pt x="1145" y="258"/>
                    </a:cubicBezTo>
                    <a:cubicBezTo>
                      <a:pt x="1145" y="252"/>
                      <a:pt x="1140" y="246"/>
                      <a:pt x="1133" y="246"/>
                    </a:cubicBezTo>
                    <a:close/>
                    <a:moveTo>
                      <a:pt x="1133" y="154"/>
                    </a:moveTo>
                    <a:cubicBezTo>
                      <a:pt x="1127" y="154"/>
                      <a:pt x="1121" y="159"/>
                      <a:pt x="1121" y="166"/>
                    </a:cubicBezTo>
                    <a:cubicBezTo>
                      <a:pt x="1121" y="173"/>
                      <a:pt x="1127" y="178"/>
                      <a:pt x="1133" y="178"/>
                    </a:cubicBezTo>
                    <a:cubicBezTo>
                      <a:pt x="1140" y="178"/>
                      <a:pt x="1145" y="173"/>
                      <a:pt x="1145" y="166"/>
                    </a:cubicBezTo>
                    <a:cubicBezTo>
                      <a:pt x="1145" y="159"/>
                      <a:pt x="1140" y="154"/>
                      <a:pt x="1133" y="154"/>
                    </a:cubicBezTo>
                    <a:close/>
                    <a:moveTo>
                      <a:pt x="1133" y="185"/>
                    </a:moveTo>
                    <a:cubicBezTo>
                      <a:pt x="1127" y="185"/>
                      <a:pt x="1121" y="190"/>
                      <a:pt x="1121" y="197"/>
                    </a:cubicBezTo>
                    <a:cubicBezTo>
                      <a:pt x="1121" y="204"/>
                      <a:pt x="1127" y="209"/>
                      <a:pt x="1133" y="209"/>
                    </a:cubicBezTo>
                    <a:cubicBezTo>
                      <a:pt x="1140" y="209"/>
                      <a:pt x="1145" y="204"/>
                      <a:pt x="1145" y="197"/>
                    </a:cubicBezTo>
                    <a:cubicBezTo>
                      <a:pt x="1145" y="190"/>
                      <a:pt x="1140" y="185"/>
                      <a:pt x="1133" y="185"/>
                    </a:cubicBezTo>
                    <a:close/>
                    <a:moveTo>
                      <a:pt x="1028" y="554"/>
                    </a:moveTo>
                    <a:cubicBezTo>
                      <a:pt x="1021" y="554"/>
                      <a:pt x="1016" y="559"/>
                      <a:pt x="1016" y="566"/>
                    </a:cubicBezTo>
                    <a:cubicBezTo>
                      <a:pt x="1016" y="572"/>
                      <a:pt x="1021" y="578"/>
                      <a:pt x="1028" y="578"/>
                    </a:cubicBezTo>
                    <a:cubicBezTo>
                      <a:pt x="1035" y="578"/>
                      <a:pt x="1040" y="572"/>
                      <a:pt x="1040" y="566"/>
                    </a:cubicBezTo>
                    <a:cubicBezTo>
                      <a:pt x="1040" y="559"/>
                      <a:pt x="1035" y="554"/>
                      <a:pt x="1028" y="554"/>
                    </a:cubicBezTo>
                    <a:close/>
                    <a:moveTo>
                      <a:pt x="1063" y="738"/>
                    </a:moveTo>
                    <a:cubicBezTo>
                      <a:pt x="1056" y="738"/>
                      <a:pt x="1051" y="743"/>
                      <a:pt x="1051" y="750"/>
                    </a:cubicBezTo>
                    <a:cubicBezTo>
                      <a:pt x="1051" y="757"/>
                      <a:pt x="1056" y="762"/>
                      <a:pt x="1063" y="762"/>
                    </a:cubicBezTo>
                    <a:cubicBezTo>
                      <a:pt x="1070" y="762"/>
                      <a:pt x="1075" y="757"/>
                      <a:pt x="1075" y="750"/>
                    </a:cubicBezTo>
                    <a:cubicBezTo>
                      <a:pt x="1075" y="743"/>
                      <a:pt x="1070" y="738"/>
                      <a:pt x="1063" y="738"/>
                    </a:cubicBezTo>
                    <a:close/>
                    <a:moveTo>
                      <a:pt x="1063" y="707"/>
                    </a:moveTo>
                    <a:cubicBezTo>
                      <a:pt x="1056" y="707"/>
                      <a:pt x="1051" y="713"/>
                      <a:pt x="1051" y="719"/>
                    </a:cubicBezTo>
                    <a:cubicBezTo>
                      <a:pt x="1051" y="726"/>
                      <a:pt x="1056" y="732"/>
                      <a:pt x="1063" y="732"/>
                    </a:cubicBezTo>
                    <a:cubicBezTo>
                      <a:pt x="1070" y="732"/>
                      <a:pt x="1075" y="726"/>
                      <a:pt x="1075" y="719"/>
                    </a:cubicBezTo>
                    <a:cubicBezTo>
                      <a:pt x="1075" y="713"/>
                      <a:pt x="1070" y="707"/>
                      <a:pt x="1063" y="707"/>
                    </a:cubicBezTo>
                    <a:close/>
                    <a:moveTo>
                      <a:pt x="1063" y="677"/>
                    </a:moveTo>
                    <a:cubicBezTo>
                      <a:pt x="1056" y="677"/>
                      <a:pt x="1051" y="682"/>
                      <a:pt x="1051" y="689"/>
                    </a:cubicBezTo>
                    <a:cubicBezTo>
                      <a:pt x="1051" y="695"/>
                      <a:pt x="1056" y="701"/>
                      <a:pt x="1063" y="701"/>
                    </a:cubicBezTo>
                    <a:cubicBezTo>
                      <a:pt x="1070" y="701"/>
                      <a:pt x="1075" y="695"/>
                      <a:pt x="1075" y="689"/>
                    </a:cubicBezTo>
                    <a:cubicBezTo>
                      <a:pt x="1075" y="682"/>
                      <a:pt x="1070" y="677"/>
                      <a:pt x="1063" y="677"/>
                    </a:cubicBezTo>
                    <a:close/>
                    <a:moveTo>
                      <a:pt x="1063" y="769"/>
                    </a:moveTo>
                    <a:cubicBezTo>
                      <a:pt x="1056" y="769"/>
                      <a:pt x="1051" y="774"/>
                      <a:pt x="1051" y="781"/>
                    </a:cubicBezTo>
                    <a:cubicBezTo>
                      <a:pt x="1051" y="788"/>
                      <a:pt x="1056" y="793"/>
                      <a:pt x="1063" y="793"/>
                    </a:cubicBezTo>
                    <a:cubicBezTo>
                      <a:pt x="1070" y="793"/>
                      <a:pt x="1075" y="788"/>
                      <a:pt x="1075" y="781"/>
                    </a:cubicBezTo>
                    <a:cubicBezTo>
                      <a:pt x="1075" y="774"/>
                      <a:pt x="1070" y="769"/>
                      <a:pt x="1063" y="769"/>
                    </a:cubicBezTo>
                    <a:close/>
                    <a:moveTo>
                      <a:pt x="1063" y="646"/>
                    </a:moveTo>
                    <a:cubicBezTo>
                      <a:pt x="1056" y="646"/>
                      <a:pt x="1051" y="651"/>
                      <a:pt x="1051" y="658"/>
                    </a:cubicBezTo>
                    <a:cubicBezTo>
                      <a:pt x="1051" y="665"/>
                      <a:pt x="1056" y="670"/>
                      <a:pt x="1063" y="670"/>
                    </a:cubicBezTo>
                    <a:cubicBezTo>
                      <a:pt x="1070" y="670"/>
                      <a:pt x="1075" y="665"/>
                      <a:pt x="1075" y="658"/>
                    </a:cubicBezTo>
                    <a:cubicBezTo>
                      <a:pt x="1075" y="651"/>
                      <a:pt x="1070" y="646"/>
                      <a:pt x="1063" y="646"/>
                    </a:cubicBezTo>
                    <a:close/>
                    <a:moveTo>
                      <a:pt x="1063" y="584"/>
                    </a:moveTo>
                    <a:cubicBezTo>
                      <a:pt x="1056" y="584"/>
                      <a:pt x="1051" y="590"/>
                      <a:pt x="1051" y="596"/>
                    </a:cubicBezTo>
                    <a:cubicBezTo>
                      <a:pt x="1051" y="603"/>
                      <a:pt x="1056" y="609"/>
                      <a:pt x="1063" y="609"/>
                    </a:cubicBezTo>
                    <a:cubicBezTo>
                      <a:pt x="1070" y="609"/>
                      <a:pt x="1075" y="603"/>
                      <a:pt x="1075" y="596"/>
                    </a:cubicBezTo>
                    <a:cubicBezTo>
                      <a:pt x="1075" y="590"/>
                      <a:pt x="1070" y="584"/>
                      <a:pt x="1063" y="584"/>
                    </a:cubicBezTo>
                    <a:close/>
                    <a:moveTo>
                      <a:pt x="1063" y="554"/>
                    </a:moveTo>
                    <a:cubicBezTo>
                      <a:pt x="1056" y="554"/>
                      <a:pt x="1051" y="559"/>
                      <a:pt x="1051" y="566"/>
                    </a:cubicBezTo>
                    <a:cubicBezTo>
                      <a:pt x="1051" y="572"/>
                      <a:pt x="1056" y="578"/>
                      <a:pt x="1063" y="578"/>
                    </a:cubicBezTo>
                    <a:cubicBezTo>
                      <a:pt x="1070" y="578"/>
                      <a:pt x="1075" y="572"/>
                      <a:pt x="1075" y="566"/>
                    </a:cubicBezTo>
                    <a:cubicBezTo>
                      <a:pt x="1075" y="559"/>
                      <a:pt x="1070" y="554"/>
                      <a:pt x="1063" y="554"/>
                    </a:cubicBezTo>
                    <a:close/>
                    <a:moveTo>
                      <a:pt x="1063" y="615"/>
                    </a:moveTo>
                    <a:cubicBezTo>
                      <a:pt x="1056" y="615"/>
                      <a:pt x="1051" y="620"/>
                      <a:pt x="1051" y="627"/>
                    </a:cubicBezTo>
                    <a:cubicBezTo>
                      <a:pt x="1051" y="634"/>
                      <a:pt x="1056" y="639"/>
                      <a:pt x="1063" y="639"/>
                    </a:cubicBezTo>
                    <a:cubicBezTo>
                      <a:pt x="1070" y="639"/>
                      <a:pt x="1075" y="634"/>
                      <a:pt x="1075" y="627"/>
                    </a:cubicBezTo>
                    <a:cubicBezTo>
                      <a:pt x="1075" y="620"/>
                      <a:pt x="1070" y="615"/>
                      <a:pt x="1063" y="615"/>
                    </a:cubicBezTo>
                    <a:close/>
                    <a:moveTo>
                      <a:pt x="1028" y="584"/>
                    </a:moveTo>
                    <a:cubicBezTo>
                      <a:pt x="1021" y="584"/>
                      <a:pt x="1016" y="590"/>
                      <a:pt x="1016" y="596"/>
                    </a:cubicBezTo>
                    <a:cubicBezTo>
                      <a:pt x="1016" y="603"/>
                      <a:pt x="1021" y="609"/>
                      <a:pt x="1028" y="609"/>
                    </a:cubicBezTo>
                    <a:cubicBezTo>
                      <a:pt x="1035" y="609"/>
                      <a:pt x="1040" y="603"/>
                      <a:pt x="1040" y="596"/>
                    </a:cubicBezTo>
                    <a:cubicBezTo>
                      <a:pt x="1040" y="590"/>
                      <a:pt x="1035" y="584"/>
                      <a:pt x="1028" y="584"/>
                    </a:cubicBezTo>
                    <a:close/>
                    <a:moveTo>
                      <a:pt x="1028" y="369"/>
                    </a:moveTo>
                    <a:cubicBezTo>
                      <a:pt x="1021" y="369"/>
                      <a:pt x="1016" y="375"/>
                      <a:pt x="1016" y="381"/>
                    </a:cubicBezTo>
                    <a:cubicBezTo>
                      <a:pt x="1016" y="388"/>
                      <a:pt x="1021" y="393"/>
                      <a:pt x="1028" y="393"/>
                    </a:cubicBezTo>
                    <a:cubicBezTo>
                      <a:pt x="1035" y="393"/>
                      <a:pt x="1040" y="388"/>
                      <a:pt x="1040" y="381"/>
                    </a:cubicBezTo>
                    <a:cubicBezTo>
                      <a:pt x="1040" y="375"/>
                      <a:pt x="1035" y="369"/>
                      <a:pt x="1028" y="369"/>
                    </a:cubicBezTo>
                    <a:close/>
                    <a:moveTo>
                      <a:pt x="1028" y="431"/>
                    </a:moveTo>
                    <a:cubicBezTo>
                      <a:pt x="1021" y="431"/>
                      <a:pt x="1016" y="436"/>
                      <a:pt x="1016" y="443"/>
                    </a:cubicBezTo>
                    <a:cubicBezTo>
                      <a:pt x="1016" y="449"/>
                      <a:pt x="1021" y="455"/>
                      <a:pt x="1028" y="455"/>
                    </a:cubicBezTo>
                    <a:cubicBezTo>
                      <a:pt x="1035" y="455"/>
                      <a:pt x="1040" y="449"/>
                      <a:pt x="1040" y="443"/>
                    </a:cubicBezTo>
                    <a:cubicBezTo>
                      <a:pt x="1040" y="436"/>
                      <a:pt x="1035" y="431"/>
                      <a:pt x="1028" y="431"/>
                    </a:cubicBezTo>
                    <a:close/>
                    <a:moveTo>
                      <a:pt x="1028" y="400"/>
                    </a:moveTo>
                    <a:cubicBezTo>
                      <a:pt x="1021" y="400"/>
                      <a:pt x="1016" y="405"/>
                      <a:pt x="1016" y="412"/>
                    </a:cubicBezTo>
                    <a:cubicBezTo>
                      <a:pt x="1016" y="419"/>
                      <a:pt x="1021" y="424"/>
                      <a:pt x="1028" y="424"/>
                    </a:cubicBezTo>
                    <a:cubicBezTo>
                      <a:pt x="1035" y="424"/>
                      <a:pt x="1040" y="419"/>
                      <a:pt x="1040" y="412"/>
                    </a:cubicBezTo>
                    <a:cubicBezTo>
                      <a:pt x="1040" y="405"/>
                      <a:pt x="1035" y="400"/>
                      <a:pt x="1028" y="400"/>
                    </a:cubicBezTo>
                    <a:close/>
                    <a:moveTo>
                      <a:pt x="1063" y="523"/>
                    </a:moveTo>
                    <a:cubicBezTo>
                      <a:pt x="1056" y="523"/>
                      <a:pt x="1051" y="528"/>
                      <a:pt x="1051" y="535"/>
                    </a:cubicBezTo>
                    <a:cubicBezTo>
                      <a:pt x="1051" y="542"/>
                      <a:pt x="1056" y="547"/>
                      <a:pt x="1063" y="547"/>
                    </a:cubicBezTo>
                    <a:cubicBezTo>
                      <a:pt x="1070" y="547"/>
                      <a:pt x="1075" y="542"/>
                      <a:pt x="1075" y="535"/>
                    </a:cubicBezTo>
                    <a:cubicBezTo>
                      <a:pt x="1075" y="528"/>
                      <a:pt x="1070" y="523"/>
                      <a:pt x="1063" y="523"/>
                    </a:cubicBezTo>
                    <a:close/>
                    <a:moveTo>
                      <a:pt x="1028" y="154"/>
                    </a:moveTo>
                    <a:cubicBezTo>
                      <a:pt x="1021" y="154"/>
                      <a:pt x="1016" y="159"/>
                      <a:pt x="1016" y="166"/>
                    </a:cubicBezTo>
                    <a:cubicBezTo>
                      <a:pt x="1016" y="173"/>
                      <a:pt x="1021" y="178"/>
                      <a:pt x="1028" y="178"/>
                    </a:cubicBezTo>
                    <a:cubicBezTo>
                      <a:pt x="1035" y="178"/>
                      <a:pt x="1040" y="173"/>
                      <a:pt x="1040" y="166"/>
                    </a:cubicBezTo>
                    <a:cubicBezTo>
                      <a:pt x="1040" y="159"/>
                      <a:pt x="1035" y="154"/>
                      <a:pt x="1028" y="154"/>
                    </a:cubicBezTo>
                    <a:close/>
                    <a:moveTo>
                      <a:pt x="1028" y="123"/>
                    </a:moveTo>
                    <a:cubicBezTo>
                      <a:pt x="1021" y="123"/>
                      <a:pt x="1016" y="129"/>
                      <a:pt x="1016" y="135"/>
                    </a:cubicBezTo>
                    <a:cubicBezTo>
                      <a:pt x="1016" y="142"/>
                      <a:pt x="1021" y="148"/>
                      <a:pt x="1028" y="148"/>
                    </a:cubicBezTo>
                    <a:cubicBezTo>
                      <a:pt x="1035" y="148"/>
                      <a:pt x="1040" y="142"/>
                      <a:pt x="1040" y="135"/>
                    </a:cubicBezTo>
                    <a:cubicBezTo>
                      <a:pt x="1040" y="129"/>
                      <a:pt x="1035" y="123"/>
                      <a:pt x="1028" y="123"/>
                    </a:cubicBezTo>
                    <a:close/>
                    <a:moveTo>
                      <a:pt x="1028" y="338"/>
                    </a:moveTo>
                    <a:cubicBezTo>
                      <a:pt x="1021" y="338"/>
                      <a:pt x="1016" y="344"/>
                      <a:pt x="1016" y="351"/>
                    </a:cubicBezTo>
                    <a:cubicBezTo>
                      <a:pt x="1016" y="357"/>
                      <a:pt x="1021" y="363"/>
                      <a:pt x="1028" y="363"/>
                    </a:cubicBezTo>
                    <a:cubicBezTo>
                      <a:pt x="1035" y="363"/>
                      <a:pt x="1040" y="357"/>
                      <a:pt x="1040" y="351"/>
                    </a:cubicBezTo>
                    <a:cubicBezTo>
                      <a:pt x="1040" y="344"/>
                      <a:pt x="1035" y="338"/>
                      <a:pt x="1028" y="338"/>
                    </a:cubicBezTo>
                    <a:close/>
                    <a:moveTo>
                      <a:pt x="1028" y="92"/>
                    </a:moveTo>
                    <a:cubicBezTo>
                      <a:pt x="1021" y="92"/>
                      <a:pt x="1016" y="98"/>
                      <a:pt x="1016" y="105"/>
                    </a:cubicBezTo>
                    <a:cubicBezTo>
                      <a:pt x="1016" y="111"/>
                      <a:pt x="1021" y="117"/>
                      <a:pt x="1028" y="117"/>
                    </a:cubicBezTo>
                    <a:cubicBezTo>
                      <a:pt x="1035" y="117"/>
                      <a:pt x="1040" y="111"/>
                      <a:pt x="1040" y="105"/>
                    </a:cubicBezTo>
                    <a:cubicBezTo>
                      <a:pt x="1040" y="98"/>
                      <a:pt x="1035" y="92"/>
                      <a:pt x="1028" y="92"/>
                    </a:cubicBezTo>
                    <a:close/>
                    <a:moveTo>
                      <a:pt x="1028" y="62"/>
                    </a:moveTo>
                    <a:cubicBezTo>
                      <a:pt x="1021" y="62"/>
                      <a:pt x="1016" y="67"/>
                      <a:pt x="1016" y="74"/>
                    </a:cubicBezTo>
                    <a:cubicBezTo>
                      <a:pt x="1016" y="81"/>
                      <a:pt x="1021" y="86"/>
                      <a:pt x="1028" y="86"/>
                    </a:cubicBezTo>
                    <a:cubicBezTo>
                      <a:pt x="1035" y="86"/>
                      <a:pt x="1040" y="81"/>
                      <a:pt x="1040" y="74"/>
                    </a:cubicBezTo>
                    <a:cubicBezTo>
                      <a:pt x="1040" y="67"/>
                      <a:pt x="1035" y="62"/>
                      <a:pt x="1028" y="62"/>
                    </a:cubicBezTo>
                    <a:close/>
                    <a:moveTo>
                      <a:pt x="1063" y="338"/>
                    </a:moveTo>
                    <a:cubicBezTo>
                      <a:pt x="1056" y="338"/>
                      <a:pt x="1051" y="344"/>
                      <a:pt x="1051" y="351"/>
                    </a:cubicBezTo>
                    <a:cubicBezTo>
                      <a:pt x="1051" y="357"/>
                      <a:pt x="1056" y="363"/>
                      <a:pt x="1063" y="363"/>
                    </a:cubicBezTo>
                    <a:cubicBezTo>
                      <a:pt x="1070" y="363"/>
                      <a:pt x="1075" y="357"/>
                      <a:pt x="1075" y="351"/>
                    </a:cubicBezTo>
                    <a:cubicBezTo>
                      <a:pt x="1075" y="344"/>
                      <a:pt x="1070" y="338"/>
                      <a:pt x="1063" y="338"/>
                    </a:cubicBezTo>
                    <a:close/>
                    <a:moveTo>
                      <a:pt x="1098" y="584"/>
                    </a:moveTo>
                    <a:cubicBezTo>
                      <a:pt x="1091" y="584"/>
                      <a:pt x="1086" y="590"/>
                      <a:pt x="1086" y="596"/>
                    </a:cubicBezTo>
                    <a:cubicBezTo>
                      <a:pt x="1086" y="603"/>
                      <a:pt x="1091" y="609"/>
                      <a:pt x="1098" y="609"/>
                    </a:cubicBezTo>
                    <a:cubicBezTo>
                      <a:pt x="1105" y="609"/>
                      <a:pt x="1110" y="603"/>
                      <a:pt x="1110" y="596"/>
                    </a:cubicBezTo>
                    <a:cubicBezTo>
                      <a:pt x="1110" y="590"/>
                      <a:pt x="1105" y="584"/>
                      <a:pt x="1098" y="584"/>
                    </a:cubicBezTo>
                    <a:close/>
                    <a:moveTo>
                      <a:pt x="1098" y="615"/>
                    </a:moveTo>
                    <a:cubicBezTo>
                      <a:pt x="1091" y="615"/>
                      <a:pt x="1086" y="620"/>
                      <a:pt x="1086" y="627"/>
                    </a:cubicBezTo>
                    <a:cubicBezTo>
                      <a:pt x="1086" y="634"/>
                      <a:pt x="1091" y="639"/>
                      <a:pt x="1098" y="639"/>
                    </a:cubicBezTo>
                    <a:cubicBezTo>
                      <a:pt x="1105" y="639"/>
                      <a:pt x="1110" y="634"/>
                      <a:pt x="1110" y="627"/>
                    </a:cubicBezTo>
                    <a:cubicBezTo>
                      <a:pt x="1110" y="620"/>
                      <a:pt x="1105" y="615"/>
                      <a:pt x="1098" y="615"/>
                    </a:cubicBezTo>
                    <a:close/>
                    <a:moveTo>
                      <a:pt x="1098" y="492"/>
                    </a:moveTo>
                    <a:cubicBezTo>
                      <a:pt x="1091" y="492"/>
                      <a:pt x="1086" y="498"/>
                      <a:pt x="1086" y="504"/>
                    </a:cubicBezTo>
                    <a:cubicBezTo>
                      <a:pt x="1086" y="511"/>
                      <a:pt x="1091" y="516"/>
                      <a:pt x="1098" y="516"/>
                    </a:cubicBezTo>
                    <a:cubicBezTo>
                      <a:pt x="1105" y="516"/>
                      <a:pt x="1110" y="511"/>
                      <a:pt x="1110" y="504"/>
                    </a:cubicBezTo>
                    <a:cubicBezTo>
                      <a:pt x="1110" y="498"/>
                      <a:pt x="1105" y="492"/>
                      <a:pt x="1098" y="492"/>
                    </a:cubicBezTo>
                    <a:close/>
                    <a:moveTo>
                      <a:pt x="1098" y="554"/>
                    </a:moveTo>
                    <a:cubicBezTo>
                      <a:pt x="1091" y="554"/>
                      <a:pt x="1086" y="559"/>
                      <a:pt x="1086" y="566"/>
                    </a:cubicBezTo>
                    <a:cubicBezTo>
                      <a:pt x="1086" y="572"/>
                      <a:pt x="1091" y="578"/>
                      <a:pt x="1098" y="578"/>
                    </a:cubicBezTo>
                    <a:cubicBezTo>
                      <a:pt x="1105" y="578"/>
                      <a:pt x="1110" y="572"/>
                      <a:pt x="1110" y="566"/>
                    </a:cubicBezTo>
                    <a:cubicBezTo>
                      <a:pt x="1110" y="559"/>
                      <a:pt x="1105" y="554"/>
                      <a:pt x="1098" y="554"/>
                    </a:cubicBezTo>
                    <a:close/>
                    <a:moveTo>
                      <a:pt x="1098" y="461"/>
                    </a:moveTo>
                    <a:cubicBezTo>
                      <a:pt x="1091" y="461"/>
                      <a:pt x="1086" y="467"/>
                      <a:pt x="1086" y="474"/>
                    </a:cubicBezTo>
                    <a:cubicBezTo>
                      <a:pt x="1086" y="480"/>
                      <a:pt x="1091" y="486"/>
                      <a:pt x="1098" y="486"/>
                    </a:cubicBezTo>
                    <a:cubicBezTo>
                      <a:pt x="1105" y="486"/>
                      <a:pt x="1110" y="480"/>
                      <a:pt x="1110" y="474"/>
                    </a:cubicBezTo>
                    <a:cubicBezTo>
                      <a:pt x="1110" y="467"/>
                      <a:pt x="1105" y="461"/>
                      <a:pt x="1098" y="461"/>
                    </a:cubicBezTo>
                    <a:close/>
                    <a:moveTo>
                      <a:pt x="1098" y="523"/>
                    </a:moveTo>
                    <a:cubicBezTo>
                      <a:pt x="1091" y="523"/>
                      <a:pt x="1086" y="528"/>
                      <a:pt x="1086" y="535"/>
                    </a:cubicBezTo>
                    <a:cubicBezTo>
                      <a:pt x="1086" y="542"/>
                      <a:pt x="1091" y="547"/>
                      <a:pt x="1098" y="547"/>
                    </a:cubicBezTo>
                    <a:cubicBezTo>
                      <a:pt x="1105" y="547"/>
                      <a:pt x="1110" y="542"/>
                      <a:pt x="1110" y="535"/>
                    </a:cubicBezTo>
                    <a:cubicBezTo>
                      <a:pt x="1110" y="528"/>
                      <a:pt x="1105" y="523"/>
                      <a:pt x="1098" y="523"/>
                    </a:cubicBezTo>
                    <a:close/>
                    <a:moveTo>
                      <a:pt x="1063" y="431"/>
                    </a:moveTo>
                    <a:cubicBezTo>
                      <a:pt x="1056" y="431"/>
                      <a:pt x="1051" y="436"/>
                      <a:pt x="1051" y="443"/>
                    </a:cubicBezTo>
                    <a:cubicBezTo>
                      <a:pt x="1051" y="449"/>
                      <a:pt x="1056" y="455"/>
                      <a:pt x="1063" y="455"/>
                    </a:cubicBezTo>
                    <a:cubicBezTo>
                      <a:pt x="1070" y="455"/>
                      <a:pt x="1075" y="449"/>
                      <a:pt x="1075" y="443"/>
                    </a:cubicBezTo>
                    <a:cubicBezTo>
                      <a:pt x="1075" y="436"/>
                      <a:pt x="1070" y="431"/>
                      <a:pt x="1063" y="431"/>
                    </a:cubicBezTo>
                    <a:close/>
                    <a:moveTo>
                      <a:pt x="1063" y="185"/>
                    </a:moveTo>
                    <a:cubicBezTo>
                      <a:pt x="1056" y="185"/>
                      <a:pt x="1051" y="190"/>
                      <a:pt x="1051" y="197"/>
                    </a:cubicBezTo>
                    <a:cubicBezTo>
                      <a:pt x="1051" y="204"/>
                      <a:pt x="1056" y="209"/>
                      <a:pt x="1063" y="209"/>
                    </a:cubicBezTo>
                    <a:cubicBezTo>
                      <a:pt x="1070" y="209"/>
                      <a:pt x="1075" y="204"/>
                      <a:pt x="1075" y="197"/>
                    </a:cubicBezTo>
                    <a:cubicBezTo>
                      <a:pt x="1075" y="190"/>
                      <a:pt x="1070" y="185"/>
                      <a:pt x="1063" y="185"/>
                    </a:cubicBezTo>
                    <a:close/>
                    <a:moveTo>
                      <a:pt x="1098" y="431"/>
                    </a:moveTo>
                    <a:cubicBezTo>
                      <a:pt x="1091" y="431"/>
                      <a:pt x="1086" y="436"/>
                      <a:pt x="1086" y="443"/>
                    </a:cubicBezTo>
                    <a:cubicBezTo>
                      <a:pt x="1086" y="449"/>
                      <a:pt x="1091" y="455"/>
                      <a:pt x="1098" y="455"/>
                    </a:cubicBezTo>
                    <a:cubicBezTo>
                      <a:pt x="1105" y="455"/>
                      <a:pt x="1110" y="449"/>
                      <a:pt x="1110" y="443"/>
                    </a:cubicBezTo>
                    <a:cubicBezTo>
                      <a:pt x="1110" y="436"/>
                      <a:pt x="1105" y="431"/>
                      <a:pt x="1098" y="431"/>
                    </a:cubicBezTo>
                    <a:close/>
                    <a:moveTo>
                      <a:pt x="1063" y="369"/>
                    </a:moveTo>
                    <a:cubicBezTo>
                      <a:pt x="1056" y="369"/>
                      <a:pt x="1051" y="375"/>
                      <a:pt x="1051" y="381"/>
                    </a:cubicBezTo>
                    <a:cubicBezTo>
                      <a:pt x="1051" y="388"/>
                      <a:pt x="1056" y="393"/>
                      <a:pt x="1063" y="393"/>
                    </a:cubicBezTo>
                    <a:cubicBezTo>
                      <a:pt x="1070" y="393"/>
                      <a:pt x="1075" y="388"/>
                      <a:pt x="1075" y="381"/>
                    </a:cubicBezTo>
                    <a:cubicBezTo>
                      <a:pt x="1075" y="375"/>
                      <a:pt x="1070" y="369"/>
                      <a:pt x="1063" y="369"/>
                    </a:cubicBezTo>
                    <a:close/>
                    <a:moveTo>
                      <a:pt x="1063" y="400"/>
                    </a:moveTo>
                    <a:cubicBezTo>
                      <a:pt x="1056" y="400"/>
                      <a:pt x="1051" y="405"/>
                      <a:pt x="1051" y="412"/>
                    </a:cubicBezTo>
                    <a:cubicBezTo>
                      <a:pt x="1051" y="419"/>
                      <a:pt x="1056" y="424"/>
                      <a:pt x="1063" y="424"/>
                    </a:cubicBezTo>
                    <a:cubicBezTo>
                      <a:pt x="1070" y="424"/>
                      <a:pt x="1075" y="419"/>
                      <a:pt x="1075" y="412"/>
                    </a:cubicBezTo>
                    <a:cubicBezTo>
                      <a:pt x="1075" y="405"/>
                      <a:pt x="1070" y="400"/>
                      <a:pt x="1063" y="400"/>
                    </a:cubicBezTo>
                    <a:close/>
                    <a:moveTo>
                      <a:pt x="1063" y="62"/>
                    </a:moveTo>
                    <a:cubicBezTo>
                      <a:pt x="1056" y="62"/>
                      <a:pt x="1051" y="67"/>
                      <a:pt x="1051" y="74"/>
                    </a:cubicBezTo>
                    <a:cubicBezTo>
                      <a:pt x="1051" y="81"/>
                      <a:pt x="1056" y="86"/>
                      <a:pt x="1063" y="86"/>
                    </a:cubicBezTo>
                    <a:cubicBezTo>
                      <a:pt x="1070" y="86"/>
                      <a:pt x="1075" y="81"/>
                      <a:pt x="1075" y="74"/>
                    </a:cubicBezTo>
                    <a:cubicBezTo>
                      <a:pt x="1075" y="67"/>
                      <a:pt x="1070" y="62"/>
                      <a:pt x="1063" y="62"/>
                    </a:cubicBezTo>
                    <a:close/>
                    <a:moveTo>
                      <a:pt x="1063" y="123"/>
                    </a:moveTo>
                    <a:cubicBezTo>
                      <a:pt x="1056" y="123"/>
                      <a:pt x="1051" y="129"/>
                      <a:pt x="1051" y="135"/>
                    </a:cubicBezTo>
                    <a:cubicBezTo>
                      <a:pt x="1051" y="142"/>
                      <a:pt x="1056" y="148"/>
                      <a:pt x="1063" y="148"/>
                    </a:cubicBezTo>
                    <a:cubicBezTo>
                      <a:pt x="1070" y="148"/>
                      <a:pt x="1075" y="142"/>
                      <a:pt x="1075" y="135"/>
                    </a:cubicBezTo>
                    <a:cubicBezTo>
                      <a:pt x="1075" y="129"/>
                      <a:pt x="1070" y="123"/>
                      <a:pt x="1063" y="123"/>
                    </a:cubicBezTo>
                    <a:close/>
                    <a:moveTo>
                      <a:pt x="1063" y="92"/>
                    </a:moveTo>
                    <a:cubicBezTo>
                      <a:pt x="1056" y="92"/>
                      <a:pt x="1051" y="98"/>
                      <a:pt x="1051" y="105"/>
                    </a:cubicBezTo>
                    <a:cubicBezTo>
                      <a:pt x="1051" y="111"/>
                      <a:pt x="1056" y="117"/>
                      <a:pt x="1063" y="117"/>
                    </a:cubicBezTo>
                    <a:cubicBezTo>
                      <a:pt x="1070" y="117"/>
                      <a:pt x="1075" y="111"/>
                      <a:pt x="1075" y="105"/>
                    </a:cubicBezTo>
                    <a:cubicBezTo>
                      <a:pt x="1075" y="98"/>
                      <a:pt x="1070" y="92"/>
                      <a:pt x="1063" y="92"/>
                    </a:cubicBezTo>
                    <a:close/>
                    <a:moveTo>
                      <a:pt x="47" y="338"/>
                    </a:moveTo>
                    <a:cubicBezTo>
                      <a:pt x="40" y="338"/>
                      <a:pt x="35" y="344"/>
                      <a:pt x="35" y="351"/>
                    </a:cubicBezTo>
                    <a:cubicBezTo>
                      <a:pt x="35" y="357"/>
                      <a:pt x="40" y="363"/>
                      <a:pt x="47" y="363"/>
                    </a:cubicBezTo>
                    <a:cubicBezTo>
                      <a:pt x="54" y="363"/>
                      <a:pt x="59" y="357"/>
                      <a:pt x="59" y="351"/>
                    </a:cubicBezTo>
                    <a:cubicBezTo>
                      <a:pt x="59" y="344"/>
                      <a:pt x="54" y="338"/>
                      <a:pt x="47" y="338"/>
                    </a:cubicBezTo>
                    <a:close/>
                    <a:moveTo>
                      <a:pt x="82" y="185"/>
                    </a:moveTo>
                    <a:cubicBezTo>
                      <a:pt x="75" y="185"/>
                      <a:pt x="70" y="190"/>
                      <a:pt x="70" y="197"/>
                    </a:cubicBezTo>
                    <a:cubicBezTo>
                      <a:pt x="70" y="204"/>
                      <a:pt x="75" y="209"/>
                      <a:pt x="82" y="209"/>
                    </a:cubicBezTo>
                    <a:cubicBezTo>
                      <a:pt x="89" y="209"/>
                      <a:pt x="94" y="204"/>
                      <a:pt x="94" y="197"/>
                    </a:cubicBezTo>
                    <a:cubicBezTo>
                      <a:pt x="94" y="190"/>
                      <a:pt x="89" y="185"/>
                      <a:pt x="82" y="185"/>
                    </a:cubicBezTo>
                    <a:close/>
                    <a:moveTo>
                      <a:pt x="82" y="215"/>
                    </a:moveTo>
                    <a:cubicBezTo>
                      <a:pt x="75" y="215"/>
                      <a:pt x="70" y="221"/>
                      <a:pt x="70" y="228"/>
                    </a:cubicBezTo>
                    <a:cubicBezTo>
                      <a:pt x="70" y="234"/>
                      <a:pt x="75" y="240"/>
                      <a:pt x="82" y="240"/>
                    </a:cubicBezTo>
                    <a:cubicBezTo>
                      <a:pt x="89" y="240"/>
                      <a:pt x="94" y="234"/>
                      <a:pt x="94" y="228"/>
                    </a:cubicBezTo>
                    <a:cubicBezTo>
                      <a:pt x="94" y="221"/>
                      <a:pt x="89" y="215"/>
                      <a:pt x="82" y="215"/>
                    </a:cubicBezTo>
                    <a:close/>
                    <a:moveTo>
                      <a:pt x="82" y="308"/>
                    </a:moveTo>
                    <a:cubicBezTo>
                      <a:pt x="75" y="308"/>
                      <a:pt x="70" y="313"/>
                      <a:pt x="70" y="320"/>
                    </a:cubicBezTo>
                    <a:cubicBezTo>
                      <a:pt x="70" y="327"/>
                      <a:pt x="75" y="332"/>
                      <a:pt x="82" y="332"/>
                    </a:cubicBezTo>
                    <a:cubicBezTo>
                      <a:pt x="89" y="332"/>
                      <a:pt x="94" y="327"/>
                      <a:pt x="94" y="320"/>
                    </a:cubicBezTo>
                    <a:cubicBezTo>
                      <a:pt x="94" y="313"/>
                      <a:pt x="89" y="308"/>
                      <a:pt x="82" y="308"/>
                    </a:cubicBezTo>
                    <a:close/>
                    <a:moveTo>
                      <a:pt x="82" y="154"/>
                    </a:moveTo>
                    <a:cubicBezTo>
                      <a:pt x="75" y="154"/>
                      <a:pt x="70" y="159"/>
                      <a:pt x="70" y="166"/>
                    </a:cubicBezTo>
                    <a:cubicBezTo>
                      <a:pt x="70" y="173"/>
                      <a:pt x="75" y="178"/>
                      <a:pt x="82" y="178"/>
                    </a:cubicBezTo>
                    <a:cubicBezTo>
                      <a:pt x="89" y="178"/>
                      <a:pt x="94" y="173"/>
                      <a:pt x="94" y="166"/>
                    </a:cubicBezTo>
                    <a:cubicBezTo>
                      <a:pt x="94" y="159"/>
                      <a:pt x="89" y="154"/>
                      <a:pt x="82" y="154"/>
                    </a:cubicBezTo>
                    <a:close/>
                    <a:moveTo>
                      <a:pt x="82" y="246"/>
                    </a:moveTo>
                    <a:cubicBezTo>
                      <a:pt x="75" y="246"/>
                      <a:pt x="70" y="252"/>
                      <a:pt x="70" y="258"/>
                    </a:cubicBezTo>
                    <a:cubicBezTo>
                      <a:pt x="70" y="265"/>
                      <a:pt x="75" y="270"/>
                      <a:pt x="82" y="270"/>
                    </a:cubicBezTo>
                    <a:cubicBezTo>
                      <a:pt x="89" y="270"/>
                      <a:pt x="94" y="265"/>
                      <a:pt x="94" y="258"/>
                    </a:cubicBezTo>
                    <a:cubicBezTo>
                      <a:pt x="94" y="252"/>
                      <a:pt x="89" y="246"/>
                      <a:pt x="82" y="246"/>
                    </a:cubicBezTo>
                    <a:close/>
                    <a:moveTo>
                      <a:pt x="47" y="123"/>
                    </a:moveTo>
                    <a:cubicBezTo>
                      <a:pt x="40" y="123"/>
                      <a:pt x="35" y="129"/>
                      <a:pt x="35" y="135"/>
                    </a:cubicBezTo>
                    <a:cubicBezTo>
                      <a:pt x="35" y="142"/>
                      <a:pt x="40" y="148"/>
                      <a:pt x="47" y="148"/>
                    </a:cubicBezTo>
                    <a:cubicBezTo>
                      <a:pt x="54" y="148"/>
                      <a:pt x="59" y="142"/>
                      <a:pt x="59" y="135"/>
                    </a:cubicBezTo>
                    <a:cubicBezTo>
                      <a:pt x="59" y="129"/>
                      <a:pt x="54" y="123"/>
                      <a:pt x="47" y="123"/>
                    </a:cubicBezTo>
                    <a:close/>
                    <a:moveTo>
                      <a:pt x="82" y="123"/>
                    </a:moveTo>
                    <a:cubicBezTo>
                      <a:pt x="75" y="123"/>
                      <a:pt x="70" y="129"/>
                      <a:pt x="70" y="135"/>
                    </a:cubicBezTo>
                    <a:cubicBezTo>
                      <a:pt x="70" y="142"/>
                      <a:pt x="75" y="148"/>
                      <a:pt x="82" y="148"/>
                    </a:cubicBezTo>
                    <a:cubicBezTo>
                      <a:pt x="89" y="148"/>
                      <a:pt x="94" y="142"/>
                      <a:pt x="94" y="135"/>
                    </a:cubicBezTo>
                    <a:cubicBezTo>
                      <a:pt x="94" y="129"/>
                      <a:pt x="89" y="123"/>
                      <a:pt x="82" y="123"/>
                    </a:cubicBezTo>
                    <a:close/>
                    <a:moveTo>
                      <a:pt x="117" y="308"/>
                    </a:moveTo>
                    <a:cubicBezTo>
                      <a:pt x="110" y="308"/>
                      <a:pt x="105" y="313"/>
                      <a:pt x="105" y="320"/>
                    </a:cubicBezTo>
                    <a:cubicBezTo>
                      <a:pt x="105" y="327"/>
                      <a:pt x="110" y="332"/>
                      <a:pt x="117" y="332"/>
                    </a:cubicBezTo>
                    <a:cubicBezTo>
                      <a:pt x="124" y="332"/>
                      <a:pt x="129" y="327"/>
                      <a:pt x="129" y="320"/>
                    </a:cubicBezTo>
                    <a:cubicBezTo>
                      <a:pt x="129" y="313"/>
                      <a:pt x="124" y="308"/>
                      <a:pt x="117" y="308"/>
                    </a:cubicBezTo>
                    <a:close/>
                    <a:moveTo>
                      <a:pt x="117" y="277"/>
                    </a:moveTo>
                    <a:cubicBezTo>
                      <a:pt x="110" y="277"/>
                      <a:pt x="105" y="282"/>
                      <a:pt x="105" y="289"/>
                    </a:cubicBezTo>
                    <a:cubicBezTo>
                      <a:pt x="105" y="296"/>
                      <a:pt x="110" y="301"/>
                      <a:pt x="117" y="301"/>
                    </a:cubicBezTo>
                    <a:cubicBezTo>
                      <a:pt x="124" y="301"/>
                      <a:pt x="129" y="296"/>
                      <a:pt x="129" y="289"/>
                    </a:cubicBezTo>
                    <a:cubicBezTo>
                      <a:pt x="129" y="282"/>
                      <a:pt x="124" y="277"/>
                      <a:pt x="117" y="277"/>
                    </a:cubicBezTo>
                    <a:close/>
                    <a:moveTo>
                      <a:pt x="82" y="92"/>
                    </a:moveTo>
                    <a:cubicBezTo>
                      <a:pt x="75" y="92"/>
                      <a:pt x="70" y="98"/>
                      <a:pt x="70" y="105"/>
                    </a:cubicBezTo>
                    <a:cubicBezTo>
                      <a:pt x="70" y="111"/>
                      <a:pt x="75" y="117"/>
                      <a:pt x="82" y="117"/>
                    </a:cubicBezTo>
                    <a:cubicBezTo>
                      <a:pt x="89" y="117"/>
                      <a:pt x="94" y="111"/>
                      <a:pt x="94" y="105"/>
                    </a:cubicBezTo>
                    <a:cubicBezTo>
                      <a:pt x="94" y="98"/>
                      <a:pt x="89" y="92"/>
                      <a:pt x="82" y="92"/>
                    </a:cubicBezTo>
                    <a:close/>
                    <a:moveTo>
                      <a:pt x="12" y="215"/>
                    </a:moveTo>
                    <a:cubicBezTo>
                      <a:pt x="5" y="215"/>
                      <a:pt x="0" y="221"/>
                      <a:pt x="0" y="228"/>
                    </a:cubicBezTo>
                    <a:cubicBezTo>
                      <a:pt x="0" y="234"/>
                      <a:pt x="5" y="240"/>
                      <a:pt x="12" y="240"/>
                    </a:cubicBezTo>
                    <a:cubicBezTo>
                      <a:pt x="19" y="240"/>
                      <a:pt x="24" y="234"/>
                      <a:pt x="24" y="228"/>
                    </a:cubicBezTo>
                    <a:cubicBezTo>
                      <a:pt x="24" y="221"/>
                      <a:pt x="19" y="215"/>
                      <a:pt x="12" y="215"/>
                    </a:cubicBezTo>
                    <a:close/>
                    <a:moveTo>
                      <a:pt x="12" y="154"/>
                    </a:moveTo>
                    <a:cubicBezTo>
                      <a:pt x="5" y="154"/>
                      <a:pt x="0" y="159"/>
                      <a:pt x="0" y="166"/>
                    </a:cubicBezTo>
                    <a:cubicBezTo>
                      <a:pt x="0" y="173"/>
                      <a:pt x="5" y="178"/>
                      <a:pt x="12" y="178"/>
                    </a:cubicBezTo>
                    <a:cubicBezTo>
                      <a:pt x="19" y="178"/>
                      <a:pt x="24" y="173"/>
                      <a:pt x="24" y="166"/>
                    </a:cubicBezTo>
                    <a:cubicBezTo>
                      <a:pt x="24" y="159"/>
                      <a:pt x="19" y="154"/>
                      <a:pt x="12" y="154"/>
                    </a:cubicBezTo>
                    <a:close/>
                    <a:moveTo>
                      <a:pt x="47" y="185"/>
                    </a:moveTo>
                    <a:cubicBezTo>
                      <a:pt x="40" y="185"/>
                      <a:pt x="35" y="190"/>
                      <a:pt x="35" y="197"/>
                    </a:cubicBezTo>
                    <a:cubicBezTo>
                      <a:pt x="35" y="204"/>
                      <a:pt x="40" y="209"/>
                      <a:pt x="47" y="209"/>
                    </a:cubicBezTo>
                    <a:cubicBezTo>
                      <a:pt x="54" y="209"/>
                      <a:pt x="59" y="204"/>
                      <a:pt x="59" y="197"/>
                    </a:cubicBezTo>
                    <a:cubicBezTo>
                      <a:pt x="59" y="190"/>
                      <a:pt x="54" y="185"/>
                      <a:pt x="47" y="185"/>
                    </a:cubicBezTo>
                    <a:close/>
                    <a:moveTo>
                      <a:pt x="117" y="246"/>
                    </a:moveTo>
                    <a:cubicBezTo>
                      <a:pt x="110" y="246"/>
                      <a:pt x="105" y="252"/>
                      <a:pt x="105" y="258"/>
                    </a:cubicBezTo>
                    <a:cubicBezTo>
                      <a:pt x="105" y="265"/>
                      <a:pt x="110" y="270"/>
                      <a:pt x="117" y="270"/>
                    </a:cubicBezTo>
                    <a:cubicBezTo>
                      <a:pt x="124" y="270"/>
                      <a:pt x="129" y="265"/>
                      <a:pt x="129" y="258"/>
                    </a:cubicBezTo>
                    <a:cubicBezTo>
                      <a:pt x="129" y="252"/>
                      <a:pt x="124" y="246"/>
                      <a:pt x="117" y="246"/>
                    </a:cubicBezTo>
                    <a:close/>
                    <a:moveTo>
                      <a:pt x="12" y="123"/>
                    </a:moveTo>
                    <a:cubicBezTo>
                      <a:pt x="5" y="123"/>
                      <a:pt x="0" y="129"/>
                      <a:pt x="0" y="135"/>
                    </a:cubicBezTo>
                    <a:cubicBezTo>
                      <a:pt x="0" y="142"/>
                      <a:pt x="5" y="148"/>
                      <a:pt x="12" y="148"/>
                    </a:cubicBezTo>
                    <a:cubicBezTo>
                      <a:pt x="19" y="148"/>
                      <a:pt x="24" y="142"/>
                      <a:pt x="24" y="135"/>
                    </a:cubicBezTo>
                    <a:cubicBezTo>
                      <a:pt x="24" y="129"/>
                      <a:pt x="19" y="123"/>
                      <a:pt x="12" y="123"/>
                    </a:cubicBezTo>
                    <a:close/>
                    <a:moveTo>
                      <a:pt x="47" y="246"/>
                    </a:moveTo>
                    <a:cubicBezTo>
                      <a:pt x="40" y="246"/>
                      <a:pt x="35" y="252"/>
                      <a:pt x="35" y="258"/>
                    </a:cubicBezTo>
                    <a:cubicBezTo>
                      <a:pt x="35" y="265"/>
                      <a:pt x="40" y="270"/>
                      <a:pt x="47" y="270"/>
                    </a:cubicBezTo>
                    <a:cubicBezTo>
                      <a:pt x="54" y="270"/>
                      <a:pt x="59" y="265"/>
                      <a:pt x="59" y="258"/>
                    </a:cubicBezTo>
                    <a:cubicBezTo>
                      <a:pt x="59" y="252"/>
                      <a:pt x="54" y="246"/>
                      <a:pt x="47" y="246"/>
                    </a:cubicBezTo>
                    <a:close/>
                    <a:moveTo>
                      <a:pt x="47" y="215"/>
                    </a:moveTo>
                    <a:cubicBezTo>
                      <a:pt x="40" y="215"/>
                      <a:pt x="35" y="221"/>
                      <a:pt x="35" y="228"/>
                    </a:cubicBezTo>
                    <a:cubicBezTo>
                      <a:pt x="35" y="234"/>
                      <a:pt x="40" y="240"/>
                      <a:pt x="47" y="240"/>
                    </a:cubicBezTo>
                    <a:cubicBezTo>
                      <a:pt x="54" y="240"/>
                      <a:pt x="59" y="234"/>
                      <a:pt x="59" y="228"/>
                    </a:cubicBezTo>
                    <a:cubicBezTo>
                      <a:pt x="59" y="221"/>
                      <a:pt x="54" y="215"/>
                      <a:pt x="47" y="215"/>
                    </a:cubicBezTo>
                    <a:close/>
                    <a:moveTo>
                      <a:pt x="12" y="246"/>
                    </a:moveTo>
                    <a:cubicBezTo>
                      <a:pt x="5" y="246"/>
                      <a:pt x="0" y="252"/>
                      <a:pt x="0" y="258"/>
                    </a:cubicBezTo>
                    <a:cubicBezTo>
                      <a:pt x="0" y="265"/>
                      <a:pt x="5" y="270"/>
                      <a:pt x="12" y="270"/>
                    </a:cubicBezTo>
                    <a:cubicBezTo>
                      <a:pt x="19" y="270"/>
                      <a:pt x="24" y="265"/>
                      <a:pt x="24" y="258"/>
                    </a:cubicBezTo>
                    <a:cubicBezTo>
                      <a:pt x="24" y="252"/>
                      <a:pt x="19" y="246"/>
                      <a:pt x="12" y="246"/>
                    </a:cubicBezTo>
                    <a:close/>
                    <a:moveTo>
                      <a:pt x="187" y="215"/>
                    </a:moveTo>
                    <a:cubicBezTo>
                      <a:pt x="180" y="215"/>
                      <a:pt x="175" y="221"/>
                      <a:pt x="175" y="228"/>
                    </a:cubicBezTo>
                    <a:cubicBezTo>
                      <a:pt x="175" y="234"/>
                      <a:pt x="180" y="240"/>
                      <a:pt x="187" y="240"/>
                    </a:cubicBezTo>
                    <a:cubicBezTo>
                      <a:pt x="194" y="240"/>
                      <a:pt x="199" y="234"/>
                      <a:pt x="199" y="228"/>
                    </a:cubicBezTo>
                    <a:cubicBezTo>
                      <a:pt x="199" y="221"/>
                      <a:pt x="194" y="215"/>
                      <a:pt x="187" y="215"/>
                    </a:cubicBezTo>
                    <a:close/>
                    <a:moveTo>
                      <a:pt x="187" y="185"/>
                    </a:moveTo>
                    <a:cubicBezTo>
                      <a:pt x="180" y="185"/>
                      <a:pt x="175" y="190"/>
                      <a:pt x="175" y="197"/>
                    </a:cubicBezTo>
                    <a:cubicBezTo>
                      <a:pt x="175" y="204"/>
                      <a:pt x="180" y="209"/>
                      <a:pt x="187" y="209"/>
                    </a:cubicBezTo>
                    <a:cubicBezTo>
                      <a:pt x="194" y="209"/>
                      <a:pt x="199" y="204"/>
                      <a:pt x="199" y="197"/>
                    </a:cubicBezTo>
                    <a:cubicBezTo>
                      <a:pt x="199" y="190"/>
                      <a:pt x="194" y="185"/>
                      <a:pt x="187" y="185"/>
                    </a:cubicBezTo>
                    <a:close/>
                    <a:moveTo>
                      <a:pt x="187" y="246"/>
                    </a:moveTo>
                    <a:cubicBezTo>
                      <a:pt x="180" y="246"/>
                      <a:pt x="175" y="252"/>
                      <a:pt x="175" y="258"/>
                    </a:cubicBezTo>
                    <a:cubicBezTo>
                      <a:pt x="175" y="265"/>
                      <a:pt x="180" y="270"/>
                      <a:pt x="187" y="270"/>
                    </a:cubicBezTo>
                    <a:cubicBezTo>
                      <a:pt x="194" y="270"/>
                      <a:pt x="199" y="265"/>
                      <a:pt x="199" y="258"/>
                    </a:cubicBezTo>
                    <a:cubicBezTo>
                      <a:pt x="199" y="252"/>
                      <a:pt x="194" y="246"/>
                      <a:pt x="187" y="246"/>
                    </a:cubicBezTo>
                    <a:close/>
                    <a:moveTo>
                      <a:pt x="187" y="154"/>
                    </a:moveTo>
                    <a:cubicBezTo>
                      <a:pt x="180" y="154"/>
                      <a:pt x="175" y="159"/>
                      <a:pt x="175" y="166"/>
                    </a:cubicBezTo>
                    <a:cubicBezTo>
                      <a:pt x="175" y="173"/>
                      <a:pt x="180" y="178"/>
                      <a:pt x="187" y="178"/>
                    </a:cubicBezTo>
                    <a:cubicBezTo>
                      <a:pt x="194" y="178"/>
                      <a:pt x="199" y="173"/>
                      <a:pt x="199" y="166"/>
                    </a:cubicBezTo>
                    <a:cubicBezTo>
                      <a:pt x="199" y="159"/>
                      <a:pt x="194" y="154"/>
                      <a:pt x="187" y="154"/>
                    </a:cubicBezTo>
                    <a:close/>
                    <a:moveTo>
                      <a:pt x="152" y="92"/>
                    </a:moveTo>
                    <a:cubicBezTo>
                      <a:pt x="145" y="92"/>
                      <a:pt x="140" y="98"/>
                      <a:pt x="140" y="105"/>
                    </a:cubicBezTo>
                    <a:cubicBezTo>
                      <a:pt x="140" y="111"/>
                      <a:pt x="145" y="117"/>
                      <a:pt x="152" y="117"/>
                    </a:cubicBezTo>
                    <a:cubicBezTo>
                      <a:pt x="159" y="117"/>
                      <a:pt x="164" y="111"/>
                      <a:pt x="164" y="105"/>
                    </a:cubicBezTo>
                    <a:cubicBezTo>
                      <a:pt x="164" y="98"/>
                      <a:pt x="159" y="92"/>
                      <a:pt x="152" y="92"/>
                    </a:cubicBezTo>
                    <a:close/>
                    <a:moveTo>
                      <a:pt x="152" y="123"/>
                    </a:moveTo>
                    <a:cubicBezTo>
                      <a:pt x="145" y="123"/>
                      <a:pt x="140" y="129"/>
                      <a:pt x="140" y="135"/>
                    </a:cubicBezTo>
                    <a:cubicBezTo>
                      <a:pt x="140" y="142"/>
                      <a:pt x="145" y="148"/>
                      <a:pt x="152" y="148"/>
                    </a:cubicBezTo>
                    <a:cubicBezTo>
                      <a:pt x="159" y="148"/>
                      <a:pt x="164" y="142"/>
                      <a:pt x="164" y="135"/>
                    </a:cubicBezTo>
                    <a:cubicBezTo>
                      <a:pt x="164" y="129"/>
                      <a:pt x="159" y="123"/>
                      <a:pt x="152" y="123"/>
                    </a:cubicBezTo>
                    <a:close/>
                    <a:moveTo>
                      <a:pt x="117" y="215"/>
                    </a:moveTo>
                    <a:cubicBezTo>
                      <a:pt x="110" y="215"/>
                      <a:pt x="105" y="221"/>
                      <a:pt x="105" y="228"/>
                    </a:cubicBezTo>
                    <a:cubicBezTo>
                      <a:pt x="105" y="234"/>
                      <a:pt x="110" y="240"/>
                      <a:pt x="117" y="240"/>
                    </a:cubicBezTo>
                    <a:cubicBezTo>
                      <a:pt x="124" y="240"/>
                      <a:pt x="129" y="234"/>
                      <a:pt x="129" y="228"/>
                    </a:cubicBezTo>
                    <a:cubicBezTo>
                      <a:pt x="129" y="221"/>
                      <a:pt x="124" y="215"/>
                      <a:pt x="117" y="215"/>
                    </a:cubicBezTo>
                    <a:close/>
                    <a:moveTo>
                      <a:pt x="187" y="123"/>
                    </a:moveTo>
                    <a:cubicBezTo>
                      <a:pt x="180" y="123"/>
                      <a:pt x="175" y="129"/>
                      <a:pt x="175" y="135"/>
                    </a:cubicBezTo>
                    <a:cubicBezTo>
                      <a:pt x="175" y="142"/>
                      <a:pt x="180" y="148"/>
                      <a:pt x="187" y="148"/>
                    </a:cubicBezTo>
                    <a:cubicBezTo>
                      <a:pt x="194" y="148"/>
                      <a:pt x="199" y="142"/>
                      <a:pt x="199" y="135"/>
                    </a:cubicBezTo>
                    <a:cubicBezTo>
                      <a:pt x="199" y="129"/>
                      <a:pt x="194" y="123"/>
                      <a:pt x="187" y="123"/>
                    </a:cubicBezTo>
                    <a:close/>
                    <a:moveTo>
                      <a:pt x="117" y="123"/>
                    </a:moveTo>
                    <a:cubicBezTo>
                      <a:pt x="110" y="123"/>
                      <a:pt x="105" y="129"/>
                      <a:pt x="105" y="135"/>
                    </a:cubicBezTo>
                    <a:cubicBezTo>
                      <a:pt x="105" y="142"/>
                      <a:pt x="110" y="148"/>
                      <a:pt x="117" y="148"/>
                    </a:cubicBezTo>
                    <a:cubicBezTo>
                      <a:pt x="124" y="148"/>
                      <a:pt x="129" y="142"/>
                      <a:pt x="129" y="135"/>
                    </a:cubicBezTo>
                    <a:cubicBezTo>
                      <a:pt x="129" y="129"/>
                      <a:pt x="124" y="123"/>
                      <a:pt x="117" y="123"/>
                    </a:cubicBezTo>
                    <a:close/>
                    <a:moveTo>
                      <a:pt x="117" y="154"/>
                    </a:moveTo>
                    <a:cubicBezTo>
                      <a:pt x="110" y="154"/>
                      <a:pt x="105" y="159"/>
                      <a:pt x="105" y="166"/>
                    </a:cubicBezTo>
                    <a:cubicBezTo>
                      <a:pt x="105" y="173"/>
                      <a:pt x="110" y="178"/>
                      <a:pt x="117" y="178"/>
                    </a:cubicBezTo>
                    <a:cubicBezTo>
                      <a:pt x="124" y="178"/>
                      <a:pt x="129" y="173"/>
                      <a:pt x="129" y="166"/>
                    </a:cubicBezTo>
                    <a:cubicBezTo>
                      <a:pt x="129" y="159"/>
                      <a:pt x="124" y="154"/>
                      <a:pt x="117" y="154"/>
                    </a:cubicBezTo>
                    <a:close/>
                    <a:moveTo>
                      <a:pt x="117" y="185"/>
                    </a:moveTo>
                    <a:cubicBezTo>
                      <a:pt x="110" y="185"/>
                      <a:pt x="105" y="190"/>
                      <a:pt x="105" y="197"/>
                    </a:cubicBezTo>
                    <a:cubicBezTo>
                      <a:pt x="105" y="204"/>
                      <a:pt x="110" y="209"/>
                      <a:pt x="117" y="209"/>
                    </a:cubicBezTo>
                    <a:cubicBezTo>
                      <a:pt x="124" y="209"/>
                      <a:pt x="129" y="204"/>
                      <a:pt x="129" y="197"/>
                    </a:cubicBezTo>
                    <a:cubicBezTo>
                      <a:pt x="129" y="190"/>
                      <a:pt x="124" y="185"/>
                      <a:pt x="117" y="185"/>
                    </a:cubicBezTo>
                    <a:close/>
                    <a:moveTo>
                      <a:pt x="117" y="92"/>
                    </a:moveTo>
                    <a:cubicBezTo>
                      <a:pt x="110" y="92"/>
                      <a:pt x="105" y="98"/>
                      <a:pt x="105" y="105"/>
                    </a:cubicBezTo>
                    <a:cubicBezTo>
                      <a:pt x="105" y="111"/>
                      <a:pt x="110" y="117"/>
                      <a:pt x="117" y="117"/>
                    </a:cubicBezTo>
                    <a:cubicBezTo>
                      <a:pt x="124" y="117"/>
                      <a:pt x="129" y="111"/>
                      <a:pt x="129" y="105"/>
                    </a:cubicBezTo>
                    <a:cubicBezTo>
                      <a:pt x="129" y="98"/>
                      <a:pt x="124" y="92"/>
                      <a:pt x="117" y="92"/>
                    </a:cubicBezTo>
                    <a:close/>
                    <a:moveTo>
                      <a:pt x="152" y="185"/>
                    </a:moveTo>
                    <a:cubicBezTo>
                      <a:pt x="145" y="185"/>
                      <a:pt x="140" y="190"/>
                      <a:pt x="140" y="197"/>
                    </a:cubicBezTo>
                    <a:cubicBezTo>
                      <a:pt x="140" y="204"/>
                      <a:pt x="145" y="209"/>
                      <a:pt x="152" y="209"/>
                    </a:cubicBezTo>
                    <a:cubicBezTo>
                      <a:pt x="159" y="209"/>
                      <a:pt x="164" y="204"/>
                      <a:pt x="164" y="197"/>
                    </a:cubicBezTo>
                    <a:cubicBezTo>
                      <a:pt x="164" y="190"/>
                      <a:pt x="159" y="185"/>
                      <a:pt x="152" y="185"/>
                    </a:cubicBezTo>
                    <a:close/>
                    <a:moveTo>
                      <a:pt x="152" y="215"/>
                    </a:moveTo>
                    <a:cubicBezTo>
                      <a:pt x="145" y="215"/>
                      <a:pt x="140" y="221"/>
                      <a:pt x="140" y="228"/>
                    </a:cubicBezTo>
                    <a:cubicBezTo>
                      <a:pt x="140" y="234"/>
                      <a:pt x="145" y="240"/>
                      <a:pt x="152" y="240"/>
                    </a:cubicBezTo>
                    <a:cubicBezTo>
                      <a:pt x="159" y="240"/>
                      <a:pt x="164" y="234"/>
                      <a:pt x="164" y="228"/>
                    </a:cubicBezTo>
                    <a:cubicBezTo>
                      <a:pt x="164" y="221"/>
                      <a:pt x="159" y="215"/>
                      <a:pt x="152" y="215"/>
                    </a:cubicBezTo>
                    <a:close/>
                    <a:moveTo>
                      <a:pt x="152" y="154"/>
                    </a:moveTo>
                    <a:cubicBezTo>
                      <a:pt x="145" y="154"/>
                      <a:pt x="140" y="159"/>
                      <a:pt x="140" y="166"/>
                    </a:cubicBezTo>
                    <a:cubicBezTo>
                      <a:pt x="140" y="173"/>
                      <a:pt x="145" y="178"/>
                      <a:pt x="152" y="178"/>
                    </a:cubicBezTo>
                    <a:cubicBezTo>
                      <a:pt x="159" y="178"/>
                      <a:pt x="164" y="173"/>
                      <a:pt x="164" y="166"/>
                    </a:cubicBezTo>
                    <a:cubicBezTo>
                      <a:pt x="164" y="159"/>
                      <a:pt x="159" y="154"/>
                      <a:pt x="152" y="154"/>
                    </a:cubicBezTo>
                    <a:close/>
                    <a:moveTo>
                      <a:pt x="152" y="246"/>
                    </a:moveTo>
                    <a:cubicBezTo>
                      <a:pt x="145" y="246"/>
                      <a:pt x="140" y="252"/>
                      <a:pt x="140" y="258"/>
                    </a:cubicBezTo>
                    <a:cubicBezTo>
                      <a:pt x="140" y="265"/>
                      <a:pt x="145" y="270"/>
                      <a:pt x="152" y="270"/>
                    </a:cubicBezTo>
                    <a:cubicBezTo>
                      <a:pt x="159" y="270"/>
                      <a:pt x="164" y="265"/>
                      <a:pt x="164" y="258"/>
                    </a:cubicBezTo>
                    <a:cubicBezTo>
                      <a:pt x="164" y="252"/>
                      <a:pt x="159" y="246"/>
                      <a:pt x="152" y="246"/>
                    </a:cubicBezTo>
                    <a:close/>
                    <a:moveTo>
                      <a:pt x="152" y="277"/>
                    </a:moveTo>
                    <a:cubicBezTo>
                      <a:pt x="145" y="277"/>
                      <a:pt x="140" y="282"/>
                      <a:pt x="140" y="289"/>
                    </a:cubicBezTo>
                    <a:cubicBezTo>
                      <a:pt x="140" y="296"/>
                      <a:pt x="145" y="301"/>
                      <a:pt x="152" y="301"/>
                    </a:cubicBezTo>
                    <a:cubicBezTo>
                      <a:pt x="159" y="301"/>
                      <a:pt x="164" y="296"/>
                      <a:pt x="164" y="289"/>
                    </a:cubicBezTo>
                    <a:cubicBezTo>
                      <a:pt x="164" y="282"/>
                      <a:pt x="159" y="277"/>
                      <a:pt x="152" y="277"/>
                    </a:cubicBezTo>
                    <a:close/>
                  </a:path>
                </a:pathLst>
              </a:custGeom>
              <a:solidFill>
                <a:srgbClr val="FFFFFF"/>
              </a:solidFill>
              <a:ln>
                <a:noFill/>
              </a:ln>
              <a:extLst/>
            </p:spPr>
            <p:txBody>
              <a:bodyPr/>
              <a:lstStyle/>
              <a:p>
                <a:pPr>
                  <a:spcBef>
                    <a:spcPct val="50000"/>
                  </a:spcBef>
                  <a:defRPr/>
                </a:pPr>
                <a:endParaRPr lang="en-US">
                  <a:solidFill>
                    <a:srgbClr val="00A9D4"/>
                  </a:solidFill>
                  <a:latin typeface="Arial" charset="0"/>
                  <a:cs typeface="Arial" pitchFamily="34" charset="0"/>
                </a:endParaRPr>
              </a:p>
            </p:txBody>
          </p:sp>
          <p:sp>
            <p:nvSpPr>
              <p:cNvPr id="49" name="Freeform 12"/>
              <p:cNvSpPr>
                <a:spLocks noChangeAspect="1" noEditPoints="1"/>
              </p:cNvSpPr>
              <p:nvPr/>
            </p:nvSpPr>
            <p:spPr bwMode="auto">
              <a:xfrm>
                <a:off x="4235450" y="2195513"/>
                <a:ext cx="657225" cy="523875"/>
              </a:xfrm>
              <a:custGeom>
                <a:avLst/>
                <a:gdLst>
                  <a:gd name="T0" fmla="*/ 2147483647 w 340"/>
                  <a:gd name="T1" fmla="*/ 2147483647 h 271"/>
                  <a:gd name="T2" fmla="*/ 2147483647 w 340"/>
                  <a:gd name="T3" fmla="*/ 2147483647 h 271"/>
                  <a:gd name="T4" fmla="*/ 2147483647 w 340"/>
                  <a:gd name="T5" fmla="*/ 2147483647 h 271"/>
                  <a:gd name="T6" fmla="*/ 0 w 340"/>
                  <a:gd name="T7" fmla="*/ 2147483647 h 271"/>
                  <a:gd name="T8" fmla="*/ 2147483647 w 340"/>
                  <a:gd name="T9" fmla="*/ 2147483647 h 271"/>
                  <a:gd name="T10" fmla="*/ 2147483647 w 340"/>
                  <a:gd name="T11" fmla="*/ 2147483647 h 271"/>
                  <a:gd name="T12" fmla="*/ 2147483647 w 340"/>
                  <a:gd name="T13" fmla="*/ 2147483647 h 271"/>
                  <a:gd name="T14" fmla="*/ 2147483647 w 340"/>
                  <a:gd name="T15" fmla="*/ 2147483647 h 271"/>
                  <a:gd name="T16" fmla="*/ 2147483647 w 340"/>
                  <a:gd name="T17" fmla="*/ 2147483647 h 271"/>
                  <a:gd name="T18" fmla="*/ 2147483647 w 340"/>
                  <a:gd name="T19" fmla="*/ 2147483647 h 271"/>
                  <a:gd name="T20" fmla="*/ 2147483647 w 340"/>
                  <a:gd name="T21" fmla="*/ 2147483647 h 271"/>
                  <a:gd name="T22" fmla="*/ 2147483647 w 340"/>
                  <a:gd name="T23" fmla="*/ 2147483647 h 271"/>
                  <a:gd name="T24" fmla="*/ 2147483647 w 340"/>
                  <a:gd name="T25" fmla="*/ 2147483647 h 271"/>
                  <a:gd name="T26" fmla="*/ 2147483647 w 340"/>
                  <a:gd name="T27" fmla="*/ 2147483647 h 271"/>
                  <a:gd name="T28" fmla="*/ 2147483647 w 340"/>
                  <a:gd name="T29" fmla="*/ 2147483647 h 271"/>
                  <a:gd name="T30" fmla="*/ 2147483647 w 340"/>
                  <a:gd name="T31" fmla="*/ 2147483647 h 271"/>
                  <a:gd name="T32" fmla="*/ 2147483647 w 340"/>
                  <a:gd name="T33" fmla="*/ 2147483647 h 271"/>
                  <a:gd name="T34" fmla="*/ 2147483647 w 340"/>
                  <a:gd name="T35" fmla="*/ 2147483647 h 271"/>
                  <a:gd name="T36" fmla="*/ 2147483647 w 340"/>
                  <a:gd name="T37" fmla="*/ 2147483647 h 271"/>
                  <a:gd name="T38" fmla="*/ 2147483647 w 340"/>
                  <a:gd name="T39" fmla="*/ 2147483647 h 271"/>
                  <a:gd name="T40" fmla="*/ 2147483647 w 340"/>
                  <a:gd name="T41" fmla="*/ 2147483647 h 271"/>
                  <a:gd name="T42" fmla="*/ 2147483647 w 340"/>
                  <a:gd name="T43" fmla="*/ 2147483647 h 271"/>
                  <a:gd name="T44" fmla="*/ 2147483647 w 340"/>
                  <a:gd name="T45" fmla="*/ 2147483647 h 271"/>
                  <a:gd name="T46" fmla="*/ 2147483647 w 340"/>
                  <a:gd name="T47" fmla="*/ 2147483647 h 271"/>
                  <a:gd name="T48" fmla="*/ 2147483647 w 340"/>
                  <a:gd name="T49" fmla="*/ 2147483647 h 271"/>
                  <a:gd name="T50" fmla="*/ 2147483647 w 340"/>
                  <a:gd name="T51" fmla="*/ 2147483647 h 271"/>
                  <a:gd name="T52" fmla="*/ 2147483647 w 340"/>
                  <a:gd name="T53" fmla="*/ 2147483647 h 271"/>
                  <a:gd name="T54" fmla="*/ 2147483647 w 340"/>
                  <a:gd name="T55" fmla="*/ 2147483647 h 271"/>
                  <a:gd name="T56" fmla="*/ 2147483647 w 340"/>
                  <a:gd name="T57" fmla="*/ 2147483647 h 271"/>
                  <a:gd name="T58" fmla="*/ 2147483647 w 340"/>
                  <a:gd name="T59" fmla="*/ 2147483647 h 271"/>
                  <a:gd name="T60" fmla="*/ 2147483647 w 340"/>
                  <a:gd name="T61" fmla="*/ 2147483647 h 271"/>
                  <a:gd name="T62" fmla="*/ 2147483647 w 340"/>
                  <a:gd name="T63" fmla="*/ 2147483647 h 271"/>
                  <a:gd name="T64" fmla="*/ 2147483647 w 340"/>
                  <a:gd name="T65" fmla="*/ 2147483647 h 271"/>
                  <a:gd name="T66" fmla="*/ 2147483647 w 340"/>
                  <a:gd name="T67" fmla="*/ 2147483647 h 271"/>
                  <a:gd name="T68" fmla="*/ 2147483647 w 340"/>
                  <a:gd name="T69" fmla="*/ 2147483647 h 271"/>
                  <a:gd name="T70" fmla="*/ 2147483647 w 340"/>
                  <a:gd name="T71" fmla="*/ 2147483647 h 271"/>
                  <a:gd name="T72" fmla="*/ 2147483647 w 340"/>
                  <a:gd name="T73" fmla="*/ 2147483647 h 271"/>
                  <a:gd name="T74" fmla="*/ 2147483647 w 340"/>
                  <a:gd name="T75" fmla="*/ 2147483647 h 271"/>
                  <a:gd name="T76" fmla="*/ 2147483647 w 340"/>
                  <a:gd name="T77" fmla="*/ 2147483647 h 271"/>
                  <a:gd name="T78" fmla="*/ 2147483647 w 340"/>
                  <a:gd name="T79" fmla="*/ 2147483647 h 271"/>
                  <a:gd name="T80" fmla="*/ 2147483647 w 340"/>
                  <a:gd name="T81" fmla="*/ 2147483647 h 271"/>
                  <a:gd name="T82" fmla="*/ 2147483647 w 340"/>
                  <a:gd name="T83" fmla="*/ 2147483647 h 271"/>
                  <a:gd name="T84" fmla="*/ 2147483647 w 340"/>
                  <a:gd name="T85" fmla="*/ 2147483647 h 271"/>
                  <a:gd name="T86" fmla="*/ 2147483647 w 340"/>
                  <a:gd name="T87" fmla="*/ 2147483647 h 271"/>
                  <a:gd name="T88" fmla="*/ 2147483647 w 340"/>
                  <a:gd name="T89" fmla="*/ 2147483647 h 271"/>
                  <a:gd name="T90" fmla="*/ 2147483647 w 340"/>
                  <a:gd name="T91" fmla="*/ 2147483647 h 271"/>
                  <a:gd name="T92" fmla="*/ 2147483647 w 340"/>
                  <a:gd name="T93" fmla="*/ 2147483647 h 271"/>
                  <a:gd name="T94" fmla="*/ 2147483647 w 340"/>
                  <a:gd name="T95" fmla="*/ 2147483647 h 271"/>
                  <a:gd name="T96" fmla="*/ 2147483647 w 340"/>
                  <a:gd name="T97" fmla="*/ 2147483647 h 271"/>
                  <a:gd name="T98" fmla="*/ 2147483647 w 340"/>
                  <a:gd name="T99" fmla="*/ 2147483647 h 271"/>
                  <a:gd name="T100" fmla="*/ 2147483647 w 340"/>
                  <a:gd name="T101" fmla="*/ 2147483647 h 271"/>
                  <a:gd name="T102" fmla="*/ 2147483647 w 340"/>
                  <a:gd name="T103" fmla="*/ 2147483647 h 271"/>
                  <a:gd name="T104" fmla="*/ 2147483647 w 340"/>
                  <a:gd name="T105" fmla="*/ 2147483647 h 271"/>
                  <a:gd name="T106" fmla="*/ 2147483647 w 340"/>
                  <a:gd name="T107" fmla="*/ 2147483647 h 271"/>
                  <a:gd name="T108" fmla="*/ 2147483647 w 340"/>
                  <a:gd name="T109" fmla="*/ 2147483647 h 271"/>
                  <a:gd name="T110" fmla="*/ 2147483647 w 340"/>
                  <a:gd name="T111" fmla="*/ 2147483647 h 271"/>
                  <a:gd name="T112" fmla="*/ 2147483647 w 340"/>
                  <a:gd name="T113" fmla="*/ 2147483647 h 271"/>
                  <a:gd name="T114" fmla="*/ 2147483647 w 340"/>
                  <a:gd name="T115" fmla="*/ 2147483647 h 271"/>
                  <a:gd name="T116" fmla="*/ 2147483647 w 340"/>
                  <a:gd name="T117" fmla="*/ 2147483647 h 271"/>
                  <a:gd name="T118" fmla="*/ 2147483647 w 340"/>
                  <a:gd name="T119" fmla="*/ 2147483647 h 27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40" h="271">
                    <a:moveTo>
                      <a:pt x="223" y="123"/>
                    </a:moveTo>
                    <a:cubicBezTo>
                      <a:pt x="216" y="123"/>
                      <a:pt x="210" y="129"/>
                      <a:pt x="210" y="136"/>
                    </a:cubicBezTo>
                    <a:cubicBezTo>
                      <a:pt x="210" y="142"/>
                      <a:pt x="216" y="148"/>
                      <a:pt x="223" y="148"/>
                    </a:cubicBezTo>
                    <a:cubicBezTo>
                      <a:pt x="229" y="148"/>
                      <a:pt x="235" y="142"/>
                      <a:pt x="235" y="136"/>
                    </a:cubicBezTo>
                    <a:cubicBezTo>
                      <a:pt x="235" y="129"/>
                      <a:pt x="229" y="123"/>
                      <a:pt x="223" y="123"/>
                    </a:cubicBezTo>
                    <a:close/>
                    <a:moveTo>
                      <a:pt x="12" y="123"/>
                    </a:moveTo>
                    <a:cubicBezTo>
                      <a:pt x="6" y="123"/>
                      <a:pt x="0" y="129"/>
                      <a:pt x="0" y="136"/>
                    </a:cubicBezTo>
                    <a:cubicBezTo>
                      <a:pt x="0" y="142"/>
                      <a:pt x="6" y="148"/>
                      <a:pt x="12" y="148"/>
                    </a:cubicBezTo>
                    <a:cubicBezTo>
                      <a:pt x="19" y="148"/>
                      <a:pt x="24" y="142"/>
                      <a:pt x="24" y="136"/>
                    </a:cubicBezTo>
                    <a:cubicBezTo>
                      <a:pt x="24" y="129"/>
                      <a:pt x="19" y="123"/>
                      <a:pt x="12" y="123"/>
                    </a:cubicBezTo>
                    <a:close/>
                    <a:moveTo>
                      <a:pt x="12" y="93"/>
                    </a:moveTo>
                    <a:cubicBezTo>
                      <a:pt x="6" y="93"/>
                      <a:pt x="0" y="98"/>
                      <a:pt x="0" y="105"/>
                    </a:cubicBezTo>
                    <a:cubicBezTo>
                      <a:pt x="0" y="112"/>
                      <a:pt x="6" y="117"/>
                      <a:pt x="12" y="117"/>
                    </a:cubicBezTo>
                    <a:cubicBezTo>
                      <a:pt x="19" y="117"/>
                      <a:pt x="24" y="112"/>
                      <a:pt x="24" y="105"/>
                    </a:cubicBezTo>
                    <a:cubicBezTo>
                      <a:pt x="24" y="98"/>
                      <a:pt x="19" y="93"/>
                      <a:pt x="12" y="93"/>
                    </a:cubicBezTo>
                    <a:close/>
                    <a:moveTo>
                      <a:pt x="328" y="216"/>
                    </a:moveTo>
                    <a:cubicBezTo>
                      <a:pt x="321" y="216"/>
                      <a:pt x="316" y="221"/>
                      <a:pt x="316" y="228"/>
                    </a:cubicBezTo>
                    <a:cubicBezTo>
                      <a:pt x="316" y="234"/>
                      <a:pt x="321" y="240"/>
                      <a:pt x="328" y="240"/>
                    </a:cubicBezTo>
                    <a:cubicBezTo>
                      <a:pt x="334" y="240"/>
                      <a:pt x="340" y="234"/>
                      <a:pt x="340" y="228"/>
                    </a:cubicBezTo>
                    <a:cubicBezTo>
                      <a:pt x="340" y="221"/>
                      <a:pt x="334" y="216"/>
                      <a:pt x="328" y="216"/>
                    </a:cubicBezTo>
                    <a:close/>
                    <a:moveTo>
                      <a:pt x="328" y="185"/>
                    </a:moveTo>
                    <a:cubicBezTo>
                      <a:pt x="321" y="185"/>
                      <a:pt x="316" y="190"/>
                      <a:pt x="316" y="197"/>
                    </a:cubicBezTo>
                    <a:cubicBezTo>
                      <a:pt x="316" y="204"/>
                      <a:pt x="321" y="209"/>
                      <a:pt x="328" y="209"/>
                    </a:cubicBezTo>
                    <a:cubicBezTo>
                      <a:pt x="334" y="209"/>
                      <a:pt x="340" y="204"/>
                      <a:pt x="340" y="197"/>
                    </a:cubicBezTo>
                    <a:cubicBezTo>
                      <a:pt x="340" y="190"/>
                      <a:pt x="334" y="185"/>
                      <a:pt x="328" y="185"/>
                    </a:cubicBezTo>
                    <a:close/>
                    <a:moveTo>
                      <a:pt x="328" y="148"/>
                    </a:moveTo>
                    <a:cubicBezTo>
                      <a:pt x="334" y="148"/>
                      <a:pt x="340" y="142"/>
                      <a:pt x="340" y="136"/>
                    </a:cubicBezTo>
                    <a:cubicBezTo>
                      <a:pt x="340" y="129"/>
                      <a:pt x="334" y="123"/>
                      <a:pt x="328" y="123"/>
                    </a:cubicBezTo>
                    <a:cubicBezTo>
                      <a:pt x="321" y="123"/>
                      <a:pt x="316" y="129"/>
                      <a:pt x="316" y="136"/>
                    </a:cubicBezTo>
                    <a:cubicBezTo>
                      <a:pt x="316" y="142"/>
                      <a:pt x="321" y="148"/>
                      <a:pt x="328" y="148"/>
                    </a:cubicBezTo>
                    <a:close/>
                    <a:moveTo>
                      <a:pt x="328" y="154"/>
                    </a:moveTo>
                    <a:cubicBezTo>
                      <a:pt x="321" y="154"/>
                      <a:pt x="316" y="160"/>
                      <a:pt x="316" y="166"/>
                    </a:cubicBezTo>
                    <a:cubicBezTo>
                      <a:pt x="316" y="173"/>
                      <a:pt x="321" y="178"/>
                      <a:pt x="328" y="178"/>
                    </a:cubicBezTo>
                    <a:cubicBezTo>
                      <a:pt x="334" y="178"/>
                      <a:pt x="340" y="173"/>
                      <a:pt x="340" y="166"/>
                    </a:cubicBezTo>
                    <a:cubicBezTo>
                      <a:pt x="340" y="160"/>
                      <a:pt x="334" y="154"/>
                      <a:pt x="328" y="154"/>
                    </a:cubicBezTo>
                    <a:close/>
                    <a:moveTo>
                      <a:pt x="293" y="93"/>
                    </a:moveTo>
                    <a:cubicBezTo>
                      <a:pt x="286" y="93"/>
                      <a:pt x="280" y="98"/>
                      <a:pt x="280" y="105"/>
                    </a:cubicBezTo>
                    <a:cubicBezTo>
                      <a:pt x="280" y="112"/>
                      <a:pt x="286" y="117"/>
                      <a:pt x="293" y="117"/>
                    </a:cubicBezTo>
                    <a:cubicBezTo>
                      <a:pt x="299" y="117"/>
                      <a:pt x="305" y="112"/>
                      <a:pt x="305" y="105"/>
                    </a:cubicBezTo>
                    <a:cubicBezTo>
                      <a:pt x="305" y="98"/>
                      <a:pt x="299" y="93"/>
                      <a:pt x="293" y="93"/>
                    </a:cubicBezTo>
                    <a:close/>
                    <a:moveTo>
                      <a:pt x="293" y="246"/>
                    </a:moveTo>
                    <a:cubicBezTo>
                      <a:pt x="286" y="246"/>
                      <a:pt x="280" y="252"/>
                      <a:pt x="280" y="259"/>
                    </a:cubicBezTo>
                    <a:cubicBezTo>
                      <a:pt x="280" y="265"/>
                      <a:pt x="286" y="271"/>
                      <a:pt x="293" y="271"/>
                    </a:cubicBezTo>
                    <a:cubicBezTo>
                      <a:pt x="299" y="271"/>
                      <a:pt x="305" y="265"/>
                      <a:pt x="305" y="259"/>
                    </a:cubicBezTo>
                    <a:cubicBezTo>
                      <a:pt x="305" y="252"/>
                      <a:pt x="299" y="246"/>
                      <a:pt x="293" y="246"/>
                    </a:cubicBezTo>
                    <a:close/>
                    <a:moveTo>
                      <a:pt x="293" y="216"/>
                    </a:moveTo>
                    <a:cubicBezTo>
                      <a:pt x="286" y="216"/>
                      <a:pt x="280" y="221"/>
                      <a:pt x="280" y="228"/>
                    </a:cubicBezTo>
                    <a:cubicBezTo>
                      <a:pt x="280" y="234"/>
                      <a:pt x="286" y="240"/>
                      <a:pt x="293" y="240"/>
                    </a:cubicBezTo>
                    <a:cubicBezTo>
                      <a:pt x="299" y="240"/>
                      <a:pt x="305" y="234"/>
                      <a:pt x="305" y="228"/>
                    </a:cubicBezTo>
                    <a:cubicBezTo>
                      <a:pt x="305" y="221"/>
                      <a:pt x="299" y="216"/>
                      <a:pt x="293" y="216"/>
                    </a:cubicBezTo>
                    <a:close/>
                    <a:moveTo>
                      <a:pt x="293" y="123"/>
                    </a:moveTo>
                    <a:cubicBezTo>
                      <a:pt x="286" y="123"/>
                      <a:pt x="280" y="129"/>
                      <a:pt x="280" y="136"/>
                    </a:cubicBezTo>
                    <a:cubicBezTo>
                      <a:pt x="280" y="142"/>
                      <a:pt x="286" y="148"/>
                      <a:pt x="293" y="148"/>
                    </a:cubicBezTo>
                    <a:cubicBezTo>
                      <a:pt x="299" y="148"/>
                      <a:pt x="305" y="142"/>
                      <a:pt x="305" y="136"/>
                    </a:cubicBezTo>
                    <a:cubicBezTo>
                      <a:pt x="305" y="129"/>
                      <a:pt x="299" y="123"/>
                      <a:pt x="293" y="123"/>
                    </a:cubicBezTo>
                    <a:close/>
                    <a:moveTo>
                      <a:pt x="293" y="154"/>
                    </a:moveTo>
                    <a:cubicBezTo>
                      <a:pt x="286" y="154"/>
                      <a:pt x="280" y="160"/>
                      <a:pt x="280" y="166"/>
                    </a:cubicBezTo>
                    <a:cubicBezTo>
                      <a:pt x="280" y="173"/>
                      <a:pt x="286" y="178"/>
                      <a:pt x="293" y="178"/>
                    </a:cubicBezTo>
                    <a:cubicBezTo>
                      <a:pt x="299" y="178"/>
                      <a:pt x="305" y="173"/>
                      <a:pt x="305" y="166"/>
                    </a:cubicBezTo>
                    <a:cubicBezTo>
                      <a:pt x="305" y="160"/>
                      <a:pt x="299" y="154"/>
                      <a:pt x="293" y="154"/>
                    </a:cubicBezTo>
                    <a:close/>
                    <a:moveTo>
                      <a:pt x="293" y="185"/>
                    </a:moveTo>
                    <a:cubicBezTo>
                      <a:pt x="286" y="185"/>
                      <a:pt x="280" y="190"/>
                      <a:pt x="280" y="197"/>
                    </a:cubicBezTo>
                    <a:cubicBezTo>
                      <a:pt x="280" y="204"/>
                      <a:pt x="286" y="209"/>
                      <a:pt x="293" y="209"/>
                    </a:cubicBezTo>
                    <a:cubicBezTo>
                      <a:pt x="299" y="209"/>
                      <a:pt x="305" y="204"/>
                      <a:pt x="305" y="197"/>
                    </a:cubicBezTo>
                    <a:cubicBezTo>
                      <a:pt x="305" y="190"/>
                      <a:pt x="299" y="185"/>
                      <a:pt x="293" y="185"/>
                    </a:cubicBezTo>
                    <a:close/>
                    <a:moveTo>
                      <a:pt x="152" y="154"/>
                    </a:moveTo>
                    <a:cubicBezTo>
                      <a:pt x="146" y="154"/>
                      <a:pt x="140" y="160"/>
                      <a:pt x="140" y="166"/>
                    </a:cubicBezTo>
                    <a:cubicBezTo>
                      <a:pt x="140" y="173"/>
                      <a:pt x="146" y="178"/>
                      <a:pt x="152" y="178"/>
                    </a:cubicBezTo>
                    <a:cubicBezTo>
                      <a:pt x="159" y="178"/>
                      <a:pt x="165" y="173"/>
                      <a:pt x="165" y="166"/>
                    </a:cubicBezTo>
                    <a:cubicBezTo>
                      <a:pt x="165" y="160"/>
                      <a:pt x="159" y="154"/>
                      <a:pt x="152" y="154"/>
                    </a:cubicBezTo>
                    <a:close/>
                    <a:moveTo>
                      <a:pt x="152" y="123"/>
                    </a:moveTo>
                    <a:cubicBezTo>
                      <a:pt x="146" y="123"/>
                      <a:pt x="140" y="129"/>
                      <a:pt x="140" y="136"/>
                    </a:cubicBezTo>
                    <a:cubicBezTo>
                      <a:pt x="140" y="142"/>
                      <a:pt x="146" y="148"/>
                      <a:pt x="152" y="148"/>
                    </a:cubicBezTo>
                    <a:cubicBezTo>
                      <a:pt x="159" y="148"/>
                      <a:pt x="165" y="142"/>
                      <a:pt x="165" y="136"/>
                    </a:cubicBezTo>
                    <a:cubicBezTo>
                      <a:pt x="165" y="129"/>
                      <a:pt x="159" y="123"/>
                      <a:pt x="152" y="123"/>
                    </a:cubicBezTo>
                    <a:close/>
                    <a:moveTo>
                      <a:pt x="82" y="0"/>
                    </a:moveTo>
                    <a:cubicBezTo>
                      <a:pt x="76" y="0"/>
                      <a:pt x="70" y="6"/>
                      <a:pt x="70" y="13"/>
                    </a:cubicBezTo>
                    <a:cubicBezTo>
                      <a:pt x="70" y="19"/>
                      <a:pt x="76" y="25"/>
                      <a:pt x="82" y="25"/>
                    </a:cubicBezTo>
                    <a:cubicBezTo>
                      <a:pt x="89" y="25"/>
                      <a:pt x="95" y="19"/>
                      <a:pt x="95" y="13"/>
                    </a:cubicBezTo>
                    <a:cubicBezTo>
                      <a:pt x="95" y="6"/>
                      <a:pt x="89" y="0"/>
                      <a:pt x="82" y="0"/>
                    </a:cubicBezTo>
                    <a:close/>
                    <a:moveTo>
                      <a:pt x="47" y="154"/>
                    </a:moveTo>
                    <a:cubicBezTo>
                      <a:pt x="41" y="154"/>
                      <a:pt x="35" y="160"/>
                      <a:pt x="35" y="166"/>
                    </a:cubicBezTo>
                    <a:cubicBezTo>
                      <a:pt x="35" y="173"/>
                      <a:pt x="41" y="178"/>
                      <a:pt x="47" y="178"/>
                    </a:cubicBezTo>
                    <a:cubicBezTo>
                      <a:pt x="54" y="178"/>
                      <a:pt x="60" y="173"/>
                      <a:pt x="60" y="166"/>
                    </a:cubicBezTo>
                    <a:cubicBezTo>
                      <a:pt x="60" y="160"/>
                      <a:pt x="54" y="154"/>
                      <a:pt x="47" y="154"/>
                    </a:cubicBezTo>
                    <a:close/>
                    <a:moveTo>
                      <a:pt x="47" y="123"/>
                    </a:moveTo>
                    <a:cubicBezTo>
                      <a:pt x="41" y="123"/>
                      <a:pt x="35" y="129"/>
                      <a:pt x="35" y="136"/>
                    </a:cubicBezTo>
                    <a:cubicBezTo>
                      <a:pt x="35" y="142"/>
                      <a:pt x="41" y="148"/>
                      <a:pt x="47" y="148"/>
                    </a:cubicBezTo>
                    <a:cubicBezTo>
                      <a:pt x="54" y="148"/>
                      <a:pt x="60" y="142"/>
                      <a:pt x="60" y="136"/>
                    </a:cubicBezTo>
                    <a:cubicBezTo>
                      <a:pt x="60" y="129"/>
                      <a:pt x="54" y="123"/>
                      <a:pt x="47" y="123"/>
                    </a:cubicBezTo>
                    <a:close/>
                    <a:moveTo>
                      <a:pt x="47" y="31"/>
                    </a:moveTo>
                    <a:cubicBezTo>
                      <a:pt x="41" y="31"/>
                      <a:pt x="35" y="37"/>
                      <a:pt x="35" y="43"/>
                    </a:cubicBezTo>
                    <a:cubicBezTo>
                      <a:pt x="35" y="50"/>
                      <a:pt x="41" y="55"/>
                      <a:pt x="47" y="55"/>
                    </a:cubicBezTo>
                    <a:cubicBezTo>
                      <a:pt x="54" y="55"/>
                      <a:pt x="60" y="50"/>
                      <a:pt x="60" y="43"/>
                    </a:cubicBezTo>
                    <a:cubicBezTo>
                      <a:pt x="60" y="37"/>
                      <a:pt x="54" y="31"/>
                      <a:pt x="47" y="31"/>
                    </a:cubicBezTo>
                    <a:close/>
                    <a:moveTo>
                      <a:pt x="47" y="62"/>
                    </a:moveTo>
                    <a:cubicBezTo>
                      <a:pt x="41" y="62"/>
                      <a:pt x="35" y="67"/>
                      <a:pt x="35" y="74"/>
                    </a:cubicBezTo>
                    <a:cubicBezTo>
                      <a:pt x="35" y="81"/>
                      <a:pt x="41" y="86"/>
                      <a:pt x="47" y="86"/>
                    </a:cubicBezTo>
                    <a:cubicBezTo>
                      <a:pt x="54" y="86"/>
                      <a:pt x="60" y="81"/>
                      <a:pt x="60" y="74"/>
                    </a:cubicBezTo>
                    <a:cubicBezTo>
                      <a:pt x="60" y="67"/>
                      <a:pt x="54" y="62"/>
                      <a:pt x="47" y="62"/>
                    </a:cubicBezTo>
                    <a:close/>
                    <a:moveTo>
                      <a:pt x="47" y="93"/>
                    </a:moveTo>
                    <a:cubicBezTo>
                      <a:pt x="41" y="93"/>
                      <a:pt x="35" y="98"/>
                      <a:pt x="35" y="105"/>
                    </a:cubicBezTo>
                    <a:cubicBezTo>
                      <a:pt x="35" y="112"/>
                      <a:pt x="41" y="117"/>
                      <a:pt x="47" y="117"/>
                    </a:cubicBezTo>
                    <a:cubicBezTo>
                      <a:pt x="54" y="117"/>
                      <a:pt x="60" y="112"/>
                      <a:pt x="60" y="105"/>
                    </a:cubicBezTo>
                    <a:cubicBezTo>
                      <a:pt x="60" y="98"/>
                      <a:pt x="54" y="93"/>
                      <a:pt x="47" y="93"/>
                    </a:cubicBezTo>
                    <a:close/>
                    <a:moveTo>
                      <a:pt x="82" y="93"/>
                    </a:moveTo>
                    <a:cubicBezTo>
                      <a:pt x="76" y="93"/>
                      <a:pt x="70" y="98"/>
                      <a:pt x="70" y="105"/>
                    </a:cubicBezTo>
                    <a:cubicBezTo>
                      <a:pt x="70" y="112"/>
                      <a:pt x="76" y="117"/>
                      <a:pt x="82" y="117"/>
                    </a:cubicBezTo>
                    <a:cubicBezTo>
                      <a:pt x="89" y="117"/>
                      <a:pt x="95" y="112"/>
                      <a:pt x="95" y="105"/>
                    </a:cubicBezTo>
                    <a:cubicBezTo>
                      <a:pt x="95" y="98"/>
                      <a:pt x="89" y="93"/>
                      <a:pt x="82" y="93"/>
                    </a:cubicBezTo>
                    <a:close/>
                    <a:moveTo>
                      <a:pt x="82" y="123"/>
                    </a:moveTo>
                    <a:cubicBezTo>
                      <a:pt x="76" y="123"/>
                      <a:pt x="70" y="129"/>
                      <a:pt x="70" y="136"/>
                    </a:cubicBezTo>
                    <a:cubicBezTo>
                      <a:pt x="70" y="142"/>
                      <a:pt x="76" y="148"/>
                      <a:pt x="82" y="148"/>
                    </a:cubicBezTo>
                    <a:cubicBezTo>
                      <a:pt x="89" y="148"/>
                      <a:pt x="95" y="142"/>
                      <a:pt x="95" y="136"/>
                    </a:cubicBezTo>
                    <a:cubicBezTo>
                      <a:pt x="95" y="129"/>
                      <a:pt x="89" y="123"/>
                      <a:pt x="82" y="123"/>
                    </a:cubicBezTo>
                    <a:close/>
                    <a:moveTo>
                      <a:pt x="258" y="123"/>
                    </a:moveTo>
                    <a:cubicBezTo>
                      <a:pt x="251" y="123"/>
                      <a:pt x="245" y="129"/>
                      <a:pt x="245" y="136"/>
                    </a:cubicBezTo>
                    <a:cubicBezTo>
                      <a:pt x="245" y="142"/>
                      <a:pt x="251" y="148"/>
                      <a:pt x="258" y="148"/>
                    </a:cubicBezTo>
                    <a:cubicBezTo>
                      <a:pt x="264" y="148"/>
                      <a:pt x="270" y="142"/>
                      <a:pt x="270" y="136"/>
                    </a:cubicBezTo>
                    <a:cubicBezTo>
                      <a:pt x="270" y="129"/>
                      <a:pt x="264" y="123"/>
                      <a:pt x="258" y="123"/>
                    </a:cubicBezTo>
                    <a:close/>
                    <a:moveTo>
                      <a:pt x="258" y="154"/>
                    </a:moveTo>
                    <a:cubicBezTo>
                      <a:pt x="251" y="154"/>
                      <a:pt x="245" y="160"/>
                      <a:pt x="245" y="166"/>
                    </a:cubicBezTo>
                    <a:cubicBezTo>
                      <a:pt x="245" y="173"/>
                      <a:pt x="251" y="178"/>
                      <a:pt x="258" y="178"/>
                    </a:cubicBezTo>
                    <a:cubicBezTo>
                      <a:pt x="264" y="178"/>
                      <a:pt x="270" y="173"/>
                      <a:pt x="270" y="166"/>
                    </a:cubicBezTo>
                    <a:cubicBezTo>
                      <a:pt x="270" y="160"/>
                      <a:pt x="264" y="154"/>
                      <a:pt x="258" y="154"/>
                    </a:cubicBezTo>
                    <a:close/>
                    <a:moveTo>
                      <a:pt x="258" y="185"/>
                    </a:moveTo>
                    <a:cubicBezTo>
                      <a:pt x="251" y="185"/>
                      <a:pt x="245" y="190"/>
                      <a:pt x="245" y="197"/>
                    </a:cubicBezTo>
                    <a:cubicBezTo>
                      <a:pt x="245" y="204"/>
                      <a:pt x="251" y="209"/>
                      <a:pt x="258" y="209"/>
                    </a:cubicBezTo>
                    <a:cubicBezTo>
                      <a:pt x="264" y="209"/>
                      <a:pt x="270" y="204"/>
                      <a:pt x="270" y="197"/>
                    </a:cubicBezTo>
                    <a:cubicBezTo>
                      <a:pt x="270" y="190"/>
                      <a:pt x="264" y="185"/>
                      <a:pt x="258" y="185"/>
                    </a:cubicBezTo>
                    <a:close/>
                    <a:moveTo>
                      <a:pt x="258" y="216"/>
                    </a:moveTo>
                    <a:cubicBezTo>
                      <a:pt x="251" y="216"/>
                      <a:pt x="245" y="221"/>
                      <a:pt x="245" y="228"/>
                    </a:cubicBezTo>
                    <a:cubicBezTo>
                      <a:pt x="245" y="234"/>
                      <a:pt x="251" y="240"/>
                      <a:pt x="258" y="240"/>
                    </a:cubicBezTo>
                    <a:cubicBezTo>
                      <a:pt x="264" y="240"/>
                      <a:pt x="270" y="234"/>
                      <a:pt x="270" y="228"/>
                    </a:cubicBezTo>
                    <a:cubicBezTo>
                      <a:pt x="270" y="221"/>
                      <a:pt x="264" y="216"/>
                      <a:pt x="258" y="216"/>
                    </a:cubicBezTo>
                    <a:close/>
                    <a:moveTo>
                      <a:pt x="188" y="185"/>
                    </a:moveTo>
                    <a:cubicBezTo>
                      <a:pt x="181" y="185"/>
                      <a:pt x="175" y="190"/>
                      <a:pt x="175" y="197"/>
                    </a:cubicBezTo>
                    <a:cubicBezTo>
                      <a:pt x="175" y="204"/>
                      <a:pt x="181" y="209"/>
                      <a:pt x="188" y="209"/>
                    </a:cubicBezTo>
                    <a:cubicBezTo>
                      <a:pt x="194" y="209"/>
                      <a:pt x="200" y="204"/>
                      <a:pt x="200" y="197"/>
                    </a:cubicBezTo>
                    <a:cubicBezTo>
                      <a:pt x="200" y="190"/>
                      <a:pt x="194" y="185"/>
                      <a:pt x="188" y="185"/>
                    </a:cubicBezTo>
                    <a:close/>
                    <a:moveTo>
                      <a:pt x="188" y="154"/>
                    </a:moveTo>
                    <a:cubicBezTo>
                      <a:pt x="181" y="154"/>
                      <a:pt x="175" y="160"/>
                      <a:pt x="175" y="166"/>
                    </a:cubicBezTo>
                    <a:cubicBezTo>
                      <a:pt x="175" y="173"/>
                      <a:pt x="181" y="178"/>
                      <a:pt x="188" y="178"/>
                    </a:cubicBezTo>
                    <a:cubicBezTo>
                      <a:pt x="194" y="178"/>
                      <a:pt x="200" y="173"/>
                      <a:pt x="200" y="166"/>
                    </a:cubicBezTo>
                    <a:cubicBezTo>
                      <a:pt x="200" y="160"/>
                      <a:pt x="194" y="154"/>
                      <a:pt x="188" y="154"/>
                    </a:cubicBezTo>
                    <a:close/>
                    <a:moveTo>
                      <a:pt x="188" y="123"/>
                    </a:moveTo>
                    <a:cubicBezTo>
                      <a:pt x="181" y="123"/>
                      <a:pt x="175" y="129"/>
                      <a:pt x="175" y="136"/>
                    </a:cubicBezTo>
                    <a:cubicBezTo>
                      <a:pt x="175" y="142"/>
                      <a:pt x="181" y="148"/>
                      <a:pt x="188" y="148"/>
                    </a:cubicBezTo>
                    <a:cubicBezTo>
                      <a:pt x="194" y="148"/>
                      <a:pt x="200" y="142"/>
                      <a:pt x="200" y="136"/>
                    </a:cubicBezTo>
                    <a:cubicBezTo>
                      <a:pt x="200" y="129"/>
                      <a:pt x="194" y="123"/>
                      <a:pt x="188" y="123"/>
                    </a:cubicBezTo>
                    <a:close/>
                    <a:moveTo>
                      <a:pt x="223" y="154"/>
                    </a:moveTo>
                    <a:cubicBezTo>
                      <a:pt x="216" y="154"/>
                      <a:pt x="210" y="160"/>
                      <a:pt x="210" y="166"/>
                    </a:cubicBezTo>
                    <a:cubicBezTo>
                      <a:pt x="210" y="173"/>
                      <a:pt x="216" y="178"/>
                      <a:pt x="223" y="178"/>
                    </a:cubicBezTo>
                    <a:cubicBezTo>
                      <a:pt x="229" y="178"/>
                      <a:pt x="235" y="173"/>
                      <a:pt x="235" y="166"/>
                    </a:cubicBezTo>
                    <a:cubicBezTo>
                      <a:pt x="235" y="160"/>
                      <a:pt x="229" y="154"/>
                      <a:pt x="223" y="154"/>
                    </a:cubicBezTo>
                    <a:close/>
                    <a:moveTo>
                      <a:pt x="223" y="185"/>
                    </a:moveTo>
                    <a:cubicBezTo>
                      <a:pt x="216" y="185"/>
                      <a:pt x="210" y="190"/>
                      <a:pt x="210" y="197"/>
                    </a:cubicBezTo>
                    <a:cubicBezTo>
                      <a:pt x="210" y="204"/>
                      <a:pt x="216" y="209"/>
                      <a:pt x="223" y="209"/>
                    </a:cubicBezTo>
                    <a:cubicBezTo>
                      <a:pt x="229" y="209"/>
                      <a:pt x="235" y="204"/>
                      <a:pt x="235" y="197"/>
                    </a:cubicBezTo>
                    <a:cubicBezTo>
                      <a:pt x="235" y="190"/>
                      <a:pt x="229" y="185"/>
                      <a:pt x="223" y="185"/>
                    </a:cubicBezTo>
                    <a:close/>
                    <a:moveTo>
                      <a:pt x="188" y="216"/>
                    </a:moveTo>
                    <a:cubicBezTo>
                      <a:pt x="181" y="216"/>
                      <a:pt x="175" y="221"/>
                      <a:pt x="175" y="228"/>
                    </a:cubicBezTo>
                    <a:cubicBezTo>
                      <a:pt x="175" y="234"/>
                      <a:pt x="181" y="240"/>
                      <a:pt x="188" y="240"/>
                    </a:cubicBezTo>
                    <a:cubicBezTo>
                      <a:pt x="194" y="240"/>
                      <a:pt x="200" y="234"/>
                      <a:pt x="200" y="228"/>
                    </a:cubicBezTo>
                    <a:cubicBezTo>
                      <a:pt x="200" y="221"/>
                      <a:pt x="194" y="216"/>
                      <a:pt x="188" y="216"/>
                    </a:cubicBezTo>
                    <a:close/>
                    <a:moveTo>
                      <a:pt x="117" y="154"/>
                    </a:moveTo>
                    <a:cubicBezTo>
                      <a:pt x="111" y="154"/>
                      <a:pt x="105" y="160"/>
                      <a:pt x="105" y="166"/>
                    </a:cubicBezTo>
                    <a:cubicBezTo>
                      <a:pt x="105" y="173"/>
                      <a:pt x="111" y="178"/>
                      <a:pt x="117" y="178"/>
                    </a:cubicBezTo>
                    <a:cubicBezTo>
                      <a:pt x="124" y="178"/>
                      <a:pt x="130" y="173"/>
                      <a:pt x="130" y="166"/>
                    </a:cubicBezTo>
                    <a:cubicBezTo>
                      <a:pt x="130" y="160"/>
                      <a:pt x="124" y="154"/>
                      <a:pt x="117" y="154"/>
                    </a:cubicBezTo>
                    <a:close/>
                    <a:moveTo>
                      <a:pt x="152" y="185"/>
                    </a:moveTo>
                    <a:cubicBezTo>
                      <a:pt x="146" y="185"/>
                      <a:pt x="140" y="190"/>
                      <a:pt x="140" y="197"/>
                    </a:cubicBezTo>
                    <a:cubicBezTo>
                      <a:pt x="140" y="204"/>
                      <a:pt x="146" y="209"/>
                      <a:pt x="152" y="209"/>
                    </a:cubicBezTo>
                    <a:cubicBezTo>
                      <a:pt x="159" y="209"/>
                      <a:pt x="165" y="204"/>
                      <a:pt x="165" y="197"/>
                    </a:cubicBezTo>
                    <a:cubicBezTo>
                      <a:pt x="165" y="190"/>
                      <a:pt x="159" y="185"/>
                      <a:pt x="152" y="185"/>
                    </a:cubicBezTo>
                    <a:close/>
                    <a:moveTo>
                      <a:pt x="223" y="216"/>
                    </a:moveTo>
                    <a:cubicBezTo>
                      <a:pt x="216" y="216"/>
                      <a:pt x="210" y="221"/>
                      <a:pt x="210" y="228"/>
                    </a:cubicBezTo>
                    <a:cubicBezTo>
                      <a:pt x="210" y="234"/>
                      <a:pt x="216" y="240"/>
                      <a:pt x="223" y="240"/>
                    </a:cubicBezTo>
                    <a:cubicBezTo>
                      <a:pt x="229" y="240"/>
                      <a:pt x="235" y="234"/>
                      <a:pt x="235" y="228"/>
                    </a:cubicBezTo>
                    <a:cubicBezTo>
                      <a:pt x="235" y="221"/>
                      <a:pt x="229" y="216"/>
                      <a:pt x="223" y="216"/>
                    </a:cubicBezTo>
                    <a:close/>
                  </a:path>
                </a:pathLst>
              </a:custGeom>
              <a:solidFill>
                <a:srgbClr val="FFFFFF"/>
              </a:solidFill>
              <a:ln>
                <a:noFill/>
              </a:ln>
              <a:extLst/>
            </p:spPr>
            <p:txBody>
              <a:bodyPr/>
              <a:lstStyle/>
              <a:p>
                <a:pPr>
                  <a:spcBef>
                    <a:spcPct val="50000"/>
                  </a:spcBef>
                  <a:defRPr/>
                </a:pPr>
                <a:endParaRPr lang="en-US">
                  <a:solidFill>
                    <a:srgbClr val="00A9D4"/>
                  </a:solidFill>
                  <a:latin typeface="Arial" charset="0"/>
                  <a:cs typeface="Arial" pitchFamily="34" charset="0"/>
                </a:endParaRPr>
              </a:p>
            </p:txBody>
          </p:sp>
          <p:sp>
            <p:nvSpPr>
              <p:cNvPr id="50" name="Freeform 13"/>
              <p:cNvSpPr>
                <a:spLocks noChangeAspect="1" noEditPoints="1"/>
              </p:cNvSpPr>
              <p:nvPr/>
            </p:nvSpPr>
            <p:spPr bwMode="auto">
              <a:xfrm>
                <a:off x="6402388" y="3205163"/>
                <a:ext cx="2351087" cy="2184400"/>
              </a:xfrm>
              <a:custGeom>
                <a:avLst/>
                <a:gdLst>
                  <a:gd name="T0" fmla="*/ 2147483647 w 1216"/>
                  <a:gd name="T1" fmla="*/ 2147483647 h 1131"/>
                  <a:gd name="T2" fmla="*/ 2147483647 w 1216"/>
                  <a:gd name="T3" fmla="*/ 2147483647 h 1131"/>
                  <a:gd name="T4" fmla="*/ 2147483647 w 1216"/>
                  <a:gd name="T5" fmla="*/ 2147483647 h 1131"/>
                  <a:gd name="T6" fmla="*/ 2147483647 w 1216"/>
                  <a:gd name="T7" fmla="*/ 2147483647 h 1131"/>
                  <a:gd name="T8" fmla="*/ 2147483647 w 1216"/>
                  <a:gd name="T9" fmla="*/ 2147483647 h 1131"/>
                  <a:gd name="T10" fmla="*/ 2147483647 w 1216"/>
                  <a:gd name="T11" fmla="*/ 2147483647 h 1131"/>
                  <a:gd name="T12" fmla="*/ 2147483647 w 1216"/>
                  <a:gd name="T13" fmla="*/ 2147483647 h 1131"/>
                  <a:gd name="T14" fmla="*/ 2147483647 w 1216"/>
                  <a:gd name="T15" fmla="*/ 2147483647 h 1131"/>
                  <a:gd name="T16" fmla="*/ 2147483647 w 1216"/>
                  <a:gd name="T17" fmla="*/ 2147483647 h 1131"/>
                  <a:gd name="T18" fmla="*/ 2147483647 w 1216"/>
                  <a:gd name="T19" fmla="*/ 2147483647 h 1131"/>
                  <a:gd name="T20" fmla="*/ 2147483647 w 1216"/>
                  <a:gd name="T21" fmla="*/ 2147483647 h 1131"/>
                  <a:gd name="T22" fmla="*/ 2147483647 w 1216"/>
                  <a:gd name="T23" fmla="*/ 2147483647 h 1131"/>
                  <a:gd name="T24" fmla="*/ 2147483647 w 1216"/>
                  <a:gd name="T25" fmla="*/ 2147483647 h 1131"/>
                  <a:gd name="T26" fmla="*/ 2147483647 w 1216"/>
                  <a:gd name="T27" fmla="*/ 2147483647 h 1131"/>
                  <a:gd name="T28" fmla="*/ 2147483647 w 1216"/>
                  <a:gd name="T29" fmla="*/ 2147483647 h 1131"/>
                  <a:gd name="T30" fmla="*/ 2147483647 w 1216"/>
                  <a:gd name="T31" fmla="*/ 2147483647 h 1131"/>
                  <a:gd name="T32" fmla="*/ 2147483647 w 1216"/>
                  <a:gd name="T33" fmla="*/ 2147483647 h 1131"/>
                  <a:gd name="T34" fmla="*/ 2147483647 w 1216"/>
                  <a:gd name="T35" fmla="*/ 2147483647 h 1131"/>
                  <a:gd name="T36" fmla="*/ 2147483647 w 1216"/>
                  <a:gd name="T37" fmla="*/ 2147483647 h 1131"/>
                  <a:gd name="T38" fmla="*/ 2147483647 w 1216"/>
                  <a:gd name="T39" fmla="*/ 2147483647 h 1131"/>
                  <a:gd name="T40" fmla="*/ 2147483647 w 1216"/>
                  <a:gd name="T41" fmla="*/ 2147483647 h 1131"/>
                  <a:gd name="T42" fmla="*/ 2147483647 w 1216"/>
                  <a:gd name="T43" fmla="*/ 2147483647 h 1131"/>
                  <a:gd name="T44" fmla="*/ 2147483647 w 1216"/>
                  <a:gd name="T45" fmla="*/ 2147483647 h 1131"/>
                  <a:gd name="T46" fmla="*/ 2147483647 w 1216"/>
                  <a:gd name="T47" fmla="*/ 2147483647 h 1131"/>
                  <a:gd name="T48" fmla="*/ 2147483647 w 1216"/>
                  <a:gd name="T49" fmla="*/ 2147483647 h 1131"/>
                  <a:gd name="T50" fmla="*/ 2147483647 w 1216"/>
                  <a:gd name="T51" fmla="*/ 2147483647 h 1131"/>
                  <a:gd name="T52" fmla="*/ 2147483647 w 1216"/>
                  <a:gd name="T53" fmla="*/ 2147483647 h 1131"/>
                  <a:gd name="T54" fmla="*/ 2147483647 w 1216"/>
                  <a:gd name="T55" fmla="*/ 2147483647 h 1131"/>
                  <a:gd name="T56" fmla="*/ 2147483647 w 1216"/>
                  <a:gd name="T57" fmla="*/ 2147483647 h 1131"/>
                  <a:gd name="T58" fmla="*/ 2147483647 w 1216"/>
                  <a:gd name="T59" fmla="*/ 2147483647 h 1131"/>
                  <a:gd name="T60" fmla="*/ 2147483647 w 1216"/>
                  <a:gd name="T61" fmla="*/ 2147483647 h 1131"/>
                  <a:gd name="T62" fmla="*/ 2147483647 w 1216"/>
                  <a:gd name="T63" fmla="*/ 2147483647 h 1131"/>
                  <a:gd name="T64" fmla="*/ 2147483647 w 1216"/>
                  <a:gd name="T65" fmla="*/ 2147483647 h 1131"/>
                  <a:gd name="T66" fmla="*/ 2147483647 w 1216"/>
                  <a:gd name="T67" fmla="*/ 2147483647 h 1131"/>
                  <a:gd name="T68" fmla="*/ 2147483647 w 1216"/>
                  <a:gd name="T69" fmla="*/ 2147483647 h 1131"/>
                  <a:gd name="T70" fmla="*/ 2147483647 w 1216"/>
                  <a:gd name="T71" fmla="*/ 2147483647 h 1131"/>
                  <a:gd name="T72" fmla="*/ 2147483647 w 1216"/>
                  <a:gd name="T73" fmla="*/ 2147483647 h 1131"/>
                  <a:gd name="T74" fmla="*/ 2147483647 w 1216"/>
                  <a:gd name="T75" fmla="*/ 2147483647 h 1131"/>
                  <a:gd name="T76" fmla="*/ 2147483647 w 1216"/>
                  <a:gd name="T77" fmla="*/ 2147483647 h 1131"/>
                  <a:gd name="T78" fmla="*/ 2147483647 w 1216"/>
                  <a:gd name="T79" fmla="*/ 2147483647 h 1131"/>
                  <a:gd name="T80" fmla="*/ 2147483647 w 1216"/>
                  <a:gd name="T81" fmla="*/ 2147483647 h 1131"/>
                  <a:gd name="T82" fmla="*/ 2147483647 w 1216"/>
                  <a:gd name="T83" fmla="*/ 2147483647 h 1131"/>
                  <a:gd name="T84" fmla="*/ 2147483647 w 1216"/>
                  <a:gd name="T85" fmla="*/ 2147483647 h 1131"/>
                  <a:gd name="T86" fmla="*/ 2147483647 w 1216"/>
                  <a:gd name="T87" fmla="*/ 2147483647 h 1131"/>
                  <a:gd name="T88" fmla="*/ 2147483647 w 1216"/>
                  <a:gd name="T89" fmla="*/ 2147483647 h 1131"/>
                  <a:gd name="T90" fmla="*/ 2147483647 w 1216"/>
                  <a:gd name="T91" fmla="*/ 2147483647 h 1131"/>
                  <a:gd name="T92" fmla="*/ 2147483647 w 1216"/>
                  <a:gd name="T93" fmla="*/ 2147483647 h 1131"/>
                  <a:gd name="T94" fmla="*/ 2147483647 w 1216"/>
                  <a:gd name="T95" fmla="*/ 2147483647 h 1131"/>
                  <a:gd name="T96" fmla="*/ 2147483647 w 1216"/>
                  <a:gd name="T97" fmla="*/ 2147483647 h 1131"/>
                  <a:gd name="T98" fmla="*/ 2147483647 w 1216"/>
                  <a:gd name="T99" fmla="*/ 2147483647 h 1131"/>
                  <a:gd name="T100" fmla="*/ 2147483647 w 1216"/>
                  <a:gd name="T101" fmla="*/ 2147483647 h 1131"/>
                  <a:gd name="T102" fmla="*/ 2147483647 w 1216"/>
                  <a:gd name="T103" fmla="*/ 2147483647 h 1131"/>
                  <a:gd name="T104" fmla="*/ 2147483647 w 1216"/>
                  <a:gd name="T105" fmla="*/ 2147483647 h 1131"/>
                  <a:gd name="T106" fmla="*/ 2147483647 w 1216"/>
                  <a:gd name="T107" fmla="*/ 2147483647 h 1131"/>
                  <a:gd name="T108" fmla="*/ 2147483647 w 1216"/>
                  <a:gd name="T109" fmla="*/ 2147483647 h 1131"/>
                  <a:gd name="T110" fmla="*/ 2147483647 w 1216"/>
                  <a:gd name="T111" fmla="*/ 2147483647 h 1131"/>
                  <a:gd name="T112" fmla="*/ 2147483647 w 1216"/>
                  <a:gd name="T113" fmla="*/ 2147483647 h 1131"/>
                  <a:gd name="T114" fmla="*/ 2147483647 w 1216"/>
                  <a:gd name="T115" fmla="*/ 2147483647 h 1131"/>
                  <a:gd name="T116" fmla="*/ 2147483647 w 1216"/>
                  <a:gd name="T117" fmla="*/ 2147483647 h 1131"/>
                  <a:gd name="T118" fmla="*/ 2147483647 w 1216"/>
                  <a:gd name="T119" fmla="*/ 2147483647 h 1131"/>
                  <a:gd name="T120" fmla="*/ 2147483647 w 1216"/>
                  <a:gd name="T121" fmla="*/ 2147483647 h 1131"/>
                  <a:gd name="T122" fmla="*/ 2147483647 w 1216"/>
                  <a:gd name="T123" fmla="*/ 2147483647 h 1131"/>
                  <a:gd name="T124" fmla="*/ 2147483647 w 1216"/>
                  <a:gd name="T125" fmla="*/ 0 h 113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216" h="1131">
                    <a:moveTo>
                      <a:pt x="468" y="184"/>
                    </a:moveTo>
                    <a:cubicBezTo>
                      <a:pt x="461" y="184"/>
                      <a:pt x="456" y="190"/>
                      <a:pt x="456" y="197"/>
                    </a:cubicBezTo>
                    <a:cubicBezTo>
                      <a:pt x="456" y="203"/>
                      <a:pt x="461" y="209"/>
                      <a:pt x="468" y="209"/>
                    </a:cubicBezTo>
                    <a:cubicBezTo>
                      <a:pt x="475" y="209"/>
                      <a:pt x="480" y="203"/>
                      <a:pt x="480" y="197"/>
                    </a:cubicBezTo>
                    <a:cubicBezTo>
                      <a:pt x="480" y="190"/>
                      <a:pt x="475" y="184"/>
                      <a:pt x="468" y="184"/>
                    </a:cubicBezTo>
                    <a:close/>
                    <a:moveTo>
                      <a:pt x="468" y="215"/>
                    </a:moveTo>
                    <a:cubicBezTo>
                      <a:pt x="461" y="215"/>
                      <a:pt x="456" y="221"/>
                      <a:pt x="456" y="227"/>
                    </a:cubicBezTo>
                    <a:cubicBezTo>
                      <a:pt x="456" y="234"/>
                      <a:pt x="461" y="240"/>
                      <a:pt x="468" y="240"/>
                    </a:cubicBezTo>
                    <a:cubicBezTo>
                      <a:pt x="475" y="240"/>
                      <a:pt x="480" y="234"/>
                      <a:pt x="480" y="227"/>
                    </a:cubicBezTo>
                    <a:cubicBezTo>
                      <a:pt x="480" y="221"/>
                      <a:pt x="475" y="215"/>
                      <a:pt x="468" y="215"/>
                    </a:cubicBezTo>
                    <a:close/>
                    <a:moveTo>
                      <a:pt x="503" y="246"/>
                    </a:moveTo>
                    <a:cubicBezTo>
                      <a:pt x="496" y="246"/>
                      <a:pt x="491" y="251"/>
                      <a:pt x="491" y="258"/>
                    </a:cubicBezTo>
                    <a:cubicBezTo>
                      <a:pt x="491" y="265"/>
                      <a:pt x="496" y="270"/>
                      <a:pt x="503" y="270"/>
                    </a:cubicBezTo>
                    <a:cubicBezTo>
                      <a:pt x="510" y="270"/>
                      <a:pt x="515" y="265"/>
                      <a:pt x="515" y="258"/>
                    </a:cubicBezTo>
                    <a:cubicBezTo>
                      <a:pt x="515" y="251"/>
                      <a:pt x="510" y="246"/>
                      <a:pt x="503" y="246"/>
                    </a:cubicBezTo>
                    <a:close/>
                    <a:moveTo>
                      <a:pt x="468" y="461"/>
                    </a:moveTo>
                    <a:cubicBezTo>
                      <a:pt x="461" y="461"/>
                      <a:pt x="456" y="467"/>
                      <a:pt x="456" y="473"/>
                    </a:cubicBezTo>
                    <a:cubicBezTo>
                      <a:pt x="456" y="480"/>
                      <a:pt x="461" y="486"/>
                      <a:pt x="468" y="486"/>
                    </a:cubicBezTo>
                    <a:cubicBezTo>
                      <a:pt x="475" y="486"/>
                      <a:pt x="480" y="480"/>
                      <a:pt x="480" y="473"/>
                    </a:cubicBezTo>
                    <a:cubicBezTo>
                      <a:pt x="480" y="467"/>
                      <a:pt x="475" y="461"/>
                      <a:pt x="468" y="461"/>
                    </a:cubicBezTo>
                    <a:close/>
                    <a:moveTo>
                      <a:pt x="398" y="369"/>
                    </a:moveTo>
                    <a:cubicBezTo>
                      <a:pt x="391" y="369"/>
                      <a:pt x="386" y="374"/>
                      <a:pt x="386" y="381"/>
                    </a:cubicBezTo>
                    <a:cubicBezTo>
                      <a:pt x="386" y="388"/>
                      <a:pt x="391" y="393"/>
                      <a:pt x="398" y="393"/>
                    </a:cubicBezTo>
                    <a:cubicBezTo>
                      <a:pt x="405" y="393"/>
                      <a:pt x="410" y="388"/>
                      <a:pt x="410" y="381"/>
                    </a:cubicBezTo>
                    <a:cubicBezTo>
                      <a:pt x="410" y="374"/>
                      <a:pt x="405" y="369"/>
                      <a:pt x="398" y="369"/>
                    </a:cubicBezTo>
                    <a:close/>
                    <a:moveTo>
                      <a:pt x="398" y="430"/>
                    </a:moveTo>
                    <a:cubicBezTo>
                      <a:pt x="391" y="430"/>
                      <a:pt x="386" y="436"/>
                      <a:pt x="386" y="443"/>
                    </a:cubicBezTo>
                    <a:cubicBezTo>
                      <a:pt x="386" y="449"/>
                      <a:pt x="391" y="455"/>
                      <a:pt x="398" y="455"/>
                    </a:cubicBezTo>
                    <a:cubicBezTo>
                      <a:pt x="405" y="455"/>
                      <a:pt x="410" y="449"/>
                      <a:pt x="410" y="443"/>
                    </a:cubicBezTo>
                    <a:cubicBezTo>
                      <a:pt x="410" y="436"/>
                      <a:pt x="405" y="430"/>
                      <a:pt x="398" y="430"/>
                    </a:cubicBezTo>
                    <a:close/>
                    <a:moveTo>
                      <a:pt x="398" y="400"/>
                    </a:moveTo>
                    <a:cubicBezTo>
                      <a:pt x="391" y="400"/>
                      <a:pt x="386" y="405"/>
                      <a:pt x="386" y="412"/>
                    </a:cubicBezTo>
                    <a:cubicBezTo>
                      <a:pt x="386" y="419"/>
                      <a:pt x="391" y="424"/>
                      <a:pt x="398" y="424"/>
                    </a:cubicBezTo>
                    <a:cubicBezTo>
                      <a:pt x="405" y="424"/>
                      <a:pt x="410" y="419"/>
                      <a:pt x="410" y="412"/>
                    </a:cubicBezTo>
                    <a:cubicBezTo>
                      <a:pt x="410" y="405"/>
                      <a:pt x="405" y="400"/>
                      <a:pt x="398" y="400"/>
                    </a:cubicBezTo>
                    <a:close/>
                    <a:moveTo>
                      <a:pt x="398" y="769"/>
                    </a:moveTo>
                    <a:cubicBezTo>
                      <a:pt x="391" y="769"/>
                      <a:pt x="386" y="774"/>
                      <a:pt x="386" y="781"/>
                    </a:cubicBezTo>
                    <a:cubicBezTo>
                      <a:pt x="386" y="787"/>
                      <a:pt x="391" y="793"/>
                      <a:pt x="398" y="793"/>
                    </a:cubicBezTo>
                    <a:cubicBezTo>
                      <a:pt x="405" y="793"/>
                      <a:pt x="410" y="787"/>
                      <a:pt x="410" y="781"/>
                    </a:cubicBezTo>
                    <a:cubicBezTo>
                      <a:pt x="410" y="774"/>
                      <a:pt x="405" y="769"/>
                      <a:pt x="398" y="769"/>
                    </a:cubicBezTo>
                    <a:close/>
                    <a:moveTo>
                      <a:pt x="398" y="523"/>
                    </a:moveTo>
                    <a:cubicBezTo>
                      <a:pt x="391" y="523"/>
                      <a:pt x="386" y="528"/>
                      <a:pt x="386" y="535"/>
                    </a:cubicBezTo>
                    <a:cubicBezTo>
                      <a:pt x="386" y="542"/>
                      <a:pt x="391" y="547"/>
                      <a:pt x="398" y="547"/>
                    </a:cubicBezTo>
                    <a:cubicBezTo>
                      <a:pt x="405" y="547"/>
                      <a:pt x="410" y="542"/>
                      <a:pt x="410" y="535"/>
                    </a:cubicBezTo>
                    <a:cubicBezTo>
                      <a:pt x="410" y="528"/>
                      <a:pt x="405" y="523"/>
                      <a:pt x="398" y="523"/>
                    </a:cubicBezTo>
                    <a:close/>
                    <a:moveTo>
                      <a:pt x="328" y="62"/>
                    </a:moveTo>
                    <a:cubicBezTo>
                      <a:pt x="321" y="62"/>
                      <a:pt x="316" y="67"/>
                      <a:pt x="316" y="74"/>
                    </a:cubicBezTo>
                    <a:cubicBezTo>
                      <a:pt x="316" y="80"/>
                      <a:pt x="321" y="86"/>
                      <a:pt x="328" y="86"/>
                    </a:cubicBezTo>
                    <a:cubicBezTo>
                      <a:pt x="335" y="86"/>
                      <a:pt x="340" y="80"/>
                      <a:pt x="340" y="74"/>
                    </a:cubicBezTo>
                    <a:cubicBezTo>
                      <a:pt x="340" y="67"/>
                      <a:pt x="335" y="62"/>
                      <a:pt x="328" y="62"/>
                    </a:cubicBezTo>
                    <a:close/>
                    <a:moveTo>
                      <a:pt x="328" y="215"/>
                    </a:moveTo>
                    <a:cubicBezTo>
                      <a:pt x="321" y="215"/>
                      <a:pt x="316" y="221"/>
                      <a:pt x="316" y="227"/>
                    </a:cubicBezTo>
                    <a:cubicBezTo>
                      <a:pt x="316" y="234"/>
                      <a:pt x="321" y="240"/>
                      <a:pt x="328" y="240"/>
                    </a:cubicBezTo>
                    <a:cubicBezTo>
                      <a:pt x="335" y="240"/>
                      <a:pt x="340" y="234"/>
                      <a:pt x="340" y="227"/>
                    </a:cubicBezTo>
                    <a:cubicBezTo>
                      <a:pt x="340" y="221"/>
                      <a:pt x="335" y="215"/>
                      <a:pt x="328" y="215"/>
                    </a:cubicBezTo>
                    <a:close/>
                    <a:moveTo>
                      <a:pt x="328" y="154"/>
                    </a:moveTo>
                    <a:cubicBezTo>
                      <a:pt x="321" y="154"/>
                      <a:pt x="316" y="159"/>
                      <a:pt x="316" y="166"/>
                    </a:cubicBezTo>
                    <a:cubicBezTo>
                      <a:pt x="316" y="173"/>
                      <a:pt x="321" y="178"/>
                      <a:pt x="328" y="178"/>
                    </a:cubicBezTo>
                    <a:cubicBezTo>
                      <a:pt x="335" y="178"/>
                      <a:pt x="340" y="173"/>
                      <a:pt x="340" y="166"/>
                    </a:cubicBezTo>
                    <a:cubicBezTo>
                      <a:pt x="340" y="159"/>
                      <a:pt x="335" y="154"/>
                      <a:pt x="328" y="154"/>
                    </a:cubicBezTo>
                    <a:close/>
                    <a:moveTo>
                      <a:pt x="328" y="184"/>
                    </a:moveTo>
                    <a:cubicBezTo>
                      <a:pt x="321" y="184"/>
                      <a:pt x="316" y="190"/>
                      <a:pt x="316" y="197"/>
                    </a:cubicBezTo>
                    <a:cubicBezTo>
                      <a:pt x="316" y="203"/>
                      <a:pt x="321" y="209"/>
                      <a:pt x="328" y="209"/>
                    </a:cubicBezTo>
                    <a:cubicBezTo>
                      <a:pt x="335" y="209"/>
                      <a:pt x="340" y="203"/>
                      <a:pt x="340" y="197"/>
                    </a:cubicBezTo>
                    <a:cubicBezTo>
                      <a:pt x="340" y="190"/>
                      <a:pt x="335" y="184"/>
                      <a:pt x="328" y="184"/>
                    </a:cubicBezTo>
                    <a:close/>
                    <a:moveTo>
                      <a:pt x="328" y="523"/>
                    </a:moveTo>
                    <a:cubicBezTo>
                      <a:pt x="321" y="523"/>
                      <a:pt x="316" y="528"/>
                      <a:pt x="316" y="535"/>
                    </a:cubicBezTo>
                    <a:cubicBezTo>
                      <a:pt x="316" y="542"/>
                      <a:pt x="321" y="547"/>
                      <a:pt x="328" y="547"/>
                    </a:cubicBezTo>
                    <a:cubicBezTo>
                      <a:pt x="335" y="547"/>
                      <a:pt x="340" y="542"/>
                      <a:pt x="340" y="535"/>
                    </a:cubicBezTo>
                    <a:cubicBezTo>
                      <a:pt x="340" y="528"/>
                      <a:pt x="335" y="523"/>
                      <a:pt x="328" y="523"/>
                    </a:cubicBezTo>
                    <a:close/>
                    <a:moveTo>
                      <a:pt x="363" y="400"/>
                    </a:moveTo>
                    <a:cubicBezTo>
                      <a:pt x="356" y="400"/>
                      <a:pt x="351" y="405"/>
                      <a:pt x="351" y="412"/>
                    </a:cubicBezTo>
                    <a:cubicBezTo>
                      <a:pt x="351" y="419"/>
                      <a:pt x="356" y="424"/>
                      <a:pt x="363" y="424"/>
                    </a:cubicBezTo>
                    <a:cubicBezTo>
                      <a:pt x="370" y="424"/>
                      <a:pt x="375" y="419"/>
                      <a:pt x="375" y="412"/>
                    </a:cubicBezTo>
                    <a:cubicBezTo>
                      <a:pt x="375" y="405"/>
                      <a:pt x="370" y="400"/>
                      <a:pt x="363" y="400"/>
                    </a:cubicBezTo>
                    <a:close/>
                    <a:moveTo>
                      <a:pt x="363" y="430"/>
                    </a:moveTo>
                    <a:cubicBezTo>
                      <a:pt x="356" y="430"/>
                      <a:pt x="351" y="436"/>
                      <a:pt x="351" y="443"/>
                    </a:cubicBezTo>
                    <a:cubicBezTo>
                      <a:pt x="351" y="449"/>
                      <a:pt x="356" y="455"/>
                      <a:pt x="363" y="455"/>
                    </a:cubicBezTo>
                    <a:cubicBezTo>
                      <a:pt x="370" y="455"/>
                      <a:pt x="375" y="449"/>
                      <a:pt x="375" y="443"/>
                    </a:cubicBezTo>
                    <a:cubicBezTo>
                      <a:pt x="375" y="436"/>
                      <a:pt x="370" y="430"/>
                      <a:pt x="363" y="430"/>
                    </a:cubicBezTo>
                    <a:close/>
                    <a:moveTo>
                      <a:pt x="363" y="523"/>
                    </a:moveTo>
                    <a:cubicBezTo>
                      <a:pt x="356" y="523"/>
                      <a:pt x="351" y="528"/>
                      <a:pt x="351" y="535"/>
                    </a:cubicBezTo>
                    <a:cubicBezTo>
                      <a:pt x="351" y="542"/>
                      <a:pt x="356" y="547"/>
                      <a:pt x="363" y="547"/>
                    </a:cubicBezTo>
                    <a:cubicBezTo>
                      <a:pt x="370" y="547"/>
                      <a:pt x="375" y="542"/>
                      <a:pt x="375" y="535"/>
                    </a:cubicBezTo>
                    <a:cubicBezTo>
                      <a:pt x="375" y="528"/>
                      <a:pt x="370" y="523"/>
                      <a:pt x="363" y="523"/>
                    </a:cubicBezTo>
                    <a:close/>
                    <a:moveTo>
                      <a:pt x="468" y="738"/>
                    </a:moveTo>
                    <a:cubicBezTo>
                      <a:pt x="461" y="738"/>
                      <a:pt x="456" y="743"/>
                      <a:pt x="456" y="750"/>
                    </a:cubicBezTo>
                    <a:cubicBezTo>
                      <a:pt x="456" y="757"/>
                      <a:pt x="461" y="762"/>
                      <a:pt x="468" y="762"/>
                    </a:cubicBezTo>
                    <a:cubicBezTo>
                      <a:pt x="475" y="762"/>
                      <a:pt x="480" y="757"/>
                      <a:pt x="480" y="750"/>
                    </a:cubicBezTo>
                    <a:cubicBezTo>
                      <a:pt x="480" y="743"/>
                      <a:pt x="475" y="738"/>
                      <a:pt x="468" y="738"/>
                    </a:cubicBezTo>
                    <a:close/>
                    <a:moveTo>
                      <a:pt x="468" y="799"/>
                    </a:moveTo>
                    <a:cubicBezTo>
                      <a:pt x="461" y="799"/>
                      <a:pt x="456" y="805"/>
                      <a:pt x="456" y="812"/>
                    </a:cubicBezTo>
                    <a:cubicBezTo>
                      <a:pt x="456" y="818"/>
                      <a:pt x="461" y="824"/>
                      <a:pt x="468" y="824"/>
                    </a:cubicBezTo>
                    <a:cubicBezTo>
                      <a:pt x="475" y="824"/>
                      <a:pt x="480" y="818"/>
                      <a:pt x="480" y="812"/>
                    </a:cubicBezTo>
                    <a:cubicBezTo>
                      <a:pt x="480" y="805"/>
                      <a:pt x="475" y="799"/>
                      <a:pt x="468" y="799"/>
                    </a:cubicBezTo>
                    <a:close/>
                    <a:moveTo>
                      <a:pt x="468" y="892"/>
                    </a:moveTo>
                    <a:cubicBezTo>
                      <a:pt x="461" y="892"/>
                      <a:pt x="456" y="897"/>
                      <a:pt x="456" y="904"/>
                    </a:cubicBezTo>
                    <a:cubicBezTo>
                      <a:pt x="456" y="910"/>
                      <a:pt x="461" y="916"/>
                      <a:pt x="468" y="916"/>
                    </a:cubicBezTo>
                    <a:cubicBezTo>
                      <a:pt x="475" y="916"/>
                      <a:pt x="480" y="910"/>
                      <a:pt x="480" y="904"/>
                    </a:cubicBezTo>
                    <a:cubicBezTo>
                      <a:pt x="480" y="897"/>
                      <a:pt x="475" y="892"/>
                      <a:pt x="468" y="892"/>
                    </a:cubicBezTo>
                    <a:close/>
                    <a:moveTo>
                      <a:pt x="468" y="830"/>
                    </a:moveTo>
                    <a:cubicBezTo>
                      <a:pt x="461" y="830"/>
                      <a:pt x="456" y="836"/>
                      <a:pt x="456" y="842"/>
                    </a:cubicBezTo>
                    <a:cubicBezTo>
                      <a:pt x="456" y="849"/>
                      <a:pt x="461" y="854"/>
                      <a:pt x="468" y="854"/>
                    </a:cubicBezTo>
                    <a:cubicBezTo>
                      <a:pt x="475" y="854"/>
                      <a:pt x="480" y="849"/>
                      <a:pt x="480" y="842"/>
                    </a:cubicBezTo>
                    <a:cubicBezTo>
                      <a:pt x="480" y="836"/>
                      <a:pt x="475" y="830"/>
                      <a:pt x="468" y="830"/>
                    </a:cubicBezTo>
                    <a:close/>
                    <a:moveTo>
                      <a:pt x="468" y="861"/>
                    </a:moveTo>
                    <a:cubicBezTo>
                      <a:pt x="461" y="861"/>
                      <a:pt x="456" y="866"/>
                      <a:pt x="456" y="873"/>
                    </a:cubicBezTo>
                    <a:cubicBezTo>
                      <a:pt x="456" y="880"/>
                      <a:pt x="461" y="885"/>
                      <a:pt x="468" y="885"/>
                    </a:cubicBezTo>
                    <a:cubicBezTo>
                      <a:pt x="475" y="885"/>
                      <a:pt x="480" y="880"/>
                      <a:pt x="480" y="873"/>
                    </a:cubicBezTo>
                    <a:cubicBezTo>
                      <a:pt x="480" y="866"/>
                      <a:pt x="475" y="861"/>
                      <a:pt x="468" y="861"/>
                    </a:cubicBezTo>
                    <a:close/>
                    <a:moveTo>
                      <a:pt x="468" y="769"/>
                    </a:moveTo>
                    <a:cubicBezTo>
                      <a:pt x="461" y="769"/>
                      <a:pt x="456" y="774"/>
                      <a:pt x="456" y="781"/>
                    </a:cubicBezTo>
                    <a:cubicBezTo>
                      <a:pt x="456" y="787"/>
                      <a:pt x="461" y="793"/>
                      <a:pt x="468" y="793"/>
                    </a:cubicBezTo>
                    <a:cubicBezTo>
                      <a:pt x="475" y="793"/>
                      <a:pt x="480" y="787"/>
                      <a:pt x="480" y="781"/>
                    </a:cubicBezTo>
                    <a:cubicBezTo>
                      <a:pt x="480" y="774"/>
                      <a:pt x="475" y="769"/>
                      <a:pt x="468" y="769"/>
                    </a:cubicBezTo>
                    <a:close/>
                    <a:moveTo>
                      <a:pt x="468" y="922"/>
                    </a:moveTo>
                    <a:cubicBezTo>
                      <a:pt x="461" y="922"/>
                      <a:pt x="456" y="928"/>
                      <a:pt x="456" y="934"/>
                    </a:cubicBezTo>
                    <a:cubicBezTo>
                      <a:pt x="456" y="941"/>
                      <a:pt x="461" y="947"/>
                      <a:pt x="468" y="947"/>
                    </a:cubicBezTo>
                    <a:cubicBezTo>
                      <a:pt x="475" y="947"/>
                      <a:pt x="480" y="941"/>
                      <a:pt x="480" y="934"/>
                    </a:cubicBezTo>
                    <a:cubicBezTo>
                      <a:pt x="480" y="928"/>
                      <a:pt x="475" y="922"/>
                      <a:pt x="468" y="922"/>
                    </a:cubicBezTo>
                    <a:close/>
                    <a:moveTo>
                      <a:pt x="503" y="861"/>
                    </a:moveTo>
                    <a:cubicBezTo>
                      <a:pt x="496" y="861"/>
                      <a:pt x="491" y="866"/>
                      <a:pt x="491" y="873"/>
                    </a:cubicBezTo>
                    <a:cubicBezTo>
                      <a:pt x="491" y="880"/>
                      <a:pt x="496" y="885"/>
                      <a:pt x="503" y="885"/>
                    </a:cubicBezTo>
                    <a:cubicBezTo>
                      <a:pt x="510" y="885"/>
                      <a:pt x="515" y="880"/>
                      <a:pt x="515" y="873"/>
                    </a:cubicBezTo>
                    <a:cubicBezTo>
                      <a:pt x="515" y="866"/>
                      <a:pt x="510" y="861"/>
                      <a:pt x="503" y="861"/>
                    </a:cubicBezTo>
                    <a:close/>
                    <a:moveTo>
                      <a:pt x="503" y="892"/>
                    </a:moveTo>
                    <a:cubicBezTo>
                      <a:pt x="496" y="892"/>
                      <a:pt x="491" y="897"/>
                      <a:pt x="491" y="904"/>
                    </a:cubicBezTo>
                    <a:cubicBezTo>
                      <a:pt x="491" y="910"/>
                      <a:pt x="496" y="916"/>
                      <a:pt x="503" y="916"/>
                    </a:cubicBezTo>
                    <a:cubicBezTo>
                      <a:pt x="510" y="916"/>
                      <a:pt x="515" y="910"/>
                      <a:pt x="515" y="904"/>
                    </a:cubicBezTo>
                    <a:cubicBezTo>
                      <a:pt x="515" y="897"/>
                      <a:pt x="510" y="892"/>
                      <a:pt x="503" y="892"/>
                    </a:cubicBezTo>
                    <a:close/>
                    <a:moveTo>
                      <a:pt x="433" y="799"/>
                    </a:moveTo>
                    <a:cubicBezTo>
                      <a:pt x="426" y="799"/>
                      <a:pt x="421" y="805"/>
                      <a:pt x="421" y="812"/>
                    </a:cubicBezTo>
                    <a:cubicBezTo>
                      <a:pt x="421" y="818"/>
                      <a:pt x="426" y="824"/>
                      <a:pt x="433" y="824"/>
                    </a:cubicBezTo>
                    <a:cubicBezTo>
                      <a:pt x="440" y="824"/>
                      <a:pt x="445" y="818"/>
                      <a:pt x="445" y="812"/>
                    </a:cubicBezTo>
                    <a:cubicBezTo>
                      <a:pt x="445" y="805"/>
                      <a:pt x="440" y="799"/>
                      <a:pt x="433" y="799"/>
                    </a:cubicBezTo>
                    <a:close/>
                    <a:moveTo>
                      <a:pt x="433" y="922"/>
                    </a:moveTo>
                    <a:cubicBezTo>
                      <a:pt x="426" y="922"/>
                      <a:pt x="421" y="928"/>
                      <a:pt x="421" y="934"/>
                    </a:cubicBezTo>
                    <a:cubicBezTo>
                      <a:pt x="421" y="941"/>
                      <a:pt x="426" y="947"/>
                      <a:pt x="433" y="947"/>
                    </a:cubicBezTo>
                    <a:cubicBezTo>
                      <a:pt x="440" y="947"/>
                      <a:pt x="445" y="941"/>
                      <a:pt x="445" y="934"/>
                    </a:cubicBezTo>
                    <a:cubicBezTo>
                      <a:pt x="445" y="928"/>
                      <a:pt x="440" y="922"/>
                      <a:pt x="433" y="922"/>
                    </a:cubicBezTo>
                    <a:close/>
                    <a:moveTo>
                      <a:pt x="433" y="861"/>
                    </a:moveTo>
                    <a:cubicBezTo>
                      <a:pt x="426" y="861"/>
                      <a:pt x="421" y="866"/>
                      <a:pt x="421" y="873"/>
                    </a:cubicBezTo>
                    <a:cubicBezTo>
                      <a:pt x="421" y="880"/>
                      <a:pt x="426" y="885"/>
                      <a:pt x="433" y="885"/>
                    </a:cubicBezTo>
                    <a:cubicBezTo>
                      <a:pt x="440" y="885"/>
                      <a:pt x="445" y="880"/>
                      <a:pt x="445" y="873"/>
                    </a:cubicBezTo>
                    <a:cubicBezTo>
                      <a:pt x="445" y="866"/>
                      <a:pt x="440" y="861"/>
                      <a:pt x="433" y="861"/>
                    </a:cubicBezTo>
                    <a:close/>
                    <a:moveTo>
                      <a:pt x="433" y="830"/>
                    </a:moveTo>
                    <a:cubicBezTo>
                      <a:pt x="426" y="830"/>
                      <a:pt x="421" y="836"/>
                      <a:pt x="421" y="842"/>
                    </a:cubicBezTo>
                    <a:cubicBezTo>
                      <a:pt x="421" y="849"/>
                      <a:pt x="426" y="854"/>
                      <a:pt x="433" y="854"/>
                    </a:cubicBezTo>
                    <a:cubicBezTo>
                      <a:pt x="440" y="854"/>
                      <a:pt x="445" y="849"/>
                      <a:pt x="445" y="842"/>
                    </a:cubicBezTo>
                    <a:cubicBezTo>
                      <a:pt x="445" y="836"/>
                      <a:pt x="440" y="830"/>
                      <a:pt x="433" y="830"/>
                    </a:cubicBezTo>
                    <a:close/>
                    <a:moveTo>
                      <a:pt x="433" y="892"/>
                    </a:moveTo>
                    <a:cubicBezTo>
                      <a:pt x="426" y="892"/>
                      <a:pt x="421" y="897"/>
                      <a:pt x="421" y="904"/>
                    </a:cubicBezTo>
                    <a:cubicBezTo>
                      <a:pt x="421" y="910"/>
                      <a:pt x="426" y="916"/>
                      <a:pt x="433" y="916"/>
                    </a:cubicBezTo>
                    <a:cubicBezTo>
                      <a:pt x="440" y="916"/>
                      <a:pt x="445" y="910"/>
                      <a:pt x="445" y="904"/>
                    </a:cubicBezTo>
                    <a:cubicBezTo>
                      <a:pt x="445" y="897"/>
                      <a:pt x="440" y="892"/>
                      <a:pt x="433" y="892"/>
                    </a:cubicBezTo>
                    <a:close/>
                    <a:moveTo>
                      <a:pt x="433" y="769"/>
                    </a:moveTo>
                    <a:cubicBezTo>
                      <a:pt x="426" y="769"/>
                      <a:pt x="421" y="774"/>
                      <a:pt x="421" y="781"/>
                    </a:cubicBezTo>
                    <a:cubicBezTo>
                      <a:pt x="421" y="787"/>
                      <a:pt x="426" y="793"/>
                      <a:pt x="433" y="793"/>
                    </a:cubicBezTo>
                    <a:cubicBezTo>
                      <a:pt x="440" y="793"/>
                      <a:pt x="445" y="787"/>
                      <a:pt x="445" y="781"/>
                    </a:cubicBezTo>
                    <a:cubicBezTo>
                      <a:pt x="445" y="774"/>
                      <a:pt x="440" y="769"/>
                      <a:pt x="433" y="769"/>
                    </a:cubicBezTo>
                    <a:close/>
                    <a:moveTo>
                      <a:pt x="433" y="369"/>
                    </a:moveTo>
                    <a:cubicBezTo>
                      <a:pt x="426" y="369"/>
                      <a:pt x="421" y="374"/>
                      <a:pt x="421" y="381"/>
                    </a:cubicBezTo>
                    <a:cubicBezTo>
                      <a:pt x="421" y="388"/>
                      <a:pt x="426" y="393"/>
                      <a:pt x="433" y="393"/>
                    </a:cubicBezTo>
                    <a:cubicBezTo>
                      <a:pt x="440" y="393"/>
                      <a:pt x="445" y="388"/>
                      <a:pt x="445" y="381"/>
                    </a:cubicBezTo>
                    <a:cubicBezTo>
                      <a:pt x="445" y="374"/>
                      <a:pt x="440" y="369"/>
                      <a:pt x="433" y="369"/>
                    </a:cubicBezTo>
                    <a:close/>
                    <a:moveTo>
                      <a:pt x="433" y="400"/>
                    </a:moveTo>
                    <a:cubicBezTo>
                      <a:pt x="426" y="400"/>
                      <a:pt x="421" y="405"/>
                      <a:pt x="421" y="412"/>
                    </a:cubicBezTo>
                    <a:cubicBezTo>
                      <a:pt x="421" y="419"/>
                      <a:pt x="426" y="424"/>
                      <a:pt x="433" y="424"/>
                    </a:cubicBezTo>
                    <a:cubicBezTo>
                      <a:pt x="440" y="424"/>
                      <a:pt x="445" y="419"/>
                      <a:pt x="445" y="412"/>
                    </a:cubicBezTo>
                    <a:cubicBezTo>
                      <a:pt x="445" y="405"/>
                      <a:pt x="440" y="400"/>
                      <a:pt x="433" y="400"/>
                    </a:cubicBezTo>
                    <a:close/>
                    <a:moveTo>
                      <a:pt x="503" y="830"/>
                    </a:moveTo>
                    <a:cubicBezTo>
                      <a:pt x="496" y="830"/>
                      <a:pt x="491" y="836"/>
                      <a:pt x="491" y="842"/>
                    </a:cubicBezTo>
                    <a:cubicBezTo>
                      <a:pt x="491" y="849"/>
                      <a:pt x="496" y="854"/>
                      <a:pt x="503" y="854"/>
                    </a:cubicBezTo>
                    <a:cubicBezTo>
                      <a:pt x="510" y="854"/>
                      <a:pt x="515" y="849"/>
                      <a:pt x="515" y="842"/>
                    </a:cubicBezTo>
                    <a:cubicBezTo>
                      <a:pt x="515" y="836"/>
                      <a:pt x="510" y="830"/>
                      <a:pt x="503" y="830"/>
                    </a:cubicBezTo>
                    <a:close/>
                    <a:moveTo>
                      <a:pt x="433" y="338"/>
                    </a:moveTo>
                    <a:cubicBezTo>
                      <a:pt x="426" y="338"/>
                      <a:pt x="421" y="344"/>
                      <a:pt x="421" y="350"/>
                    </a:cubicBezTo>
                    <a:cubicBezTo>
                      <a:pt x="421" y="357"/>
                      <a:pt x="426" y="363"/>
                      <a:pt x="433" y="363"/>
                    </a:cubicBezTo>
                    <a:cubicBezTo>
                      <a:pt x="440" y="363"/>
                      <a:pt x="445" y="357"/>
                      <a:pt x="445" y="350"/>
                    </a:cubicBezTo>
                    <a:cubicBezTo>
                      <a:pt x="445" y="344"/>
                      <a:pt x="440" y="338"/>
                      <a:pt x="433" y="338"/>
                    </a:cubicBezTo>
                    <a:close/>
                    <a:moveTo>
                      <a:pt x="433" y="307"/>
                    </a:moveTo>
                    <a:cubicBezTo>
                      <a:pt x="426" y="307"/>
                      <a:pt x="421" y="313"/>
                      <a:pt x="421" y="320"/>
                    </a:cubicBezTo>
                    <a:cubicBezTo>
                      <a:pt x="421" y="326"/>
                      <a:pt x="426" y="332"/>
                      <a:pt x="433" y="332"/>
                    </a:cubicBezTo>
                    <a:cubicBezTo>
                      <a:pt x="440" y="332"/>
                      <a:pt x="445" y="326"/>
                      <a:pt x="445" y="320"/>
                    </a:cubicBezTo>
                    <a:cubicBezTo>
                      <a:pt x="445" y="313"/>
                      <a:pt x="440" y="307"/>
                      <a:pt x="433" y="307"/>
                    </a:cubicBezTo>
                    <a:close/>
                    <a:moveTo>
                      <a:pt x="433" y="738"/>
                    </a:moveTo>
                    <a:cubicBezTo>
                      <a:pt x="426" y="738"/>
                      <a:pt x="421" y="743"/>
                      <a:pt x="421" y="750"/>
                    </a:cubicBezTo>
                    <a:cubicBezTo>
                      <a:pt x="421" y="757"/>
                      <a:pt x="426" y="762"/>
                      <a:pt x="433" y="762"/>
                    </a:cubicBezTo>
                    <a:cubicBezTo>
                      <a:pt x="440" y="762"/>
                      <a:pt x="445" y="757"/>
                      <a:pt x="445" y="750"/>
                    </a:cubicBezTo>
                    <a:cubicBezTo>
                      <a:pt x="445" y="743"/>
                      <a:pt x="440" y="738"/>
                      <a:pt x="433" y="738"/>
                    </a:cubicBezTo>
                    <a:close/>
                    <a:moveTo>
                      <a:pt x="223" y="184"/>
                    </a:moveTo>
                    <a:cubicBezTo>
                      <a:pt x="216" y="184"/>
                      <a:pt x="211" y="190"/>
                      <a:pt x="211" y="197"/>
                    </a:cubicBezTo>
                    <a:cubicBezTo>
                      <a:pt x="211" y="203"/>
                      <a:pt x="216" y="209"/>
                      <a:pt x="223" y="209"/>
                    </a:cubicBezTo>
                    <a:cubicBezTo>
                      <a:pt x="230" y="209"/>
                      <a:pt x="235" y="203"/>
                      <a:pt x="235" y="197"/>
                    </a:cubicBezTo>
                    <a:cubicBezTo>
                      <a:pt x="235" y="190"/>
                      <a:pt x="230" y="184"/>
                      <a:pt x="223" y="184"/>
                    </a:cubicBezTo>
                    <a:close/>
                    <a:moveTo>
                      <a:pt x="223" y="307"/>
                    </a:moveTo>
                    <a:cubicBezTo>
                      <a:pt x="216" y="307"/>
                      <a:pt x="211" y="313"/>
                      <a:pt x="211" y="320"/>
                    </a:cubicBezTo>
                    <a:cubicBezTo>
                      <a:pt x="211" y="326"/>
                      <a:pt x="216" y="332"/>
                      <a:pt x="223" y="332"/>
                    </a:cubicBezTo>
                    <a:cubicBezTo>
                      <a:pt x="230" y="332"/>
                      <a:pt x="235" y="326"/>
                      <a:pt x="235" y="320"/>
                    </a:cubicBezTo>
                    <a:cubicBezTo>
                      <a:pt x="235" y="313"/>
                      <a:pt x="230" y="307"/>
                      <a:pt x="223" y="307"/>
                    </a:cubicBezTo>
                    <a:close/>
                    <a:moveTo>
                      <a:pt x="223" y="277"/>
                    </a:moveTo>
                    <a:cubicBezTo>
                      <a:pt x="216" y="277"/>
                      <a:pt x="211" y="282"/>
                      <a:pt x="211" y="289"/>
                    </a:cubicBezTo>
                    <a:cubicBezTo>
                      <a:pt x="211" y="296"/>
                      <a:pt x="216" y="301"/>
                      <a:pt x="223" y="301"/>
                    </a:cubicBezTo>
                    <a:cubicBezTo>
                      <a:pt x="230" y="301"/>
                      <a:pt x="235" y="296"/>
                      <a:pt x="235" y="289"/>
                    </a:cubicBezTo>
                    <a:cubicBezTo>
                      <a:pt x="235" y="282"/>
                      <a:pt x="230" y="277"/>
                      <a:pt x="223" y="277"/>
                    </a:cubicBezTo>
                    <a:close/>
                    <a:moveTo>
                      <a:pt x="223" y="369"/>
                    </a:moveTo>
                    <a:cubicBezTo>
                      <a:pt x="216" y="369"/>
                      <a:pt x="211" y="374"/>
                      <a:pt x="211" y="381"/>
                    </a:cubicBezTo>
                    <a:cubicBezTo>
                      <a:pt x="211" y="388"/>
                      <a:pt x="216" y="393"/>
                      <a:pt x="223" y="393"/>
                    </a:cubicBezTo>
                    <a:cubicBezTo>
                      <a:pt x="230" y="393"/>
                      <a:pt x="235" y="388"/>
                      <a:pt x="235" y="381"/>
                    </a:cubicBezTo>
                    <a:cubicBezTo>
                      <a:pt x="235" y="374"/>
                      <a:pt x="230" y="369"/>
                      <a:pt x="223" y="369"/>
                    </a:cubicBezTo>
                    <a:close/>
                    <a:moveTo>
                      <a:pt x="223" y="400"/>
                    </a:moveTo>
                    <a:cubicBezTo>
                      <a:pt x="216" y="400"/>
                      <a:pt x="211" y="405"/>
                      <a:pt x="211" y="412"/>
                    </a:cubicBezTo>
                    <a:cubicBezTo>
                      <a:pt x="211" y="419"/>
                      <a:pt x="216" y="424"/>
                      <a:pt x="223" y="424"/>
                    </a:cubicBezTo>
                    <a:cubicBezTo>
                      <a:pt x="230" y="424"/>
                      <a:pt x="235" y="419"/>
                      <a:pt x="235" y="412"/>
                    </a:cubicBezTo>
                    <a:cubicBezTo>
                      <a:pt x="235" y="405"/>
                      <a:pt x="230" y="400"/>
                      <a:pt x="223" y="400"/>
                    </a:cubicBezTo>
                    <a:close/>
                    <a:moveTo>
                      <a:pt x="223" y="154"/>
                    </a:moveTo>
                    <a:cubicBezTo>
                      <a:pt x="216" y="154"/>
                      <a:pt x="211" y="159"/>
                      <a:pt x="211" y="166"/>
                    </a:cubicBezTo>
                    <a:cubicBezTo>
                      <a:pt x="211" y="173"/>
                      <a:pt x="216" y="178"/>
                      <a:pt x="223" y="178"/>
                    </a:cubicBezTo>
                    <a:cubicBezTo>
                      <a:pt x="230" y="178"/>
                      <a:pt x="235" y="173"/>
                      <a:pt x="235" y="166"/>
                    </a:cubicBezTo>
                    <a:cubicBezTo>
                      <a:pt x="235" y="159"/>
                      <a:pt x="230" y="154"/>
                      <a:pt x="223" y="154"/>
                    </a:cubicBezTo>
                    <a:close/>
                    <a:moveTo>
                      <a:pt x="223" y="92"/>
                    </a:moveTo>
                    <a:cubicBezTo>
                      <a:pt x="216" y="92"/>
                      <a:pt x="211" y="98"/>
                      <a:pt x="211" y="104"/>
                    </a:cubicBezTo>
                    <a:cubicBezTo>
                      <a:pt x="211" y="111"/>
                      <a:pt x="216" y="117"/>
                      <a:pt x="223" y="117"/>
                    </a:cubicBezTo>
                    <a:cubicBezTo>
                      <a:pt x="230" y="117"/>
                      <a:pt x="235" y="111"/>
                      <a:pt x="235" y="104"/>
                    </a:cubicBezTo>
                    <a:cubicBezTo>
                      <a:pt x="235" y="98"/>
                      <a:pt x="230" y="92"/>
                      <a:pt x="223" y="92"/>
                    </a:cubicBezTo>
                    <a:close/>
                    <a:moveTo>
                      <a:pt x="223" y="123"/>
                    </a:moveTo>
                    <a:cubicBezTo>
                      <a:pt x="216" y="123"/>
                      <a:pt x="211" y="128"/>
                      <a:pt x="211" y="135"/>
                    </a:cubicBezTo>
                    <a:cubicBezTo>
                      <a:pt x="211" y="142"/>
                      <a:pt x="216" y="147"/>
                      <a:pt x="223" y="147"/>
                    </a:cubicBezTo>
                    <a:cubicBezTo>
                      <a:pt x="230" y="147"/>
                      <a:pt x="235" y="142"/>
                      <a:pt x="235" y="135"/>
                    </a:cubicBezTo>
                    <a:cubicBezTo>
                      <a:pt x="235" y="128"/>
                      <a:pt x="230" y="123"/>
                      <a:pt x="223" y="123"/>
                    </a:cubicBezTo>
                    <a:close/>
                    <a:moveTo>
                      <a:pt x="223" y="430"/>
                    </a:moveTo>
                    <a:cubicBezTo>
                      <a:pt x="216" y="430"/>
                      <a:pt x="211" y="436"/>
                      <a:pt x="211" y="443"/>
                    </a:cubicBezTo>
                    <a:cubicBezTo>
                      <a:pt x="211" y="449"/>
                      <a:pt x="216" y="455"/>
                      <a:pt x="223" y="455"/>
                    </a:cubicBezTo>
                    <a:cubicBezTo>
                      <a:pt x="230" y="455"/>
                      <a:pt x="235" y="449"/>
                      <a:pt x="235" y="443"/>
                    </a:cubicBezTo>
                    <a:cubicBezTo>
                      <a:pt x="235" y="436"/>
                      <a:pt x="230" y="430"/>
                      <a:pt x="223" y="430"/>
                    </a:cubicBezTo>
                    <a:close/>
                    <a:moveTo>
                      <a:pt x="223" y="246"/>
                    </a:moveTo>
                    <a:cubicBezTo>
                      <a:pt x="216" y="246"/>
                      <a:pt x="211" y="251"/>
                      <a:pt x="211" y="258"/>
                    </a:cubicBezTo>
                    <a:cubicBezTo>
                      <a:pt x="211" y="265"/>
                      <a:pt x="216" y="270"/>
                      <a:pt x="223" y="270"/>
                    </a:cubicBezTo>
                    <a:cubicBezTo>
                      <a:pt x="230" y="270"/>
                      <a:pt x="235" y="265"/>
                      <a:pt x="235" y="258"/>
                    </a:cubicBezTo>
                    <a:cubicBezTo>
                      <a:pt x="235" y="251"/>
                      <a:pt x="230" y="246"/>
                      <a:pt x="223" y="246"/>
                    </a:cubicBezTo>
                    <a:close/>
                    <a:moveTo>
                      <a:pt x="153" y="123"/>
                    </a:moveTo>
                    <a:cubicBezTo>
                      <a:pt x="146" y="123"/>
                      <a:pt x="141" y="128"/>
                      <a:pt x="141" y="135"/>
                    </a:cubicBezTo>
                    <a:cubicBezTo>
                      <a:pt x="141" y="142"/>
                      <a:pt x="146" y="147"/>
                      <a:pt x="153" y="147"/>
                    </a:cubicBezTo>
                    <a:cubicBezTo>
                      <a:pt x="160" y="147"/>
                      <a:pt x="165" y="142"/>
                      <a:pt x="165" y="135"/>
                    </a:cubicBezTo>
                    <a:cubicBezTo>
                      <a:pt x="165" y="128"/>
                      <a:pt x="160" y="123"/>
                      <a:pt x="153" y="123"/>
                    </a:cubicBezTo>
                    <a:close/>
                    <a:moveTo>
                      <a:pt x="153" y="154"/>
                    </a:moveTo>
                    <a:cubicBezTo>
                      <a:pt x="146" y="154"/>
                      <a:pt x="141" y="159"/>
                      <a:pt x="141" y="166"/>
                    </a:cubicBezTo>
                    <a:cubicBezTo>
                      <a:pt x="141" y="173"/>
                      <a:pt x="146" y="178"/>
                      <a:pt x="153" y="178"/>
                    </a:cubicBezTo>
                    <a:cubicBezTo>
                      <a:pt x="160" y="178"/>
                      <a:pt x="165" y="173"/>
                      <a:pt x="165" y="166"/>
                    </a:cubicBezTo>
                    <a:cubicBezTo>
                      <a:pt x="165" y="159"/>
                      <a:pt x="160" y="154"/>
                      <a:pt x="153" y="154"/>
                    </a:cubicBezTo>
                    <a:close/>
                    <a:moveTo>
                      <a:pt x="153" y="62"/>
                    </a:moveTo>
                    <a:cubicBezTo>
                      <a:pt x="146" y="62"/>
                      <a:pt x="141" y="67"/>
                      <a:pt x="141" y="74"/>
                    </a:cubicBezTo>
                    <a:cubicBezTo>
                      <a:pt x="141" y="80"/>
                      <a:pt x="146" y="86"/>
                      <a:pt x="153" y="86"/>
                    </a:cubicBezTo>
                    <a:cubicBezTo>
                      <a:pt x="160" y="86"/>
                      <a:pt x="165" y="80"/>
                      <a:pt x="165" y="74"/>
                    </a:cubicBezTo>
                    <a:cubicBezTo>
                      <a:pt x="165" y="67"/>
                      <a:pt x="160" y="62"/>
                      <a:pt x="153" y="62"/>
                    </a:cubicBezTo>
                    <a:close/>
                    <a:moveTo>
                      <a:pt x="188" y="154"/>
                    </a:moveTo>
                    <a:cubicBezTo>
                      <a:pt x="181" y="154"/>
                      <a:pt x="176" y="159"/>
                      <a:pt x="176" y="166"/>
                    </a:cubicBezTo>
                    <a:cubicBezTo>
                      <a:pt x="176" y="173"/>
                      <a:pt x="181" y="178"/>
                      <a:pt x="188" y="178"/>
                    </a:cubicBezTo>
                    <a:cubicBezTo>
                      <a:pt x="195" y="178"/>
                      <a:pt x="200" y="173"/>
                      <a:pt x="200" y="166"/>
                    </a:cubicBezTo>
                    <a:cubicBezTo>
                      <a:pt x="200" y="159"/>
                      <a:pt x="195" y="154"/>
                      <a:pt x="188" y="154"/>
                    </a:cubicBezTo>
                    <a:close/>
                    <a:moveTo>
                      <a:pt x="188" y="338"/>
                    </a:moveTo>
                    <a:cubicBezTo>
                      <a:pt x="181" y="338"/>
                      <a:pt x="176" y="344"/>
                      <a:pt x="176" y="350"/>
                    </a:cubicBezTo>
                    <a:cubicBezTo>
                      <a:pt x="176" y="357"/>
                      <a:pt x="181" y="363"/>
                      <a:pt x="188" y="363"/>
                    </a:cubicBezTo>
                    <a:cubicBezTo>
                      <a:pt x="195" y="363"/>
                      <a:pt x="200" y="357"/>
                      <a:pt x="200" y="350"/>
                    </a:cubicBezTo>
                    <a:cubicBezTo>
                      <a:pt x="200" y="344"/>
                      <a:pt x="195" y="338"/>
                      <a:pt x="188" y="338"/>
                    </a:cubicBezTo>
                    <a:close/>
                    <a:moveTo>
                      <a:pt x="293" y="430"/>
                    </a:moveTo>
                    <a:cubicBezTo>
                      <a:pt x="286" y="430"/>
                      <a:pt x="281" y="436"/>
                      <a:pt x="281" y="443"/>
                    </a:cubicBezTo>
                    <a:cubicBezTo>
                      <a:pt x="281" y="449"/>
                      <a:pt x="286" y="455"/>
                      <a:pt x="293" y="455"/>
                    </a:cubicBezTo>
                    <a:cubicBezTo>
                      <a:pt x="300" y="455"/>
                      <a:pt x="305" y="449"/>
                      <a:pt x="305" y="443"/>
                    </a:cubicBezTo>
                    <a:cubicBezTo>
                      <a:pt x="305" y="436"/>
                      <a:pt x="300" y="430"/>
                      <a:pt x="293" y="430"/>
                    </a:cubicBezTo>
                    <a:close/>
                    <a:moveTo>
                      <a:pt x="293" y="246"/>
                    </a:moveTo>
                    <a:cubicBezTo>
                      <a:pt x="286" y="246"/>
                      <a:pt x="281" y="251"/>
                      <a:pt x="281" y="258"/>
                    </a:cubicBezTo>
                    <a:cubicBezTo>
                      <a:pt x="281" y="265"/>
                      <a:pt x="286" y="270"/>
                      <a:pt x="293" y="270"/>
                    </a:cubicBezTo>
                    <a:cubicBezTo>
                      <a:pt x="300" y="270"/>
                      <a:pt x="305" y="265"/>
                      <a:pt x="305" y="258"/>
                    </a:cubicBezTo>
                    <a:cubicBezTo>
                      <a:pt x="305" y="251"/>
                      <a:pt x="300" y="246"/>
                      <a:pt x="293" y="246"/>
                    </a:cubicBezTo>
                    <a:close/>
                    <a:moveTo>
                      <a:pt x="293" y="492"/>
                    </a:moveTo>
                    <a:cubicBezTo>
                      <a:pt x="286" y="492"/>
                      <a:pt x="281" y="497"/>
                      <a:pt x="281" y="504"/>
                    </a:cubicBezTo>
                    <a:cubicBezTo>
                      <a:pt x="281" y="511"/>
                      <a:pt x="286" y="516"/>
                      <a:pt x="293" y="516"/>
                    </a:cubicBezTo>
                    <a:cubicBezTo>
                      <a:pt x="300" y="516"/>
                      <a:pt x="305" y="511"/>
                      <a:pt x="305" y="504"/>
                    </a:cubicBezTo>
                    <a:cubicBezTo>
                      <a:pt x="305" y="497"/>
                      <a:pt x="300" y="492"/>
                      <a:pt x="293" y="492"/>
                    </a:cubicBezTo>
                    <a:close/>
                    <a:moveTo>
                      <a:pt x="293" y="215"/>
                    </a:moveTo>
                    <a:cubicBezTo>
                      <a:pt x="286" y="215"/>
                      <a:pt x="281" y="221"/>
                      <a:pt x="281" y="227"/>
                    </a:cubicBezTo>
                    <a:cubicBezTo>
                      <a:pt x="281" y="234"/>
                      <a:pt x="286" y="240"/>
                      <a:pt x="293" y="240"/>
                    </a:cubicBezTo>
                    <a:cubicBezTo>
                      <a:pt x="300" y="240"/>
                      <a:pt x="305" y="234"/>
                      <a:pt x="305" y="227"/>
                    </a:cubicBezTo>
                    <a:cubicBezTo>
                      <a:pt x="305" y="221"/>
                      <a:pt x="300" y="215"/>
                      <a:pt x="293" y="215"/>
                    </a:cubicBezTo>
                    <a:close/>
                    <a:moveTo>
                      <a:pt x="293" y="184"/>
                    </a:moveTo>
                    <a:cubicBezTo>
                      <a:pt x="286" y="184"/>
                      <a:pt x="281" y="190"/>
                      <a:pt x="281" y="197"/>
                    </a:cubicBezTo>
                    <a:cubicBezTo>
                      <a:pt x="281" y="203"/>
                      <a:pt x="286" y="209"/>
                      <a:pt x="293" y="209"/>
                    </a:cubicBezTo>
                    <a:cubicBezTo>
                      <a:pt x="300" y="209"/>
                      <a:pt x="305" y="203"/>
                      <a:pt x="305" y="197"/>
                    </a:cubicBezTo>
                    <a:cubicBezTo>
                      <a:pt x="305" y="190"/>
                      <a:pt x="300" y="184"/>
                      <a:pt x="293" y="184"/>
                    </a:cubicBezTo>
                    <a:close/>
                    <a:moveTo>
                      <a:pt x="293" y="92"/>
                    </a:moveTo>
                    <a:cubicBezTo>
                      <a:pt x="286" y="92"/>
                      <a:pt x="281" y="98"/>
                      <a:pt x="281" y="104"/>
                    </a:cubicBezTo>
                    <a:cubicBezTo>
                      <a:pt x="281" y="111"/>
                      <a:pt x="286" y="117"/>
                      <a:pt x="293" y="117"/>
                    </a:cubicBezTo>
                    <a:cubicBezTo>
                      <a:pt x="300" y="117"/>
                      <a:pt x="305" y="111"/>
                      <a:pt x="305" y="104"/>
                    </a:cubicBezTo>
                    <a:cubicBezTo>
                      <a:pt x="305" y="98"/>
                      <a:pt x="300" y="92"/>
                      <a:pt x="293" y="92"/>
                    </a:cubicBezTo>
                    <a:close/>
                    <a:moveTo>
                      <a:pt x="293" y="123"/>
                    </a:moveTo>
                    <a:cubicBezTo>
                      <a:pt x="286" y="123"/>
                      <a:pt x="281" y="128"/>
                      <a:pt x="281" y="135"/>
                    </a:cubicBezTo>
                    <a:cubicBezTo>
                      <a:pt x="281" y="142"/>
                      <a:pt x="286" y="147"/>
                      <a:pt x="293" y="147"/>
                    </a:cubicBezTo>
                    <a:cubicBezTo>
                      <a:pt x="300" y="147"/>
                      <a:pt x="305" y="142"/>
                      <a:pt x="305" y="135"/>
                    </a:cubicBezTo>
                    <a:cubicBezTo>
                      <a:pt x="305" y="128"/>
                      <a:pt x="300" y="123"/>
                      <a:pt x="293" y="123"/>
                    </a:cubicBezTo>
                    <a:close/>
                    <a:moveTo>
                      <a:pt x="293" y="154"/>
                    </a:moveTo>
                    <a:cubicBezTo>
                      <a:pt x="286" y="154"/>
                      <a:pt x="281" y="159"/>
                      <a:pt x="281" y="166"/>
                    </a:cubicBezTo>
                    <a:cubicBezTo>
                      <a:pt x="281" y="173"/>
                      <a:pt x="286" y="178"/>
                      <a:pt x="293" y="178"/>
                    </a:cubicBezTo>
                    <a:cubicBezTo>
                      <a:pt x="300" y="178"/>
                      <a:pt x="305" y="173"/>
                      <a:pt x="305" y="166"/>
                    </a:cubicBezTo>
                    <a:cubicBezTo>
                      <a:pt x="305" y="159"/>
                      <a:pt x="300" y="154"/>
                      <a:pt x="293" y="154"/>
                    </a:cubicBezTo>
                    <a:close/>
                    <a:moveTo>
                      <a:pt x="293" y="62"/>
                    </a:moveTo>
                    <a:cubicBezTo>
                      <a:pt x="286" y="62"/>
                      <a:pt x="281" y="67"/>
                      <a:pt x="281" y="74"/>
                    </a:cubicBezTo>
                    <a:cubicBezTo>
                      <a:pt x="281" y="80"/>
                      <a:pt x="286" y="86"/>
                      <a:pt x="293" y="86"/>
                    </a:cubicBezTo>
                    <a:cubicBezTo>
                      <a:pt x="300" y="86"/>
                      <a:pt x="305" y="80"/>
                      <a:pt x="305" y="74"/>
                    </a:cubicBezTo>
                    <a:cubicBezTo>
                      <a:pt x="305" y="67"/>
                      <a:pt x="300" y="62"/>
                      <a:pt x="293" y="62"/>
                    </a:cubicBezTo>
                    <a:close/>
                    <a:moveTo>
                      <a:pt x="293" y="31"/>
                    </a:moveTo>
                    <a:cubicBezTo>
                      <a:pt x="286" y="31"/>
                      <a:pt x="281" y="36"/>
                      <a:pt x="281" y="43"/>
                    </a:cubicBezTo>
                    <a:cubicBezTo>
                      <a:pt x="281" y="50"/>
                      <a:pt x="286" y="55"/>
                      <a:pt x="293" y="55"/>
                    </a:cubicBezTo>
                    <a:cubicBezTo>
                      <a:pt x="300" y="55"/>
                      <a:pt x="305" y="50"/>
                      <a:pt x="305" y="43"/>
                    </a:cubicBezTo>
                    <a:cubicBezTo>
                      <a:pt x="305" y="36"/>
                      <a:pt x="300" y="31"/>
                      <a:pt x="293" y="31"/>
                    </a:cubicBezTo>
                    <a:close/>
                    <a:moveTo>
                      <a:pt x="258" y="338"/>
                    </a:moveTo>
                    <a:cubicBezTo>
                      <a:pt x="251" y="338"/>
                      <a:pt x="246" y="344"/>
                      <a:pt x="246" y="350"/>
                    </a:cubicBezTo>
                    <a:cubicBezTo>
                      <a:pt x="246" y="357"/>
                      <a:pt x="251" y="363"/>
                      <a:pt x="258" y="363"/>
                    </a:cubicBezTo>
                    <a:cubicBezTo>
                      <a:pt x="265" y="363"/>
                      <a:pt x="270" y="357"/>
                      <a:pt x="270" y="350"/>
                    </a:cubicBezTo>
                    <a:cubicBezTo>
                      <a:pt x="270" y="344"/>
                      <a:pt x="265" y="338"/>
                      <a:pt x="258" y="338"/>
                    </a:cubicBezTo>
                    <a:close/>
                    <a:moveTo>
                      <a:pt x="258" y="400"/>
                    </a:moveTo>
                    <a:cubicBezTo>
                      <a:pt x="251" y="400"/>
                      <a:pt x="246" y="405"/>
                      <a:pt x="246" y="412"/>
                    </a:cubicBezTo>
                    <a:cubicBezTo>
                      <a:pt x="246" y="419"/>
                      <a:pt x="251" y="424"/>
                      <a:pt x="258" y="424"/>
                    </a:cubicBezTo>
                    <a:cubicBezTo>
                      <a:pt x="265" y="424"/>
                      <a:pt x="270" y="419"/>
                      <a:pt x="270" y="412"/>
                    </a:cubicBezTo>
                    <a:cubicBezTo>
                      <a:pt x="270" y="405"/>
                      <a:pt x="265" y="400"/>
                      <a:pt x="258" y="400"/>
                    </a:cubicBezTo>
                    <a:close/>
                    <a:moveTo>
                      <a:pt x="258" y="369"/>
                    </a:moveTo>
                    <a:cubicBezTo>
                      <a:pt x="251" y="369"/>
                      <a:pt x="246" y="374"/>
                      <a:pt x="246" y="381"/>
                    </a:cubicBezTo>
                    <a:cubicBezTo>
                      <a:pt x="246" y="388"/>
                      <a:pt x="251" y="393"/>
                      <a:pt x="258" y="393"/>
                    </a:cubicBezTo>
                    <a:cubicBezTo>
                      <a:pt x="265" y="393"/>
                      <a:pt x="270" y="388"/>
                      <a:pt x="270" y="381"/>
                    </a:cubicBezTo>
                    <a:cubicBezTo>
                      <a:pt x="270" y="374"/>
                      <a:pt x="265" y="369"/>
                      <a:pt x="258" y="369"/>
                    </a:cubicBezTo>
                    <a:close/>
                    <a:moveTo>
                      <a:pt x="258" y="461"/>
                    </a:moveTo>
                    <a:cubicBezTo>
                      <a:pt x="251" y="461"/>
                      <a:pt x="246" y="467"/>
                      <a:pt x="246" y="473"/>
                    </a:cubicBezTo>
                    <a:cubicBezTo>
                      <a:pt x="246" y="480"/>
                      <a:pt x="251" y="486"/>
                      <a:pt x="258" y="486"/>
                    </a:cubicBezTo>
                    <a:cubicBezTo>
                      <a:pt x="265" y="486"/>
                      <a:pt x="270" y="480"/>
                      <a:pt x="270" y="473"/>
                    </a:cubicBezTo>
                    <a:cubicBezTo>
                      <a:pt x="270" y="467"/>
                      <a:pt x="265" y="461"/>
                      <a:pt x="258" y="461"/>
                    </a:cubicBezTo>
                    <a:close/>
                    <a:moveTo>
                      <a:pt x="258" y="430"/>
                    </a:moveTo>
                    <a:cubicBezTo>
                      <a:pt x="251" y="430"/>
                      <a:pt x="246" y="436"/>
                      <a:pt x="246" y="443"/>
                    </a:cubicBezTo>
                    <a:cubicBezTo>
                      <a:pt x="246" y="449"/>
                      <a:pt x="251" y="455"/>
                      <a:pt x="258" y="455"/>
                    </a:cubicBezTo>
                    <a:cubicBezTo>
                      <a:pt x="265" y="455"/>
                      <a:pt x="270" y="449"/>
                      <a:pt x="270" y="443"/>
                    </a:cubicBezTo>
                    <a:cubicBezTo>
                      <a:pt x="270" y="436"/>
                      <a:pt x="265" y="430"/>
                      <a:pt x="258" y="430"/>
                    </a:cubicBezTo>
                    <a:close/>
                    <a:moveTo>
                      <a:pt x="258" y="307"/>
                    </a:moveTo>
                    <a:cubicBezTo>
                      <a:pt x="251" y="307"/>
                      <a:pt x="246" y="313"/>
                      <a:pt x="246" y="320"/>
                    </a:cubicBezTo>
                    <a:cubicBezTo>
                      <a:pt x="246" y="326"/>
                      <a:pt x="251" y="332"/>
                      <a:pt x="258" y="332"/>
                    </a:cubicBezTo>
                    <a:cubicBezTo>
                      <a:pt x="265" y="332"/>
                      <a:pt x="270" y="326"/>
                      <a:pt x="270" y="320"/>
                    </a:cubicBezTo>
                    <a:cubicBezTo>
                      <a:pt x="270" y="313"/>
                      <a:pt x="265" y="307"/>
                      <a:pt x="258" y="307"/>
                    </a:cubicBezTo>
                    <a:close/>
                    <a:moveTo>
                      <a:pt x="258" y="184"/>
                    </a:moveTo>
                    <a:cubicBezTo>
                      <a:pt x="251" y="184"/>
                      <a:pt x="246" y="190"/>
                      <a:pt x="246" y="197"/>
                    </a:cubicBezTo>
                    <a:cubicBezTo>
                      <a:pt x="246" y="203"/>
                      <a:pt x="251" y="209"/>
                      <a:pt x="258" y="209"/>
                    </a:cubicBezTo>
                    <a:cubicBezTo>
                      <a:pt x="265" y="209"/>
                      <a:pt x="270" y="203"/>
                      <a:pt x="270" y="197"/>
                    </a:cubicBezTo>
                    <a:cubicBezTo>
                      <a:pt x="270" y="190"/>
                      <a:pt x="265" y="184"/>
                      <a:pt x="258" y="184"/>
                    </a:cubicBezTo>
                    <a:close/>
                    <a:moveTo>
                      <a:pt x="258" y="215"/>
                    </a:moveTo>
                    <a:cubicBezTo>
                      <a:pt x="251" y="215"/>
                      <a:pt x="246" y="221"/>
                      <a:pt x="246" y="227"/>
                    </a:cubicBezTo>
                    <a:cubicBezTo>
                      <a:pt x="246" y="234"/>
                      <a:pt x="251" y="240"/>
                      <a:pt x="258" y="240"/>
                    </a:cubicBezTo>
                    <a:cubicBezTo>
                      <a:pt x="265" y="240"/>
                      <a:pt x="270" y="234"/>
                      <a:pt x="270" y="227"/>
                    </a:cubicBezTo>
                    <a:cubicBezTo>
                      <a:pt x="270" y="221"/>
                      <a:pt x="265" y="215"/>
                      <a:pt x="258" y="215"/>
                    </a:cubicBezTo>
                    <a:close/>
                    <a:moveTo>
                      <a:pt x="258" y="123"/>
                    </a:moveTo>
                    <a:cubicBezTo>
                      <a:pt x="251" y="123"/>
                      <a:pt x="246" y="128"/>
                      <a:pt x="246" y="135"/>
                    </a:cubicBezTo>
                    <a:cubicBezTo>
                      <a:pt x="246" y="142"/>
                      <a:pt x="251" y="147"/>
                      <a:pt x="258" y="147"/>
                    </a:cubicBezTo>
                    <a:cubicBezTo>
                      <a:pt x="265" y="147"/>
                      <a:pt x="270" y="142"/>
                      <a:pt x="270" y="135"/>
                    </a:cubicBezTo>
                    <a:cubicBezTo>
                      <a:pt x="270" y="128"/>
                      <a:pt x="265" y="123"/>
                      <a:pt x="258" y="123"/>
                    </a:cubicBezTo>
                    <a:close/>
                    <a:moveTo>
                      <a:pt x="258" y="154"/>
                    </a:moveTo>
                    <a:cubicBezTo>
                      <a:pt x="251" y="154"/>
                      <a:pt x="246" y="159"/>
                      <a:pt x="246" y="166"/>
                    </a:cubicBezTo>
                    <a:cubicBezTo>
                      <a:pt x="246" y="173"/>
                      <a:pt x="251" y="178"/>
                      <a:pt x="258" y="178"/>
                    </a:cubicBezTo>
                    <a:cubicBezTo>
                      <a:pt x="265" y="178"/>
                      <a:pt x="270" y="173"/>
                      <a:pt x="270" y="166"/>
                    </a:cubicBezTo>
                    <a:cubicBezTo>
                      <a:pt x="270" y="159"/>
                      <a:pt x="265" y="154"/>
                      <a:pt x="258" y="154"/>
                    </a:cubicBezTo>
                    <a:close/>
                    <a:moveTo>
                      <a:pt x="258" y="92"/>
                    </a:moveTo>
                    <a:cubicBezTo>
                      <a:pt x="251" y="92"/>
                      <a:pt x="246" y="98"/>
                      <a:pt x="246" y="104"/>
                    </a:cubicBezTo>
                    <a:cubicBezTo>
                      <a:pt x="246" y="111"/>
                      <a:pt x="251" y="117"/>
                      <a:pt x="258" y="117"/>
                    </a:cubicBezTo>
                    <a:cubicBezTo>
                      <a:pt x="265" y="117"/>
                      <a:pt x="270" y="111"/>
                      <a:pt x="270" y="104"/>
                    </a:cubicBezTo>
                    <a:cubicBezTo>
                      <a:pt x="270" y="98"/>
                      <a:pt x="265" y="92"/>
                      <a:pt x="258" y="92"/>
                    </a:cubicBezTo>
                    <a:close/>
                    <a:moveTo>
                      <a:pt x="258" y="31"/>
                    </a:moveTo>
                    <a:cubicBezTo>
                      <a:pt x="251" y="31"/>
                      <a:pt x="246" y="36"/>
                      <a:pt x="246" y="43"/>
                    </a:cubicBezTo>
                    <a:cubicBezTo>
                      <a:pt x="246" y="50"/>
                      <a:pt x="251" y="55"/>
                      <a:pt x="258" y="55"/>
                    </a:cubicBezTo>
                    <a:cubicBezTo>
                      <a:pt x="265" y="55"/>
                      <a:pt x="270" y="50"/>
                      <a:pt x="270" y="43"/>
                    </a:cubicBezTo>
                    <a:cubicBezTo>
                      <a:pt x="270" y="36"/>
                      <a:pt x="265" y="31"/>
                      <a:pt x="258" y="31"/>
                    </a:cubicBezTo>
                    <a:close/>
                    <a:moveTo>
                      <a:pt x="258" y="62"/>
                    </a:moveTo>
                    <a:cubicBezTo>
                      <a:pt x="251" y="62"/>
                      <a:pt x="246" y="67"/>
                      <a:pt x="246" y="74"/>
                    </a:cubicBezTo>
                    <a:cubicBezTo>
                      <a:pt x="246" y="80"/>
                      <a:pt x="251" y="86"/>
                      <a:pt x="258" y="86"/>
                    </a:cubicBezTo>
                    <a:cubicBezTo>
                      <a:pt x="265" y="86"/>
                      <a:pt x="270" y="80"/>
                      <a:pt x="270" y="74"/>
                    </a:cubicBezTo>
                    <a:cubicBezTo>
                      <a:pt x="270" y="67"/>
                      <a:pt x="265" y="62"/>
                      <a:pt x="258" y="62"/>
                    </a:cubicBezTo>
                    <a:close/>
                    <a:moveTo>
                      <a:pt x="784" y="461"/>
                    </a:moveTo>
                    <a:cubicBezTo>
                      <a:pt x="777" y="461"/>
                      <a:pt x="771" y="467"/>
                      <a:pt x="771" y="473"/>
                    </a:cubicBezTo>
                    <a:cubicBezTo>
                      <a:pt x="771" y="480"/>
                      <a:pt x="777" y="486"/>
                      <a:pt x="784" y="486"/>
                    </a:cubicBezTo>
                    <a:cubicBezTo>
                      <a:pt x="790" y="486"/>
                      <a:pt x="796" y="480"/>
                      <a:pt x="796" y="473"/>
                    </a:cubicBezTo>
                    <a:cubicBezTo>
                      <a:pt x="796" y="467"/>
                      <a:pt x="790" y="461"/>
                      <a:pt x="784" y="461"/>
                    </a:cubicBezTo>
                    <a:close/>
                    <a:moveTo>
                      <a:pt x="784" y="707"/>
                    </a:moveTo>
                    <a:cubicBezTo>
                      <a:pt x="777" y="707"/>
                      <a:pt x="771" y="713"/>
                      <a:pt x="771" y="719"/>
                    </a:cubicBezTo>
                    <a:cubicBezTo>
                      <a:pt x="771" y="726"/>
                      <a:pt x="777" y="731"/>
                      <a:pt x="784" y="731"/>
                    </a:cubicBezTo>
                    <a:cubicBezTo>
                      <a:pt x="790" y="731"/>
                      <a:pt x="796" y="726"/>
                      <a:pt x="796" y="719"/>
                    </a:cubicBezTo>
                    <a:cubicBezTo>
                      <a:pt x="796" y="713"/>
                      <a:pt x="790" y="707"/>
                      <a:pt x="784" y="707"/>
                    </a:cubicBezTo>
                    <a:close/>
                    <a:moveTo>
                      <a:pt x="784" y="738"/>
                    </a:moveTo>
                    <a:cubicBezTo>
                      <a:pt x="777" y="738"/>
                      <a:pt x="771" y="743"/>
                      <a:pt x="771" y="750"/>
                    </a:cubicBezTo>
                    <a:cubicBezTo>
                      <a:pt x="771" y="757"/>
                      <a:pt x="777" y="762"/>
                      <a:pt x="784" y="762"/>
                    </a:cubicBezTo>
                    <a:cubicBezTo>
                      <a:pt x="790" y="762"/>
                      <a:pt x="796" y="757"/>
                      <a:pt x="796" y="750"/>
                    </a:cubicBezTo>
                    <a:cubicBezTo>
                      <a:pt x="796" y="743"/>
                      <a:pt x="790" y="738"/>
                      <a:pt x="784" y="738"/>
                    </a:cubicBezTo>
                    <a:close/>
                    <a:moveTo>
                      <a:pt x="784" y="676"/>
                    </a:moveTo>
                    <a:cubicBezTo>
                      <a:pt x="777" y="676"/>
                      <a:pt x="771" y="682"/>
                      <a:pt x="771" y="689"/>
                    </a:cubicBezTo>
                    <a:cubicBezTo>
                      <a:pt x="771" y="695"/>
                      <a:pt x="777" y="701"/>
                      <a:pt x="784" y="701"/>
                    </a:cubicBezTo>
                    <a:cubicBezTo>
                      <a:pt x="790" y="701"/>
                      <a:pt x="796" y="695"/>
                      <a:pt x="796" y="689"/>
                    </a:cubicBezTo>
                    <a:cubicBezTo>
                      <a:pt x="796" y="682"/>
                      <a:pt x="790" y="676"/>
                      <a:pt x="784" y="676"/>
                    </a:cubicBezTo>
                    <a:close/>
                    <a:moveTo>
                      <a:pt x="784" y="769"/>
                    </a:moveTo>
                    <a:cubicBezTo>
                      <a:pt x="777" y="769"/>
                      <a:pt x="771" y="774"/>
                      <a:pt x="771" y="781"/>
                    </a:cubicBezTo>
                    <a:cubicBezTo>
                      <a:pt x="771" y="787"/>
                      <a:pt x="777" y="793"/>
                      <a:pt x="784" y="793"/>
                    </a:cubicBezTo>
                    <a:cubicBezTo>
                      <a:pt x="790" y="793"/>
                      <a:pt x="796" y="787"/>
                      <a:pt x="796" y="781"/>
                    </a:cubicBezTo>
                    <a:cubicBezTo>
                      <a:pt x="796" y="774"/>
                      <a:pt x="790" y="769"/>
                      <a:pt x="784" y="769"/>
                    </a:cubicBezTo>
                    <a:close/>
                    <a:moveTo>
                      <a:pt x="784" y="799"/>
                    </a:moveTo>
                    <a:cubicBezTo>
                      <a:pt x="777" y="799"/>
                      <a:pt x="771" y="805"/>
                      <a:pt x="771" y="812"/>
                    </a:cubicBezTo>
                    <a:cubicBezTo>
                      <a:pt x="771" y="818"/>
                      <a:pt x="777" y="824"/>
                      <a:pt x="784" y="824"/>
                    </a:cubicBezTo>
                    <a:cubicBezTo>
                      <a:pt x="790" y="824"/>
                      <a:pt x="796" y="818"/>
                      <a:pt x="796" y="812"/>
                    </a:cubicBezTo>
                    <a:cubicBezTo>
                      <a:pt x="796" y="805"/>
                      <a:pt x="790" y="799"/>
                      <a:pt x="784" y="799"/>
                    </a:cubicBezTo>
                    <a:close/>
                    <a:moveTo>
                      <a:pt x="784" y="646"/>
                    </a:moveTo>
                    <a:cubicBezTo>
                      <a:pt x="777" y="646"/>
                      <a:pt x="771" y="651"/>
                      <a:pt x="771" y="658"/>
                    </a:cubicBezTo>
                    <a:cubicBezTo>
                      <a:pt x="771" y="665"/>
                      <a:pt x="777" y="670"/>
                      <a:pt x="784" y="670"/>
                    </a:cubicBezTo>
                    <a:cubicBezTo>
                      <a:pt x="790" y="670"/>
                      <a:pt x="796" y="665"/>
                      <a:pt x="796" y="658"/>
                    </a:cubicBezTo>
                    <a:cubicBezTo>
                      <a:pt x="796" y="651"/>
                      <a:pt x="790" y="646"/>
                      <a:pt x="784" y="646"/>
                    </a:cubicBezTo>
                    <a:close/>
                    <a:moveTo>
                      <a:pt x="784" y="584"/>
                    </a:moveTo>
                    <a:cubicBezTo>
                      <a:pt x="777" y="584"/>
                      <a:pt x="771" y="590"/>
                      <a:pt x="771" y="596"/>
                    </a:cubicBezTo>
                    <a:cubicBezTo>
                      <a:pt x="771" y="603"/>
                      <a:pt x="777" y="608"/>
                      <a:pt x="784" y="608"/>
                    </a:cubicBezTo>
                    <a:cubicBezTo>
                      <a:pt x="790" y="608"/>
                      <a:pt x="796" y="603"/>
                      <a:pt x="796" y="596"/>
                    </a:cubicBezTo>
                    <a:cubicBezTo>
                      <a:pt x="796" y="590"/>
                      <a:pt x="790" y="584"/>
                      <a:pt x="784" y="584"/>
                    </a:cubicBezTo>
                    <a:close/>
                    <a:moveTo>
                      <a:pt x="784" y="492"/>
                    </a:moveTo>
                    <a:cubicBezTo>
                      <a:pt x="777" y="492"/>
                      <a:pt x="771" y="497"/>
                      <a:pt x="771" y="504"/>
                    </a:cubicBezTo>
                    <a:cubicBezTo>
                      <a:pt x="771" y="511"/>
                      <a:pt x="777" y="516"/>
                      <a:pt x="784" y="516"/>
                    </a:cubicBezTo>
                    <a:cubicBezTo>
                      <a:pt x="790" y="516"/>
                      <a:pt x="796" y="511"/>
                      <a:pt x="796" y="504"/>
                    </a:cubicBezTo>
                    <a:cubicBezTo>
                      <a:pt x="796" y="497"/>
                      <a:pt x="790" y="492"/>
                      <a:pt x="784" y="492"/>
                    </a:cubicBezTo>
                    <a:close/>
                    <a:moveTo>
                      <a:pt x="784" y="615"/>
                    </a:moveTo>
                    <a:cubicBezTo>
                      <a:pt x="777" y="615"/>
                      <a:pt x="771" y="620"/>
                      <a:pt x="771" y="627"/>
                    </a:cubicBezTo>
                    <a:cubicBezTo>
                      <a:pt x="771" y="634"/>
                      <a:pt x="777" y="639"/>
                      <a:pt x="784" y="639"/>
                    </a:cubicBezTo>
                    <a:cubicBezTo>
                      <a:pt x="790" y="639"/>
                      <a:pt x="796" y="634"/>
                      <a:pt x="796" y="627"/>
                    </a:cubicBezTo>
                    <a:cubicBezTo>
                      <a:pt x="796" y="620"/>
                      <a:pt x="790" y="615"/>
                      <a:pt x="784" y="615"/>
                    </a:cubicBezTo>
                    <a:close/>
                    <a:moveTo>
                      <a:pt x="784" y="830"/>
                    </a:moveTo>
                    <a:cubicBezTo>
                      <a:pt x="777" y="830"/>
                      <a:pt x="771" y="836"/>
                      <a:pt x="771" y="842"/>
                    </a:cubicBezTo>
                    <a:cubicBezTo>
                      <a:pt x="771" y="849"/>
                      <a:pt x="777" y="854"/>
                      <a:pt x="784" y="854"/>
                    </a:cubicBezTo>
                    <a:cubicBezTo>
                      <a:pt x="790" y="854"/>
                      <a:pt x="796" y="849"/>
                      <a:pt x="796" y="842"/>
                    </a:cubicBezTo>
                    <a:cubicBezTo>
                      <a:pt x="796" y="836"/>
                      <a:pt x="790" y="830"/>
                      <a:pt x="784" y="830"/>
                    </a:cubicBezTo>
                    <a:close/>
                    <a:moveTo>
                      <a:pt x="819" y="984"/>
                    </a:moveTo>
                    <a:cubicBezTo>
                      <a:pt x="812" y="984"/>
                      <a:pt x="806" y="989"/>
                      <a:pt x="806" y="996"/>
                    </a:cubicBezTo>
                    <a:cubicBezTo>
                      <a:pt x="806" y="1003"/>
                      <a:pt x="812" y="1008"/>
                      <a:pt x="819" y="1008"/>
                    </a:cubicBezTo>
                    <a:cubicBezTo>
                      <a:pt x="825" y="1008"/>
                      <a:pt x="831" y="1003"/>
                      <a:pt x="831" y="996"/>
                    </a:cubicBezTo>
                    <a:cubicBezTo>
                      <a:pt x="831" y="989"/>
                      <a:pt x="825" y="984"/>
                      <a:pt x="819" y="984"/>
                    </a:cubicBezTo>
                    <a:close/>
                    <a:moveTo>
                      <a:pt x="819" y="492"/>
                    </a:moveTo>
                    <a:cubicBezTo>
                      <a:pt x="812" y="492"/>
                      <a:pt x="806" y="497"/>
                      <a:pt x="806" y="504"/>
                    </a:cubicBezTo>
                    <a:cubicBezTo>
                      <a:pt x="806" y="511"/>
                      <a:pt x="812" y="516"/>
                      <a:pt x="819" y="516"/>
                    </a:cubicBezTo>
                    <a:cubicBezTo>
                      <a:pt x="825" y="516"/>
                      <a:pt x="831" y="511"/>
                      <a:pt x="831" y="504"/>
                    </a:cubicBezTo>
                    <a:cubicBezTo>
                      <a:pt x="831" y="497"/>
                      <a:pt x="825" y="492"/>
                      <a:pt x="819" y="492"/>
                    </a:cubicBezTo>
                    <a:close/>
                    <a:moveTo>
                      <a:pt x="854" y="953"/>
                    </a:moveTo>
                    <a:cubicBezTo>
                      <a:pt x="847" y="953"/>
                      <a:pt x="841" y="959"/>
                      <a:pt x="841" y="965"/>
                    </a:cubicBezTo>
                    <a:cubicBezTo>
                      <a:pt x="841" y="972"/>
                      <a:pt x="847" y="977"/>
                      <a:pt x="854" y="977"/>
                    </a:cubicBezTo>
                    <a:cubicBezTo>
                      <a:pt x="860" y="977"/>
                      <a:pt x="866" y="972"/>
                      <a:pt x="866" y="965"/>
                    </a:cubicBezTo>
                    <a:cubicBezTo>
                      <a:pt x="866" y="959"/>
                      <a:pt x="860" y="953"/>
                      <a:pt x="854" y="953"/>
                    </a:cubicBezTo>
                    <a:close/>
                    <a:moveTo>
                      <a:pt x="819" y="523"/>
                    </a:moveTo>
                    <a:cubicBezTo>
                      <a:pt x="812" y="523"/>
                      <a:pt x="806" y="528"/>
                      <a:pt x="806" y="535"/>
                    </a:cubicBezTo>
                    <a:cubicBezTo>
                      <a:pt x="806" y="542"/>
                      <a:pt x="812" y="547"/>
                      <a:pt x="819" y="547"/>
                    </a:cubicBezTo>
                    <a:cubicBezTo>
                      <a:pt x="825" y="547"/>
                      <a:pt x="831" y="542"/>
                      <a:pt x="831" y="535"/>
                    </a:cubicBezTo>
                    <a:cubicBezTo>
                      <a:pt x="831" y="528"/>
                      <a:pt x="825" y="523"/>
                      <a:pt x="819" y="523"/>
                    </a:cubicBezTo>
                    <a:close/>
                    <a:moveTo>
                      <a:pt x="819" y="922"/>
                    </a:moveTo>
                    <a:cubicBezTo>
                      <a:pt x="812" y="922"/>
                      <a:pt x="806" y="928"/>
                      <a:pt x="806" y="934"/>
                    </a:cubicBezTo>
                    <a:cubicBezTo>
                      <a:pt x="806" y="941"/>
                      <a:pt x="812" y="947"/>
                      <a:pt x="819" y="947"/>
                    </a:cubicBezTo>
                    <a:cubicBezTo>
                      <a:pt x="825" y="947"/>
                      <a:pt x="831" y="941"/>
                      <a:pt x="831" y="934"/>
                    </a:cubicBezTo>
                    <a:cubicBezTo>
                      <a:pt x="831" y="928"/>
                      <a:pt x="825" y="922"/>
                      <a:pt x="819" y="922"/>
                    </a:cubicBezTo>
                    <a:close/>
                    <a:moveTo>
                      <a:pt x="819" y="892"/>
                    </a:moveTo>
                    <a:cubicBezTo>
                      <a:pt x="812" y="892"/>
                      <a:pt x="806" y="897"/>
                      <a:pt x="806" y="904"/>
                    </a:cubicBezTo>
                    <a:cubicBezTo>
                      <a:pt x="806" y="910"/>
                      <a:pt x="812" y="916"/>
                      <a:pt x="819" y="916"/>
                    </a:cubicBezTo>
                    <a:cubicBezTo>
                      <a:pt x="825" y="916"/>
                      <a:pt x="831" y="910"/>
                      <a:pt x="831" y="904"/>
                    </a:cubicBezTo>
                    <a:cubicBezTo>
                      <a:pt x="831" y="897"/>
                      <a:pt x="825" y="892"/>
                      <a:pt x="819" y="892"/>
                    </a:cubicBezTo>
                    <a:close/>
                    <a:moveTo>
                      <a:pt x="819" y="953"/>
                    </a:moveTo>
                    <a:cubicBezTo>
                      <a:pt x="812" y="953"/>
                      <a:pt x="806" y="959"/>
                      <a:pt x="806" y="965"/>
                    </a:cubicBezTo>
                    <a:cubicBezTo>
                      <a:pt x="806" y="972"/>
                      <a:pt x="812" y="977"/>
                      <a:pt x="819" y="977"/>
                    </a:cubicBezTo>
                    <a:cubicBezTo>
                      <a:pt x="825" y="977"/>
                      <a:pt x="831" y="972"/>
                      <a:pt x="831" y="965"/>
                    </a:cubicBezTo>
                    <a:cubicBezTo>
                      <a:pt x="831" y="959"/>
                      <a:pt x="825" y="953"/>
                      <a:pt x="819" y="953"/>
                    </a:cubicBezTo>
                    <a:close/>
                    <a:moveTo>
                      <a:pt x="819" y="861"/>
                    </a:moveTo>
                    <a:cubicBezTo>
                      <a:pt x="812" y="861"/>
                      <a:pt x="806" y="866"/>
                      <a:pt x="806" y="873"/>
                    </a:cubicBezTo>
                    <a:cubicBezTo>
                      <a:pt x="806" y="880"/>
                      <a:pt x="812" y="885"/>
                      <a:pt x="819" y="885"/>
                    </a:cubicBezTo>
                    <a:cubicBezTo>
                      <a:pt x="825" y="885"/>
                      <a:pt x="831" y="880"/>
                      <a:pt x="831" y="873"/>
                    </a:cubicBezTo>
                    <a:cubicBezTo>
                      <a:pt x="831" y="866"/>
                      <a:pt x="825" y="861"/>
                      <a:pt x="819" y="861"/>
                    </a:cubicBezTo>
                    <a:close/>
                    <a:moveTo>
                      <a:pt x="819" y="738"/>
                    </a:moveTo>
                    <a:cubicBezTo>
                      <a:pt x="812" y="738"/>
                      <a:pt x="806" y="743"/>
                      <a:pt x="806" y="750"/>
                    </a:cubicBezTo>
                    <a:cubicBezTo>
                      <a:pt x="806" y="757"/>
                      <a:pt x="812" y="762"/>
                      <a:pt x="819" y="762"/>
                    </a:cubicBezTo>
                    <a:cubicBezTo>
                      <a:pt x="825" y="762"/>
                      <a:pt x="831" y="757"/>
                      <a:pt x="831" y="750"/>
                    </a:cubicBezTo>
                    <a:cubicBezTo>
                      <a:pt x="831" y="743"/>
                      <a:pt x="825" y="738"/>
                      <a:pt x="819" y="738"/>
                    </a:cubicBezTo>
                    <a:close/>
                    <a:moveTo>
                      <a:pt x="819" y="707"/>
                    </a:moveTo>
                    <a:cubicBezTo>
                      <a:pt x="812" y="707"/>
                      <a:pt x="806" y="713"/>
                      <a:pt x="806" y="719"/>
                    </a:cubicBezTo>
                    <a:cubicBezTo>
                      <a:pt x="806" y="726"/>
                      <a:pt x="812" y="731"/>
                      <a:pt x="819" y="731"/>
                    </a:cubicBezTo>
                    <a:cubicBezTo>
                      <a:pt x="825" y="731"/>
                      <a:pt x="831" y="726"/>
                      <a:pt x="831" y="719"/>
                    </a:cubicBezTo>
                    <a:cubicBezTo>
                      <a:pt x="831" y="713"/>
                      <a:pt x="825" y="707"/>
                      <a:pt x="819" y="707"/>
                    </a:cubicBezTo>
                    <a:close/>
                    <a:moveTo>
                      <a:pt x="819" y="769"/>
                    </a:moveTo>
                    <a:cubicBezTo>
                      <a:pt x="812" y="769"/>
                      <a:pt x="806" y="774"/>
                      <a:pt x="806" y="781"/>
                    </a:cubicBezTo>
                    <a:cubicBezTo>
                      <a:pt x="806" y="787"/>
                      <a:pt x="812" y="793"/>
                      <a:pt x="819" y="793"/>
                    </a:cubicBezTo>
                    <a:cubicBezTo>
                      <a:pt x="825" y="793"/>
                      <a:pt x="831" y="787"/>
                      <a:pt x="831" y="781"/>
                    </a:cubicBezTo>
                    <a:cubicBezTo>
                      <a:pt x="831" y="774"/>
                      <a:pt x="825" y="769"/>
                      <a:pt x="819" y="769"/>
                    </a:cubicBezTo>
                    <a:close/>
                    <a:moveTo>
                      <a:pt x="819" y="799"/>
                    </a:moveTo>
                    <a:cubicBezTo>
                      <a:pt x="812" y="799"/>
                      <a:pt x="806" y="805"/>
                      <a:pt x="806" y="812"/>
                    </a:cubicBezTo>
                    <a:cubicBezTo>
                      <a:pt x="806" y="818"/>
                      <a:pt x="812" y="824"/>
                      <a:pt x="819" y="824"/>
                    </a:cubicBezTo>
                    <a:cubicBezTo>
                      <a:pt x="825" y="824"/>
                      <a:pt x="831" y="818"/>
                      <a:pt x="831" y="812"/>
                    </a:cubicBezTo>
                    <a:cubicBezTo>
                      <a:pt x="831" y="805"/>
                      <a:pt x="825" y="799"/>
                      <a:pt x="819" y="799"/>
                    </a:cubicBezTo>
                    <a:close/>
                    <a:moveTo>
                      <a:pt x="819" y="830"/>
                    </a:moveTo>
                    <a:cubicBezTo>
                      <a:pt x="812" y="830"/>
                      <a:pt x="806" y="836"/>
                      <a:pt x="806" y="842"/>
                    </a:cubicBezTo>
                    <a:cubicBezTo>
                      <a:pt x="806" y="849"/>
                      <a:pt x="812" y="854"/>
                      <a:pt x="819" y="854"/>
                    </a:cubicBezTo>
                    <a:cubicBezTo>
                      <a:pt x="825" y="854"/>
                      <a:pt x="831" y="849"/>
                      <a:pt x="831" y="842"/>
                    </a:cubicBezTo>
                    <a:cubicBezTo>
                      <a:pt x="831" y="836"/>
                      <a:pt x="825" y="830"/>
                      <a:pt x="819" y="830"/>
                    </a:cubicBezTo>
                    <a:close/>
                    <a:moveTo>
                      <a:pt x="749" y="892"/>
                    </a:moveTo>
                    <a:cubicBezTo>
                      <a:pt x="742" y="892"/>
                      <a:pt x="736" y="897"/>
                      <a:pt x="736" y="904"/>
                    </a:cubicBezTo>
                    <a:cubicBezTo>
                      <a:pt x="736" y="910"/>
                      <a:pt x="742" y="916"/>
                      <a:pt x="749" y="916"/>
                    </a:cubicBezTo>
                    <a:cubicBezTo>
                      <a:pt x="755" y="916"/>
                      <a:pt x="761" y="910"/>
                      <a:pt x="761" y="904"/>
                    </a:cubicBezTo>
                    <a:cubicBezTo>
                      <a:pt x="761" y="897"/>
                      <a:pt x="755" y="892"/>
                      <a:pt x="749" y="892"/>
                    </a:cubicBezTo>
                    <a:close/>
                    <a:moveTo>
                      <a:pt x="749" y="861"/>
                    </a:moveTo>
                    <a:cubicBezTo>
                      <a:pt x="742" y="861"/>
                      <a:pt x="736" y="866"/>
                      <a:pt x="736" y="873"/>
                    </a:cubicBezTo>
                    <a:cubicBezTo>
                      <a:pt x="736" y="880"/>
                      <a:pt x="742" y="885"/>
                      <a:pt x="749" y="885"/>
                    </a:cubicBezTo>
                    <a:cubicBezTo>
                      <a:pt x="755" y="885"/>
                      <a:pt x="761" y="880"/>
                      <a:pt x="761" y="873"/>
                    </a:cubicBezTo>
                    <a:cubicBezTo>
                      <a:pt x="761" y="866"/>
                      <a:pt x="755" y="861"/>
                      <a:pt x="749" y="861"/>
                    </a:cubicBezTo>
                    <a:close/>
                    <a:moveTo>
                      <a:pt x="749" y="830"/>
                    </a:moveTo>
                    <a:cubicBezTo>
                      <a:pt x="742" y="830"/>
                      <a:pt x="736" y="836"/>
                      <a:pt x="736" y="842"/>
                    </a:cubicBezTo>
                    <a:cubicBezTo>
                      <a:pt x="736" y="849"/>
                      <a:pt x="742" y="854"/>
                      <a:pt x="749" y="854"/>
                    </a:cubicBezTo>
                    <a:cubicBezTo>
                      <a:pt x="755" y="854"/>
                      <a:pt x="761" y="849"/>
                      <a:pt x="761" y="842"/>
                    </a:cubicBezTo>
                    <a:cubicBezTo>
                      <a:pt x="761" y="836"/>
                      <a:pt x="755" y="830"/>
                      <a:pt x="749" y="830"/>
                    </a:cubicBezTo>
                    <a:close/>
                    <a:moveTo>
                      <a:pt x="749" y="953"/>
                    </a:moveTo>
                    <a:cubicBezTo>
                      <a:pt x="742" y="953"/>
                      <a:pt x="736" y="959"/>
                      <a:pt x="736" y="965"/>
                    </a:cubicBezTo>
                    <a:cubicBezTo>
                      <a:pt x="736" y="972"/>
                      <a:pt x="742" y="977"/>
                      <a:pt x="749" y="977"/>
                    </a:cubicBezTo>
                    <a:cubicBezTo>
                      <a:pt x="755" y="977"/>
                      <a:pt x="761" y="972"/>
                      <a:pt x="761" y="965"/>
                    </a:cubicBezTo>
                    <a:cubicBezTo>
                      <a:pt x="761" y="959"/>
                      <a:pt x="755" y="953"/>
                      <a:pt x="749" y="953"/>
                    </a:cubicBezTo>
                    <a:close/>
                    <a:moveTo>
                      <a:pt x="749" y="922"/>
                    </a:moveTo>
                    <a:cubicBezTo>
                      <a:pt x="742" y="922"/>
                      <a:pt x="736" y="928"/>
                      <a:pt x="736" y="934"/>
                    </a:cubicBezTo>
                    <a:cubicBezTo>
                      <a:pt x="736" y="941"/>
                      <a:pt x="742" y="947"/>
                      <a:pt x="749" y="947"/>
                    </a:cubicBezTo>
                    <a:cubicBezTo>
                      <a:pt x="755" y="947"/>
                      <a:pt x="761" y="941"/>
                      <a:pt x="761" y="934"/>
                    </a:cubicBezTo>
                    <a:cubicBezTo>
                      <a:pt x="761" y="928"/>
                      <a:pt x="755" y="922"/>
                      <a:pt x="749" y="922"/>
                    </a:cubicBezTo>
                    <a:close/>
                    <a:moveTo>
                      <a:pt x="749" y="707"/>
                    </a:moveTo>
                    <a:cubicBezTo>
                      <a:pt x="742" y="707"/>
                      <a:pt x="736" y="713"/>
                      <a:pt x="736" y="719"/>
                    </a:cubicBezTo>
                    <a:cubicBezTo>
                      <a:pt x="736" y="726"/>
                      <a:pt x="742" y="731"/>
                      <a:pt x="749" y="731"/>
                    </a:cubicBezTo>
                    <a:cubicBezTo>
                      <a:pt x="755" y="731"/>
                      <a:pt x="761" y="726"/>
                      <a:pt x="761" y="719"/>
                    </a:cubicBezTo>
                    <a:cubicBezTo>
                      <a:pt x="761" y="713"/>
                      <a:pt x="755" y="707"/>
                      <a:pt x="749" y="707"/>
                    </a:cubicBezTo>
                    <a:close/>
                    <a:moveTo>
                      <a:pt x="749" y="738"/>
                    </a:moveTo>
                    <a:cubicBezTo>
                      <a:pt x="742" y="738"/>
                      <a:pt x="736" y="743"/>
                      <a:pt x="736" y="750"/>
                    </a:cubicBezTo>
                    <a:cubicBezTo>
                      <a:pt x="736" y="757"/>
                      <a:pt x="742" y="762"/>
                      <a:pt x="749" y="762"/>
                    </a:cubicBezTo>
                    <a:cubicBezTo>
                      <a:pt x="755" y="762"/>
                      <a:pt x="761" y="757"/>
                      <a:pt x="761" y="750"/>
                    </a:cubicBezTo>
                    <a:cubicBezTo>
                      <a:pt x="761" y="743"/>
                      <a:pt x="755" y="738"/>
                      <a:pt x="749" y="738"/>
                    </a:cubicBezTo>
                    <a:close/>
                    <a:moveTo>
                      <a:pt x="749" y="769"/>
                    </a:moveTo>
                    <a:cubicBezTo>
                      <a:pt x="742" y="769"/>
                      <a:pt x="736" y="774"/>
                      <a:pt x="736" y="781"/>
                    </a:cubicBezTo>
                    <a:cubicBezTo>
                      <a:pt x="736" y="787"/>
                      <a:pt x="742" y="793"/>
                      <a:pt x="749" y="793"/>
                    </a:cubicBezTo>
                    <a:cubicBezTo>
                      <a:pt x="755" y="793"/>
                      <a:pt x="761" y="787"/>
                      <a:pt x="761" y="781"/>
                    </a:cubicBezTo>
                    <a:cubicBezTo>
                      <a:pt x="761" y="774"/>
                      <a:pt x="755" y="769"/>
                      <a:pt x="749" y="769"/>
                    </a:cubicBezTo>
                    <a:close/>
                    <a:moveTo>
                      <a:pt x="749" y="799"/>
                    </a:moveTo>
                    <a:cubicBezTo>
                      <a:pt x="742" y="799"/>
                      <a:pt x="736" y="805"/>
                      <a:pt x="736" y="812"/>
                    </a:cubicBezTo>
                    <a:cubicBezTo>
                      <a:pt x="736" y="818"/>
                      <a:pt x="742" y="824"/>
                      <a:pt x="749" y="824"/>
                    </a:cubicBezTo>
                    <a:cubicBezTo>
                      <a:pt x="755" y="824"/>
                      <a:pt x="761" y="818"/>
                      <a:pt x="761" y="812"/>
                    </a:cubicBezTo>
                    <a:cubicBezTo>
                      <a:pt x="761" y="805"/>
                      <a:pt x="755" y="799"/>
                      <a:pt x="749" y="799"/>
                    </a:cubicBezTo>
                    <a:close/>
                    <a:moveTo>
                      <a:pt x="749" y="676"/>
                    </a:moveTo>
                    <a:cubicBezTo>
                      <a:pt x="742" y="676"/>
                      <a:pt x="736" y="682"/>
                      <a:pt x="736" y="689"/>
                    </a:cubicBezTo>
                    <a:cubicBezTo>
                      <a:pt x="736" y="695"/>
                      <a:pt x="742" y="701"/>
                      <a:pt x="749" y="701"/>
                    </a:cubicBezTo>
                    <a:cubicBezTo>
                      <a:pt x="755" y="701"/>
                      <a:pt x="761" y="695"/>
                      <a:pt x="761" y="689"/>
                    </a:cubicBezTo>
                    <a:cubicBezTo>
                      <a:pt x="761" y="682"/>
                      <a:pt x="755" y="676"/>
                      <a:pt x="749" y="676"/>
                    </a:cubicBezTo>
                    <a:close/>
                    <a:moveTo>
                      <a:pt x="784" y="892"/>
                    </a:moveTo>
                    <a:cubicBezTo>
                      <a:pt x="777" y="892"/>
                      <a:pt x="771" y="897"/>
                      <a:pt x="771" y="904"/>
                    </a:cubicBezTo>
                    <a:cubicBezTo>
                      <a:pt x="771" y="910"/>
                      <a:pt x="777" y="916"/>
                      <a:pt x="784" y="916"/>
                    </a:cubicBezTo>
                    <a:cubicBezTo>
                      <a:pt x="790" y="916"/>
                      <a:pt x="796" y="910"/>
                      <a:pt x="796" y="904"/>
                    </a:cubicBezTo>
                    <a:cubicBezTo>
                      <a:pt x="796" y="897"/>
                      <a:pt x="790" y="892"/>
                      <a:pt x="784" y="892"/>
                    </a:cubicBezTo>
                    <a:close/>
                    <a:moveTo>
                      <a:pt x="784" y="984"/>
                    </a:moveTo>
                    <a:cubicBezTo>
                      <a:pt x="777" y="984"/>
                      <a:pt x="771" y="989"/>
                      <a:pt x="771" y="996"/>
                    </a:cubicBezTo>
                    <a:cubicBezTo>
                      <a:pt x="771" y="1003"/>
                      <a:pt x="777" y="1008"/>
                      <a:pt x="784" y="1008"/>
                    </a:cubicBezTo>
                    <a:cubicBezTo>
                      <a:pt x="790" y="1008"/>
                      <a:pt x="796" y="1003"/>
                      <a:pt x="796" y="996"/>
                    </a:cubicBezTo>
                    <a:cubicBezTo>
                      <a:pt x="796" y="989"/>
                      <a:pt x="790" y="984"/>
                      <a:pt x="784" y="984"/>
                    </a:cubicBezTo>
                    <a:close/>
                    <a:moveTo>
                      <a:pt x="784" y="861"/>
                    </a:moveTo>
                    <a:cubicBezTo>
                      <a:pt x="777" y="861"/>
                      <a:pt x="771" y="866"/>
                      <a:pt x="771" y="873"/>
                    </a:cubicBezTo>
                    <a:cubicBezTo>
                      <a:pt x="771" y="880"/>
                      <a:pt x="777" y="885"/>
                      <a:pt x="784" y="885"/>
                    </a:cubicBezTo>
                    <a:cubicBezTo>
                      <a:pt x="790" y="885"/>
                      <a:pt x="796" y="880"/>
                      <a:pt x="796" y="873"/>
                    </a:cubicBezTo>
                    <a:cubicBezTo>
                      <a:pt x="796" y="866"/>
                      <a:pt x="790" y="861"/>
                      <a:pt x="784" y="861"/>
                    </a:cubicBezTo>
                    <a:close/>
                    <a:moveTo>
                      <a:pt x="784" y="922"/>
                    </a:moveTo>
                    <a:cubicBezTo>
                      <a:pt x="777" y="922"/>
                      <a:pt x="771" y="928"/>
                      <a:pt x="771" y="934"/>
                    </a:cubicBezTo>
                    <a:cubicBezTo>
                      <a:pt x="771" y="941"/>
                      <a:pt x="777" y="947"/>
                      <a:pt x="784" y="947"/>
                    </a:cubicBezTo>
                    <a:cubicBezTo>
                      <a:pt x="790" y="947"/>
                      <a:pt x="796" y="941"/>
                      <a:pt x="796" y="934"/>
                    </a:cubicBezTo>
                    <a:cubicBezTo>
                      <a:pt x="796" y="928"/>
                      <a:pt x="790" y="922"/>
                      <a:pt x="784" y="922"/>
                    </a:cubicBezTo>
                    <a:close/>
                    <a:moveTo>
                      <a:pt x="784" y="953"/>
                    </a:moveTo>
                    <a:cubicBezTo>
                      <a:pt x="777" y="953"/>
                      <a:pt x="771" y="959"/>
                      <a:pt x="771" y="965"/>
                    </a:cubicBezTo>
                    <a:cubicBezTo>
                      <a:pt x="771" y="972"/>
                      <a:pt x="777" y="977"/>
                      <a:pt x="784" y="977"/>
                    </a:cubicBezTo>
                    <a:cubicBezTo>
                      <a:pt x="790" y="977"/>
                      <a:pt x="796" y="972"/>
                      <a:pt x="796" y="965"/>
                    </a:cubicBezTo>
                    <a:cubicBezTo>
                      <a:pt x="796" y="959"/>
                      <a:pt x="790" y="953"/>
                      <a:pt x="784" y="953"/>
                    </a:cubicBezTo>
                    <a:close/>
                    <a:moveTo>
                      <a:pt x="819" y="1045"/>
                    </a:moveTo>
                    <a:cubicBezTo>
                      <a:pt x="812" y="1045"/>
                      <a:pt x="806" y="1051"/>
                      <a:pt x="806" y="1057"/>
                    </a:cubicBezTo>
                    <a:cubicBezTo>
                      <a:pt x="806" y="1064"/>
                      <a:pt x="812" y="1070"/>
                      <a:pt x="819" y="1070"/>
                    </a:cubicBezTo>
                    <a:cubicBezTo>
                      <a:pt x="825" y="1070"/>
                      <a:pt x="831" y="1064"/>
                      <a:pt x="831" y="1057"/>
                    </a:cubicBezTo>
                    <a:cubicBezTo>
                      <a:pt x="831" y="1051"/>
                      <a:pt x="825" y="1045"/>
                      <a:pt x="819" y="1045"/>
                    </a:cubicBezTo>
                    <a:close/>
                    <a:moveTo>
                      <a:pt x="749" y="492"/>
                    </a:moveTo>
                    <a:cubicBezTo>
                      <a:pt x="742" y="492"/>
                      <a:pt x="736" y="497"/>
                      <a:pt x="736" y="504"/>
                    </a:cubicBezTo>
                    <a:cubicBezTo>
                      <a:pt x="736" y="511"/>
                      <a:pt x="742" y="516"/>
                      <a:pt x="749" y="516"/>
                    </a:cubicBezTo>
                    <a:cubicBezTo>
                      <a:pt x="755" y="516"/>
                      <a:pt x="761" y="511"/>
                      <a:pt x="761" y="504"/>
                    </a:cubicBezTo>
                    <a:cubicBezTo>
                      <a:pt x="761" y="497"/>
                      <a:pt x="755" y="492"/>
                      <a:pt x="749" y="492"/>
                    </a:cubicBezTo>
                    <a:close/>
                    <a:moveTo>
                      <a:pt x="749" y="461"/>
                    </a:moveTo>
                    <a:cubicBezTo>
                      <a:pt x="742" y="461"/>
                      <a:pt x="736" y="467"/>
                      <a:pt x="736" y="473"/>
                    </a:cubicBezTo>
                    <a:cubicBezTo>
                      <a:pt x="736" y="480"/>
                      <a:pt x="742" y="486"/>
                      <a:pt x="749" y="486"/>
                    </a:cubicBezTo>
                    <a:cubicBezTo>
                      <a:pt x="755" y="486"/>
                      <a:pt x="761" y="480"/>
                      <a:pt x="761" y="473"/>
                    </a:cubicBezTo>
                    <a:cubicBezTo>
                      <a:pt x="761" y="467"/>
                      <a:pt x="755" y="461"/>
                      <a:pt x="749" y="461"/>
                    </a:cubicBezTo>
                    <a:close/>
                    <a:moveTo>
                      <a:pt x="749" y="646"/>
                    </a:moveTo>
                    <a:cubicBezTo>
                      <a:pt x="742" y="646"/>
                      <a:pt x="736" y="651"/>
                      <a:pt x="736" y="658"/>
                    </a:cubicBezTo>
                    <a:cubicBezTo>
                      <a:pt x="736" y="665"/>
                      <a:pt x="742" y="670"/>
                      <a:pt x="749" y="670"/>
                    </a:cubicBezTo>
                    <a:cubicBezTo>
                      <a:pt x="755" y="670"/>
                      <a:pt x="761" y="665"/>
                      <a:pt x="761" y="658"/>
                    </a:cubicBezTo>
                    <a:cubicBezTo>
                      <a:pt x="761" y="651"/>
                      <a:pt x="755" y="646"/>
                      <a:pt x="749" y="646"/>
                    </a:cubicBezTo>
                    <a:close/>
                    <a:moveTo>
                      <a:pt x="749" y="523"/>
                    </a:moveTo>
                    <a:cubicBezTo>
                      <a:pt x="742" y="523"/>
                      <a:pt x="736" y="528"/>
                      <a:pt x="736" y="535"/>
                    </a:cubicBezTo>
                    <a:cubicBezTo>
                      <a:pt x="736" y="542"/>
                      <a:pt x="742" y="547"/>
                      <a:pt x="749" y="547"/>
                    </a:cubicBezTo>
                    <a:cubicBezTo>
                      <a:pt x="755" y="547"/>
                      <a:pt x="761" y="542"/>
                      <a:pt x="761" y="535"/>
                    </a:cubicBezTo>
                    <a:cubicBezTo>
                      <a:pt x="761" y="528"/>
                      <a:pt x="755" y="523"/>
                      <a:pt x="749" y="523"/>
                    </a:cubicBezTo>
                    <a:close/>
                    <a:moveTo>
                      <a:pt x="854" y="922"/>
                    </a:moveTo>
                    <a:cubicBezTo>
                      <a:pt x="847" y="922"/>
                      <a:pt x="841" y="928"/>
                      <a:pt x="841" y="934"/>
                    </a:cubicBezTo>
                    <a:cubicBezTo>
                      <a:pt x="841" y="941"/>
                      <a:pt x="847" y="947"/>
                      <a:pt x="854" y="947"/>
                    </a:cubicBezTo>
                    <a:cubicBezTo>
                      <a:pt x="860" y="947"/>
                      <a:pt x="866" y="941"/>
                      <a:pt x="866" y="934"/>
                    </a:cubicBezTo>
                    <a:cubicBezTo>
                      <a:pt x="866" y="928"/>
                      <a:pt x="860" y="922"/>
                      <a:pt x="854" y="922"/>
                    </a:cubicBezTo>
                    <a:close/>
                    <a:moveTo>
                      <a:pt x="1099" y="1076"/>
                    </a:moveTo>
                    <a:cubicBezTo>
                      <a:pt x="1092" y="1076"/>
                      <a:pt x="1087" y="1081"/>
                      <a:pt x="1087" y="1088"/>
                    </a:cubicBezTo>
                    <a:cubicBezTo>
                      <a:pt x="1087" y="1095"/>
                      <a:pt x="1092" y="1100"/>
                      <a:pt x="1099" y="1100"/>
                    </a:cubicBezTo>
                    <a:cubicBezTo>
                      <a:pt x="1106" y="1100"/>
                      <a:pt x="1111" y="1095"/>
                      <a:pt x="1111" y="1088"/>
                    </a:cubicBezTo>
                    <a:cubicBezTo>
                      <a:pt x="1111" y="1081"/>
                      <a:pt x="1106" y="1076"/>
                      <a:pt x="1099" y="1076"/>
                    </a:cubicBezTo>
                    <a:close/>
                    <a:moveTo>
                      <a:pt x="1099" y="1107"/>
                    </a:moveTo>
                    <a:cubicBezTo>
                      <a:pt x="1092" y="1107"/>
                      <a:pt x="1087" y="1112"/>
                      <a:pt x="1087" y="1119"/>
                    </a:cubicBezTo>
                    <a:cubicBezTo>
                      <a:pt x="1087" y="1126"/>
                      <a:pt x="1092" y="1131"/>
                      <a:pt x="1099" y="1131"/>
                    </a:cubicBezTo>
                    <a:cubicBezTo>
                      <a:pt x="1106" y="1131"/>
                      <a:pt x="1111" y="1126"/>
                      <a:pt x="1111" y="1119"/>
                    </a:cubicBezTo>
                    <a:cubicBezTo>
                      <a:pt x="1111" y="1112"/>
                      <a:pt x="1106" y="1107"/>
                      <a:pt x="1099" y="1107"/>
                    </a:cubicBezTo>
                    <a:close/>
                    <a:moveTo>
                      <a:pt x="1134" y="1076"/>
                    </a:moveTo>
                    <a:cubicBezTo>
                      <a:pt x="1127" y="1076"/>
                      <a:pt x="1122" y="1081"/>
                      <a:pt x="1122" y="1088"/>
                    </a:cubicBezTo>
                    <a:cubicBezTo>
                      <a:pt x="1122" y="1095"/>
                      <a:pt x="1127" y="1100"/>
                      <a:pt x="1134" y="1100"/>
                    </a:cubicBezTo>
                    <a:cubicBezTo>
                      <a:pt x="1141" y="1100"/>
                      <a:pt x="1146" y="1095"/>
                      <a:pt x="1146" y="1088"/>
                    </a:cubicBezTo>
                    <a:cubicBezTo>
                      <a:pt x="1146" y="1081"/>
                      <a:pt x="1141" y="1076"/>
                      <a:pt x="1134" y="1076"/>
                    </a:cubicBezTo>
                    <a:close/>
                    <a:moveTo>
                      <a:pt x="1204" y="984"/>
                    </a:moveTo>
                    <a:cubicBezTo>
                      <a:pt x="1197" y="984"/>
                      <a:pt x="1192" y="989"/>
                      <a:pt x="1192" y="996"/>
                    </a:cubicBezTo>
                    <a:cubicBezTo>
                      <a:pt x="1192" y="1003"/>
                      <a:pt x="1197" y="1008"/>
                      <a:pt x="1204" y="1008"/>
                    </a:cubicBezTo>
                    <a:cubicBezTo>
                      <a:pt x="1211" y="1008"/>
                      <a:pt x="1216" y="1003"/>
                      <a:pt x="1216" y="996"/>
                    </a:cubicBezTo>
                    <a:cubicBezTo>
                      <a:pt x="1216" y="989"/>
                      <a:pt x="1211" y="984"/>
                      <a:pt x="1204" y="984"/>
                    </a:cubicBezTo>
                    <a:close/>
                    <a:moveTo>
                      <a:pt x="1134" y="1045"/>
                    </a:moveTo>
                    <a:cubicBezTo>
                      <a:pt x="1127" y="1045"/>
                      <a:pt x="1122" y="1051"/>
                      <a:pt x="1122" y="1057"/>
                    </a:cubicBezTo>
                    <a:cubicBezTo>
                      <a:pt x="1122" y="1064"/>
                      <a:pt x="1127" y="1070"/>
                      <a:pt x="1134" y="1070"/>
                    </a:cubicBezTo>
                    <a:cubicBezTo>
                      <a:pt x="1141" y="1070"/>
                      <a:pt x="1146" y="1064"/>
                      <a:pt x="1146" y="1057"/>
                    </a:cubicBezTo>
                    <a:cubicBezTo>
                      <a:pt x="1146" y="1051"/>
                      <a:pt x="1141" y="1045"/>
                      <a:pt x="1134" y="1045"/>
                    </a:cubicBezTo>
                    <a:close/>
                    <a:moveTo>
                      <a:pt x="1204" y="977"/>
                    </a:moveTo>
                    <a:cubicBezTo>
                      <a:pt x="1211" y="977"/>
                      <a:pt x="1216" y="972"/>
                      <a:pt x="1216" y="965"/>
                    </a:cubicBezTo>
                    <a:cubicBezTo>
                      <a:pt x="1216" y="959"/>
                      <a:pt x="1211" y="953"/>
                      <a:pt x="1204" y="953"/>
                    </a:cubicBezTo>
                    <a:cubicBezTo>
                      <a:pt x="1197" y="953"/>
                      <a:pt x="1192" y="959"/>
                      <a:pt x="1192" y="965"/>
                    </a:cubicBezTo>
                    <a:cubicBezTo>
                      <a:pt x="1192" y="972"/>
                      <a:pt x="1197" y="977"/>
                      <a:pt x="1204" y="977"/>
                    </a:cubicBezTo>
                    <a:close/>
                    <a:moveTo>
                      <a:pt x="1169" y="1045"/>
                    </a:moveTo>
                    <a:cubicBezTo>
                      <a:pt x="1162" y="1045"/>
                      <a:pt x="1157" y="1051"/>
                      <a:pt x="1157" y="1057"/>
                    </a:cubicBezTo>
                    <a:cubicBezTo>
                      <a:pt x="1157" y="1064"/>
                      <a:pt x="1162" y="1070"/>
                      <a:pt x="1169" y="1070"/>
                    </a:cubicBezTo>
                    <a:cubicBezTo>
                      <a:pt x="1176" y="1070"/>
                      <a:pt x="1181" y="1064"/>
                      <a:pt x="1181" y="1057"/>
                    </a:cubicBezTo>
                    <a:cubicBezTo>
                      <a:pt x="1181" y="1051"/>
                      <a:pt x="1176" y="1045"/>
                      <a:pt x="1169" y="1045"/>
                    </a:cubicBezTo>
                    <a:close/>
                    <a:moveTo>
                      <a:pt x="1169" y="984"/>
                    </a:moveTo>
                    <a:cubicBezTo>
                      <a:pt x="1162" y="984"/>
                      <a:pt x="1157" y="989"/>
                      <a:pt x="1157" y="996"/>
                    </a:cubicBezTo>
                    <a:cubicBezTo>
                      <a:pt x="1157" y="1003"/>
                      <a:pt x="1162" y="1008"/>
                      <a:pt x="1169" y="1008"/>
                    </a:cubicBezTo>
                    <a:cubicBezTo>
                      <a:pt x="1176" y="1008"/>
                      <a:pt x="1181" y="1003"/>
                      <a:pt x="1181" y="996"/>
                    </a:cubicBezTo>
                    <a:cubicBezTo>
                      <a:pt x="1181" y="989"/>
                      <a:pt x="1176" y="984"/>
                      <a:pt x="1169" y="984"/>
                    </a:cubicBezTo>
                    <a:close/>
                    <a:moveTo>
                      <a:pt x="1169" y="953"/>
                    </a:moveTo>
                    <a:cubicBezTo>
                      <a:pt x="1162" y="953"/>
                      <a:pt x="1157" y="959"/>
                      <a:pt x="1157" y="965"/>
                    </a:cubicBezTo>
                    <a:cubicBezTo>
                      <a:pt x="1157" y="972"/>
                      <a:pt x="1162" y="977"/>
                      <a:pt x="1169" y="977"/>
                    </a:cubicBezTo>
                    <a:cubicBezTo>
                      <a:pt x="1176" y="977"/>
                      <a:pt x="1181" y="972"/>
                      <a:pt x="1181" y="965"/>
                    </a:cubicBezTo>
                    <a:cubicBezTo>
                      <a:pt x="1181" y="959"/>
                      <a:pt x="1176" y="953"/>
                      <a:pt x="1169" y="953"/>
                    </a:cubicBezTo>
                    <a:close/>
                    <a:moveTo>
                      <a:pt x="1169" y="1015"/>
                    </a:moveTo>
                    <a:cubicBezTo>
                      <a:pt x="1162" y="1015"/>
                      <a:pt x="1157" y="1020"/>
                      <a:pt x="1157" y="1027"/>
                    </a:cubicBezTo>
                    <a:cubicBezTo>
                      <a:pt x="1157" y="1033"/>
                      <a:pt x="1162" y="1039"/>
                      <a:pt x="1169" y="1039"/>
                    </a:cubicBezTo>
                    <a:cubicBezTo>
                      <a:pt x="1176" y="1039"/>
                      <a:pt x="1181" y="1033"/>
                      <a:pt x="1181" y="1027"/>
                    </a:cubicBezTo>
                    <a:cubicBezTo>
                      <a:pt x="1181" y="1020"/>
                      <a:pt x="1176" y="1015"/>
                      <a:pt x="1169" y="1015"/>
                    </a:cubicBezTo>
                    <a:close/>
                    <a:moveTo>
                      <a:pt x="854" y="861"/>
                    </a:moveTo>
                    <a:cubicBezTo>
                      <a:pt x="847" y="861"/>
                      <a:pt x="841" y="866"/>
                      <a:pt x="841" y="873"/>
                    </a:cubicBezTo>
                    <a:cubicBezTo>
                      <a:pt x="841" y="880"/>
                      <a:pt x="847" y="885"/>
                      <a:pt x="854" y="885"/>
                    </a:cubicBezTo>
                    <a:cubicBezTo>
                      <a:pt x="860" y="885"/>
                      <a:pt x="866" y="880"/>
                      <a:pt x="866" y="873"/>
                    </a:cubicBezTo>
                    <a:cubicBezTo>
                      <a:pt x="866" y="866"/>
                      <a:pt x="860" y="861"/>
                      <a:pt x="854" y="861"/>
                    </a:cubicBezTo>
                    <a:close/>
                    <a:moveTo>
                      <a:pt x="889" y="861"/>
                    </a:moveTo>
                    <a:cubicBezTo>
                      <a:pt x="882" y="861"/>
                      <a:pt x="876" y="866"/>
                      <a:pt x="876" y="873"/>
                    </a:cubicBezTo>
                    <a:cubicBezTo>
                      <a:pt x="876" y="880"/>
                      <a:pt x="882" y="885"/>
                      <a:pt x="889" y="885"/>
                    </a:cubicBezTo>
                    <a:cubicBezTo>
                      <a:pt x="895" y="885"/>
                      <a:pt x="901" y="880"/>
                      <a:pt x="901" y="873"/>
                    </a:cubicBezTo>
                    <a:cubicBezTo>
                      <a:pt x="901" y="866"/>
                      <a:pt x="895" y="861"/>
                      <a:pt x="889" y="861"/>
                    </a:cubicBezTo>
                    <a:close/>
                    <a:moveTo>
                      <a:pt x="889" y="769"/>
                    </a:moveTo>
                    <a:cubicBezTo>
                      <a:pt x="882" y="769"/>
                      <a:pt x="876" y="774"/>
                      <a:pt x="876" y="781"/>
                    </a:cubicBezTo>
                    <a:cubicBezTo>
                      <a:pt x="876" y="787"/>
                      <a:pt x="882" y="793"/>
                      <a:pt x="889" y="793"/>
                    </a:cubicBezTo>
                    <a:cubicBezTo>
                      <a:pt x="895" y="793"/>
                      <a:pt x="901" y="787"/>
                      <a:pt x="901" y="781"/>
                    </a:cubicBezTo>
                    <a:cubicBezTo>
                      <a:pt x="901" y="774"/>
                      <a:pt x="895" y="769"/>
                      <a:pt x="889" y="769"/>
                    </a:cubicBezTo>
                    <a:close/>
                    <a:moveTo>
                      <a:pt x="889" y="799"/>
                    </a:moveTo>
                    <a:cubicBezTo>
                      <a:pt x="882" y="799"/>
                      <a:pt x="876" y="805"/>
                      <a:pt x="876" y="812"/>
                    </a:cubicBezTo>
                    <a:cubicBezTo>
                      <a:pt x="876" y="818"/>
                      <a:pt x="882" y="824"/>
                      <a:pt x="889" y="824"/>
                    </a:cubicBezTo>
                    <a:cubicBezTo>
                      <a:pt x="895" y="824"/>
                      <a:pt x="901" y="818"/>
                      <a:pt x="901" y="812"/>
                    </a:cubicBezTo>
                    <a:cubicBezTo>
                      <a:pt x="901" y="805"/>
                      <a:pt x="895" y="799"/>
                      <a:pt x="889" y="799"/>
                    </a:cubicBezTo>
                    <a:close/>
                    <a:moveTo>
                      <a:pt x="889" y="830"/>
                    </a:moveTo>
                    <a:cubicBezTo>
                      <a:pt x="882" y="830"/>
                      <a:pt x="876" y="836"/>
                      <a:pt x="876" y="842"/>
                    </a:cubicBezTo>
                    <a:cubicBezTo>
                      <a:pt x="876" y="849"/>
                      <a:pt x="882" y="854"/>
                      <a:pt x="889" y="854"/>
                    </a:cubicBezTo>
                    <a:cubicBezTo>
                      <a:pt x="895" y="854"/>
                      <a:pt x="901" y="849"/>
                      <a:pt x="901" y="842"/>
                    </a:cubicBezTo>
                    <a:cubicBezTo>
                      <a:pt x="901" y="836"/>
                      <a:pt x="895" y="830"/>
                      <a:pt x="889" y="830"/>
                    </a:cubicBezTo>
                    <a:close/>
                    <a:moveTo>
                      <a:pt x="854" y="799"/>
                    </a:moveTo>
                    <a:cubicBezTo>
                      <a:pt x="847" y="799"/>
                      <a:pt x="841" y="805"/>
                      <a:pt x="841" y="812"/>
                    </a:cubicBezTo>
                    <a:cubicBezTo>
                      <a:pt x="841" y="818"/>
                      <a:pt x="847" y="824"/>
                      <a:pt x="854" y="824"/>
                    </a:cubicBezTo>
                    <a:cubicBezTo>
                      <a:pt x="860" y="824"/>
                      <a:pt x="866" y="818"/>
                      <a:pt x="866" y="812"/>
                    </a:cubicBezTo>
                    <a:cubicBezTo>
                      <a:pt x="866" y="805"/>
                      <a:pt x="860" y="799"/>
                      <a:pt x="854" y="799"/>
                    </a:cubicBezTo>
                    <a:close/>
                    <a:moveTo>
                      <a:pt x="854" y="769"/>
                    </a:moveTo>
                    <a:cubicBezTo>
                      <a:pt x="847" y="769"/>
                      <a:pt x="841" y="774"/>
                      <a:pt x="841" y="781"/>
                    </a:cubicBezTo>
                    <a:cubicBezTo>
                      <a:pt x="841" y="787"/>
                      <a:pt x="847" y="793"/>
                      <a:pt x="854" y="793"/>
                    </a:cubicBezTo>
                    <a:cubicBezTo>
                      <a:pt x="860" y="793"/>
                      <a:pt x="866" y="787"/>
                      <a:pt x="866" y="781"/>
                    </a:cubicBezTo>
                    <a:cubicBezTo>
                      <a:pt x="866" y="774"/>
                      <a:pt x="860" y="769"/>
                      <a:pt x="854" y="769"/>
                    </a:cubicBezTo>
                    <a:close/>
                    <a:moveTo>
                      <a:pt x="854" y="892"/>
                    </a:moveTo>
                    <a:cubicBezTo>
                      <a:pt x="847" y="892"/>
                      <a:pt x="841" y="897"/>
                      <a:pt x="841" y="904"/>
                    </a:cubicBezTo>
                    <a:cubicBezTo>
                      <a:pt x="841" y="910"/>
                      <a:pt x="847" y="916"/>
                      <a:pt x="854" y="916"/>
                    </a:cubicBezTo>
                    <a:cubicBezTo>
                      <a:pt x="860" y="916"/>
                      <a:pt x="866" y="910"/>
                      <a:pt x="866" y="904"/>
                    </a:cubicBezTo>
                    <a:cubicBezTo>
                      <a:pt x="866" y="897"/>
                      <a:pt x="860" y="892"/>
                      <a:pt x="854" y="892"/>
                    </a:cubicBezTo>
                    <a:close/>
                    <a:moveTo>
                      <a:pt x="854" y="830"/>
                    </a:moveTo>
                    <a:cubicBezTo>
                      <a:pt x="847" y="830"/>
                      <a:pt x="841" y="836"/>
                      <a:pt x="841" y="842"/>
                    </a:cubicBezTo>
                    <a:cubicBezTo>
                      <a:pt x="841" y="849"/>
                      <a:pt x="847" y="854"/>
                      <a:pt x="854" y="854"/>
                    </a:cubicBezTo>
                    <a:cubicBezTo>
                      <a:pt x="860" y="854"/>
                      <a:pt x="866" y="849"/>
                      <a:pt x="866" y="842"/>
                    </a:cubicBezTo>
                    <a:cubicBezTo>
                      <a:pt x="866" y="836"/>
                      <a:pt x="860" y="830"/>
                      <a:pt x="854" y="830"/>
                    </a:cubicBezTo>
                    <a:close/>
                    <a:moveTo>
                      <a:pt x="854" y="523"/>
                    </a:moveTo>
                    <a:cubicBezTo>
                      <a:pt x="847" y="523"/>
                      <a:pt x="841" y="528"/>
                      <a:pt x="841" y="535"/>
                    </a:cubicBezTo>
                    <a:cubicBezTo>
                      <a:pt x="841" y="542"/>
                      <a:pt x="847" y="547"/>
                      <a:pt x="854" y="547"/>
                    </a:cubicBezTo>
                    <a:cubicBezTo>
                      <a:pt x="860" y="547"/>
                      <a:pt x="866" y="542"/>
                      <a:pt x="866" y="535"/>
                    </a:cubicBezTo>
                    <a:cubicBezTo>
                      <a:pt x="866" y="528"/>
                      <a:pt x="860" y="523"/>
                      <a:pt x="854" y="523"/>
                    </a:cubicBezTo>
                    <a:close/>
                    <a:moveTo>
                      <a:pt x="854" y="738"/>
                    </a:moveTo>
                    <a:cubicBezTo>
                      <a:pt x="847" y="738"/>
                      <a:pt x="841" y="743"/>
                      <a:pt x="841" y="750"/>
                    </a:cubicBezTo>
                    <a:cubicBezTo>
                      <a:pt x="841" y="757"/>
                      <a:pt x="847" y="762"/>
                      <a:pt x="854" y="762"/>
                    </a:cubicBezTo>
                    <a:cubicBezTo>
                      <a:pt x="860" y="762"/>
                      <a:pt x="866" y="757"/>
                      <a:pt x="866" y="750"/>
                    </a:cubicBezTo>
                    <a:cubicBezTo>
                      <a:pt x="866" y="743"/>
                      <a:pt x="860" y="738"/>
                      <a:pt x="854" y="738"/>
                    </a:cubicBezTo>
                    <a:close/>
                    <a:moveTo>
                      <a:pt x="854" y="553"/>
                    </a:moveTo>
                    <a:cubicBezTo>
                      <a:pt x="847" y="553"/>
                      <a:pt x="841" y="559"/>
                      <a:pt x="841" y="566"/>
                    </a:cubicBezTo>
                    <a:cubicBezTo>
                      <a:pt x="841" y="572"/>
                      <a:pt x="847" y="578"/>
                      <a:pt x="854" y="578"/>
                    </a:cubicBezTo>
                    <a:cubicBezTo>
                      <a:pt x="860" y="578"/>
                      <a:pt x="866" y="572"/>
                      <a:pt x="866" y="566"/>
                    </a:cubicBezTo>
                    <a:cubicBezTo>
                      <a:pt x="866" y="559"/>
                      <a:pt x="860" y="553"/>
                      <a:pt x="854" y="553"/>
                    </a:cubicBezTo>
                    <a:close/>
                    <a:moveTo>
                      <a:pt x="573" y="799"/>
                    </a:moveTo>
                    <a:cubicBezTo>
                      <a:pt x="567" y="799"/>
                      <a:pt x="561" y="805"/>
                      <a:pt x="561" y="812"/>
                    </a:cubicBezTo>
                    <a:cubicBezTo>
                      <a:pt x="561" y="818"/>
                      <a:pt x="567" y="824"/>
                      <a:pt x="573" y="824"/>
                    </a:cubicBezTo>
                    <a:cubicBezTo>
                      <a:pt x="580" y="824"/>
                      <a:pt x="585" y="818"/>
                      <a:pt x="585" y="812"/>
                    </a:cubicBezTo>
                    <a:cubicBezTo>
                      <a:pt x="585" y="805"/>
                      <a:pt x="580" y="799"/>
                      <a:pt x="573" y="799"/>
                    </a:cubicBezTo>
                    <a:close/>
                    <a:moveTo>
                      <a:pt x="573" y="707"/>
                    </a:moveTo>
                    <a:cubicBezTo>
                      <a:pt x="567" y="707"/>
                      <a:pt x="561" y="713"/>
                      <a:pt x="561" y="719"/>
                    </a:cubicBezTo>
                    <a:cubicBezTo>
                      <a:pt x="561" y="726"/>
                      <a:pt x="567" y="731"/>
                      <a:pt x="573" y="731"/>
                    </a:cubicBezTo>
                    <a:cubicBezTo>
                      <a:pt x="580" y="731"/>
                      <a:pt x="585" y="726"/>
                      <a:pt x="585" y="719"/>
                    </a:cubicBezTo>
                    <a:cubicBezTo>
                      <a:pt x="585" y="713"/>
                      <a:pt x="580" y="707"/>
                      <a:pt x="573" y="707"/>
                    </a:cubicBezTo>
                    <a:close/>
                    <a:moveTo>
                      <a:pt x="573" y="646"/>
                    </a:moveTo>
                    <a:cubicBezTo>
                      <a:pt x="567" y="646"/>
                      <a:pt x="561" y="651"/>
                      <a:pt x="561" y="658"/>
                    </a:cubicBezTo>
                    <a:cubicBezTo>
                      <a:pt x="561" y="665"/>
                      <a:pt x="567" y="670"/>
                      <a:pt x="573" y="670"/>
                    </a:cubicBezTo>
                    <a:cubicBezTo>
                      <a:pt x="580" y="670"/>
                      <a:pt x="585" y="665"/>
                      <a:pt x="585" y="658"/>
                    </a:cubicBezTo>
                    <a:cubicBezTo>
                      <a:pt x="585" y="651"/>
                      <a:pt x="580" y="646"/>
                      <a:pt x="573" y="646"/>
                    </a:cubicBezTo>
                    <a:close/>
                    <a:moveTo>
                      <a:pt x="573" y="676"/>
                    </a:moveTo>
                    <a:cubicBezTo>
                      <a:pt x="567" y="676"/>
                      <a:pt x="561" y="682"/>
                      <a:pt x="561" y="689"/>
                    </a:cubicBezTo>
                    <a:cubicBezTo>
                      <a:pt x="561" y="695"/>
                      <a:pt x="567" y="701"/>
                      <a:pt x="573" y="701"/>
                    </a:cubicBezTo>
                    <a:cubicBezTo>
                      <a:pt x="580" y="701"/>
                      <a:pt x="585" y="695"/>
                      <a:pt x="585" y="689"/>
                    </a:cubicBezTo>
                    <a:cubicBezTo>
                      <a:pt x="585" y="682"/>
                      <a:pt x="580" y="676"/>
                      <a:pt x="573" y="676"/>
                    </a:cubicBezTo>
                    <a:close/>
                    <a:moveTo>
                      <a:pt x="573" y="830"/>
                    </a:moveTo>
                    <a:cubicBezTo>
                      <a:pt x="567" y="830"/>
                      <a:pt x="561" y="836"/>
                      <a:pt x="561" y="842"/>
                    </a:cubicBezTo>
                    <a:cubicBezTo>
                      <a:pt x="561" y="849"/>
                      <a:pt x="567" y="854"/>
                      <a:pt x="573" y="854"/>
                    </a:cubicBezTo>
                    <a:cubicBezTo>
                      <a:pt x="580" y="854"/>
                      <a:pt x="585" y="849"/>
                      <a:pt x="585" y="842"/>
                    </a:cubicBezTo>
                    <a:cubicBezTo>
                      <a:pt x="585" y="836"/>
                      <a:pt x="580" y="830"/>
                      <a:pt x="573" y="830"/>
                    </a:cubicBezTo>
                    <a:close/>
                    <a:moveTo>
                      <a:pt x="608" y="646"/>
                    </a:moveTo>
                    <a:cubicBezTo>
                      <a:pt x="602" y="646"/>
                      <a:pt x="596" y="651"/>
                      <a:pt x="596" y="658"/>
                    </a:cubicBezTo>
                    <a:cubicBezTo>
                      <a:pt x="596" y="665"/>
                      <a:pt x="602" y="670"/>
                      <a:pt x="608" y="670"/>
                    </a:cubicBezTo>
                    <a:cubicBezTo>
                      <a:pt x="615" y="670"/>
                      <a:pt x="621" y="665"/>
                      <a:pt x="621" y="658"/>
                    </a:cubicBezTo>
                    <a:cubicBezTo>
                      <a:pt x="621" y="651"/>
                      <a:pt x="615" y="646"/>
                      <a:pt x="608" y="646"/>
                    </a:cubicBezTo>
                    <a:close/>
                    <a:moveTo>
                      <a:pt x="573" y="738"/>
                    </a:moveTo>
                    <a:cubicBezTo>
                      <a:pt x="567" y="738"/>
                      <a:pt x="561" y="743"/>
                      <a:pt x="561" y="750"/>
                    </a:cubicBezTo>
                    <a:cubicBezTo>
                      <a:pt x="561" y="757"/>
                      <a:pt x="567" y="762"/>
                      <a:pt x="573" y="762"/>
                    </a:cubicBezTo>
                    <a:cubicBezTo>
                      <a:pt x="580" y="762"/>
                      <a:pt x="585" y="757"/>
                      <a:pt x="585" y="750"/>
                    </a:cubicBezTo>
                    <a:cubicBezTo>
                      <a:pt x="585" y="743"/>
                      <a:pt x="580" y="738"/>
                      <a:pt x="573" y="738"/>
                    </a:cubicBezTo>
                    <a:close/>
                    <a:moveTo>
                      <a:pt x="573" y="861"/>
                    </a:moveTo>
                    <a:cubicBezTo>
                      <a:pt x="567" y="861"/>
                      <a:pt x="561" y="866"/>
                      <a:pt x="561" y="873"/>
                    </a:cubicBezTo>
                    <a:cubicBezTo>
                      <a:pt x="561" y="880"/>
                      <a:pt x="567" y="885"/>
                      <a:pt x="573" y="885"/>
                    </a:cubicBezTo>
                    <a:cubicBezTo>
                      <a:pt x="580" y="885"/>
                      <a:pt x="585" y="880"/>
                      <a:pt x="585" y="873"/>
                    </a:cubicBezTo>
                    <a:cubicBezTo>
                      <a:pt x="585" y="866"/>
                      <a:pt x="580" y="861"/>
                      <a:pt x="573" y="861"/>
                    </a:cubicBezTo>
                    <a:close/>
                    <a:moveTo>
                      <a:pt x="503" y="799"/>
                    </a:moveTo>
                    <a:cubicBezTo>
                      <a:pt x="496" y="799"/>
                      <a:pt x="491" y="805"/>
                      <a:pt x="491" y="812"/>
                    </a:cubicBezTo>
                    <a:cubicBezTo>
                      <a:pt x="491" y="818"/>
                      <a:pt x="496" y="824"/>
                      <a:pt x="503" y="824"/>
                    </a:cubicBezTo>
                    <a:cubicBezTo>
                      <a:pt x="510" y="824"/>
                      <a:pt x="515" y="818"/>
                      <a:pt x="515" y="812"/>
                    </a:cubicBezTo>
                    <a:cubicBezTo>
                      <a:pt x="515" y="805"/>
                      <a:pt x="510" y="799"/>
                      <a:pt x="503" y="799"/>
                    </a:cubicBezTo>
                    <a:close/>
                    <a:moveTo>
                      <a:pt x="573" y="769"/>
                    </a:moveTo>
                    <a:cubicBezTo>
                      <a:pt x="567" y="769"/>
                      <a:pt x="561" y="774"/>
                      <a:pt x="561" y="781"/>
                    </a:cubicBezTo>
                    <a:cubicBezTo>
                      <a:pt x="561" y="787"/>
                      <a:pt x="567" y="793"/>
                      <a:pt x="573" y="793"/>
                    </a:cubicBezTo>
                    <a:cubicBezTo>
                      <a:pt x="580" y="793"/>
                      <a:pt x="585" y="787"/>
                      <a:pt x="585" y="781"/>
                    </a:cubicBezTo>
                    <a:cubicBezTo>
                      <a:pt x="585" y="774"/>
                      <a:pt x="580" y="769"/>
                      <a:pt x="573" y="769"/>
                    </a:cubicBezTo>
                    <a:close/>
                    <a:moveTo>
                      <a:pt x="573" y="615"/>
                    </a:moveTo>
                    <a:cubicBezTo>
                      <a:pt x="567" y="615"/>
                      <a:pt x="561" y="620"/>
                      <a:pt x="561" y="627"/>
                    </a:cubicBezTo>
                    <a:cubicBezTo>
                      <a:pt x="561" y="634"/>
                      <a:pt x="567" y="639"/>
                      <a:pt x="573" y="639"/>
                    </a:cubicBezTo>
                    <a:cubicBezTo>
                      <a:pt x="580" y="639"/>
                      <a:pt x="585" y="634"/>
                      <a:pt x="585" y="627"/>
                    </a:cubicBezTo>
                    <a:cubicBezTo>
                      <a:pt x="585" y="620"/>
                      <a:pt x="580" y="615"/>
                      <a:pt x="573" y="615"/>
                    </a:cubicBezTo>
                    <a:close/>
                    <a:moveTo>
                      <a:pt x="608" y="861"/>
                    </a:moveTo>
                    <a:cubicBezTo>
                      <a:pt x="602" y="861"/>
                      <a:pt x="596" y="866"/>
                      <a:pt x="596" y="873"/>
                    </a:cubicBezTo>
                    <a:cubicBezTo>
                      <a:pt x="596" y="880"/>
                      <a:pt x="602" y="885"/>
                      <a:pt x="608" y="885"/>
                    </a:cubicBezTo>
                    <a:cubicBezTo>
                      <a:pt x="615" y="885"/>
                      <a:pt x="621" y="880"/>
                      <a:pt x="621" y="873"/>
                    </a:cubicBezTo>
                    <a:cubicBezTo>
                      <a:pt x="621" y="866"/>
                      <a:pt x="615" y="861"/>
                      <a:pt x="608" y="861"/>
                    </a:cubicBezTo>
                    <a:close/>
                    <a:moveTo>
                      <a:pt x="608" y="830"/>
                    </a:moveTo>
                    <a:cubicBezTo>
                      <a:pt x="602" y="830"/>
                      <a:pt x="596" y="836"/>
                      <a:pt x="596" y="842"/>
                    </a:cubicBezTo>
                    <a:cubicBezTo>
                      <a:pt x="596" y="849"/>
                      <a:pt x="602" y="854"/>
                      <a:pt x="608" y="854"/>
                    </a:cubicBezTo>
                    <a:cubicBezTo>
                      <a:pt x="615" y="854"/>
                      <a:pt x="621" y="849"/>
                      <a:pt x="621" y="842"/>
                    </a:cubicBezTo>
                    <a:cubicBezTo>
                      <a:pt x="621" y="836"/>
                      <a:pt x="615" y="830"/>
                      <a:pt x="608" y="830"/>
                    </a:cubicBezTo>
                    <a:close/>
                    <a:moveTo>
                      <a:pt x="608" y="799"/>
                    </a:moveTo>
                    <a:cubicBezTo>
                      <a:pt x="602" y="799"/>
                      <a:pt x="596" y="805"/>
                      <a:pt x="596" y="812"/>
                    </a:cubicBezTo>
                    <a:cubicBezTo>
                      <a:pt x="596" y="818"/>
                      <a:pt x="602" y="824"/>
                      <a:pt x="608" y="824"/>
                    </a:cubicBezTo>
                    <a:cubicBezTo>
                      <a:pt x="615" y="824"/>
                      <a:pt x="621" y="818"/>
                      <a:pt x="621" y="812"/>
                    </a:cubicBezTo>
                    <a:cubicBezTo>
                      <a:pt x="621" y="805"/>
                      <a:pt x="615" y="799"/>
                      <a:pt x="608" y="799"/>
                    </a:cubicBezTo>
                    <a:close/>
                    <a:moveTo>
                      <a:pt x="608" y="707"/>
                    </a:moveTo>
                    <a:cubicBezTo>
                      <a:pt x="602" y="707"/>
                      <a:pt x="596" y="713"/>
                      <a:pt x="596" y="719"/>
                    </a:cubicBezTo>
                    <a:cubicBezTo>
                      <a:pt x="596" y="726"/>
                      <a:pt x="602" y="731"/>
                      <a:pt x="608" y="731"/>
                    </a:cubicBezTo>
                    <a:cubicBezTo>
                      <a:pt x="615" y="731"/>
                      <a:pt x="621" y="726"/>
                      <a:pt x="621" y="719"/>
                    </a:cubicBezTo>
                    <a:cubicBezTo>
                      <a:pt x="621" y="713"/>
                      <a:pt x="615" y="707"/>
                      <a:pt x="608" y="707"/>
                    </a:cubicBezTo>
                    <a:close/>
                    <a:moveTo>
                      <a:pt x="608" y="676"/>
                    </a:moveTo>
                    <a:cubicBezTo>
                      <a:pt x="602" y="676"/>
                      <a:pt x="596" y="682"/>
                      <a:pt x="596" y="689"/>
                    </a:cubicBezTo>
                    <a:cubicBezTo>
                      <a:pt x="596" y="695"/>
                      <a:pt x="602" y="701"/>
                      <a:pt x="608" y="701"/>
                    </a:cubicBezTo>
                    <a:cubicBezTo>
                      <a:pt x="615" y="701"/>
                      <a:pt x="621" y="695"/>
                      <a:pt x="621" y="689"/>
                    </a:cubicBezTo>
                    <a:cubicBezTo>
                      <a:pt x="621" y="682"/>
                      <a:pt x="615" y="676"/>
                      <a:pt x="608" y="676"/>
                    </a:cubicBezTo>
                    <a:close/>
                    <a:moveTo>
                      <a:pt x="608" y="769"/>
                    </a:moveTo>
                    <a:cubicBezTo>
                      <a:pt x="602" y="769"/>
                      <a:pt x="596" y="774"/>
                      <a:pt x="596" y="781"/>
                    </a:cubicBezTo>
                    <a:cubicBezTo>
                      <a:pt x="596" y="787"/>
                      <a:pt x="602" y="793"/>
                      <a:pt x="608" y="793"/>
                    </a:cubicBezTo>
                    <a:cubicBezTo>
                      <a:pt x="615" y="793"/>
                      <a:pt x="621" y="787"/>
                      <a:pt x="621" y="781"/>
                    </a:cubicBezTo>
                    <a:cubicBezTo>
                      <a:pt x="621" y="774"/>
                      <a:pt x="615" y="769"/>
                      <a:pt x="608" y="769"/>
                    </a:cubicBezTo>
                    <a:close/>
                    <a:moveTo>
                      <a:pt x="608" y="738"/>
                    </a:moveTo>
                    <a:cubicBezTo>
                      <a:pt x="602" y="738"/>
                      <a:pt x="596" y="743"/>
                      <a:pt x="596" y="750"/>
                    </a:cubicBezTo>
                    <a:cubicBezTo>
                      <a:pt x="596" y="757"/>
                      <a:pt x="602" y="762"/>
                      <a:pt x="608" y="762"/>
                    </a:cubicBezTo>
                    <a:cubicBezTo>
                      <a:pt x="615" y="762"/>
                      <a:pt x="621" y="757"/>
                      <a:pt x="621" y="750"/>
                    </a:cubicBezTo>
                    <a:cubicBezTo>
                      <a:pt x="621" y="743"/>
                      <a:pt x="615" y="738"/>
                      <a:pt x="608" y="738"/>
                    </a:cubicBezTo>
                    <a:close/>
                    <a:moveTo>
                      <a:pt x="503" y="707"/>
                    </a:moveTo>
                    <a:cubicBezTo>
                      <a:pt x="496" y="707"/>
                      <a:pt x="491" y="713"/>
                      <a:pt x="491" y="719"/>
                    </a:cubicBezTo>
                    <a:cubicBezTo>
                      <a:pt x="491" y="726"/>
                      <a:pt x="496" y="731"/>
                      <a:pt x="503" y="731"/>
                    </a:cubicBezTo>
                    <a:cubicBezTo>
                      <a:pt x="510" y="731"/>
                      <a:pt x="515" y="726"/>
                      <a:pt x="515" y="719"/>
                    </a:cubicBezTo>
                    <a:cubicBezTo>
                      <a:pt x="515" y="713"/>
                      <a:pt x="510" y="707"/>
                      <a:pt x="503" y="707"/>
                    </a:cubicBezTo>
                    <a:close/>
                    <a:moveTo>
                      <a:pt x="503" y="461"/>
                    </a:moveTo>
                    <a:cubicBezTo>
                      <a:pt x="496" y="461"/>
                      <a:pt x="491" y="467"/>
                      <a:pt x="491" y="473"/>
                    </a:cubicBezTo>
                    <a:cubicBezTo>
                      <a:pt x="491" y="480"/>
                      <a:pt x="496" y="486"/>
                      <a:pt x="503" y="486"/>
                    </a:cubicBezTo>
                    <a:cubicBezTo>
                      <a:pt x="510" y="486"/>
                      <a:pt x="515" y="480"/>
                      <a:pt x="515" y="473"/>
                    </a:cubicBezTo>
                    <a:cubicBezTo>
                      <a:pt x="515" y="467"/>
                      <a:pt x="510" y="461"/>
                      <a:pt x="503" y="461"/>
                    </a:cubicBezTo>
                    <a:close/>
                    <a:moveTo>
                      <a:pt x="503" y="738"/>
                    </a:moveTo>
                    <a:cubicBezTo>
                      <a:pt x="496" y="738"/>
                      <a:pt x="491" y="743"/>
                      <a:pt x="491" y="750"/>
                    </a:cubicBezTo>
                    <a:cubicBezTo>
                      <a:pt x="491" y="757"/>
                      <a:pt x="496" y="762"/>
                      <a:pt x="503" y="762"/>
                    </a:cubicBezTo>
                    <a:cubicBezTo>
                      <a:pt x="510" y="762"/>
                      <a:pt x="515" y="757"/>
                      <a:pt x="515" y="750"/>
                    </a:cubicBezTo>
                    <a:cubicBezTo>
                      <a:pt x="515" y="743"/>
                      <a:pt x="510" y="738"/>
                      <a:pt x="503" y="738"/>
                    </a:cubicBezTo>
                    <a:close/>
                    <a:moveTo>
                      <a:pt x="503" y="430"/>
                    </a:moveTo>
                    <a:cubicBezTo>
                      <a:pt x="496" y="430"/>
                      <a:pt x="491" y="436"/>
                      <a:pt x="491" y="443"/>
                    </a:cubicBezTo>
                    <a:cubicBezTo>
                      <a:pt x="491" y="449"/>
                      <a:pt x="496" y="455"/>
                      <a:pt x="503" y="455"/>
                    </a:cubicBezTo>
                    <a:cubicBezTo>
                      <a:pt x="510" y="455"/>
                      <a:pt x="515" y="449"/>
                      <a:pt x="515" y="443"/>
                    </a:cubicBezTo>
                    <a:cubicBezTo>
                      <a:pt x="515" y="436"/>
                      <a:pt x="510" y="430"/>
                      <a:pt x="503" y="430"/>
                    </a:cubicBezTo>
                    <a:close/>
                    <a:moveTo>
                      <a:pt x="503" y="769"/>
                    </a:moveTo>
                    <a:cubicBezTo>
                      <a:pt x="496" y="769"/>
                      <a:pt x="491" y="774"/>
                      <a:pt x="491" y="781"/>
                    </a:cubicBezTo>
                    <a:cubicBezTo>
                      <a:pt x="491" y="787"/>
                      <a:pt x="496" y="793"/>
                      <a:pt x="503" y="793"/>
                    </a:cubicBezTo>
                    <a:cubicBezTo>
                      <a:pt x="510" y="793"/>
                      <a:pt x="515" y="787"/>
                      <a:pt x="515" y="781"/>
                    </a:cubicBezTo>
                    <a:cubicBezTo>
                      <a:pt x="515" y="774"/>
                      <a:pt x="510" y="769"/>
                      <a:pt x="503" y="769"/>
                    </a:cubicBezTo>
                    <a:close/>
                    <a:moveTo>
                      <a:pt x="538" y="707"/>
                    </a:moveTo>
                    <a:cubicBezTo>
                      <a:pt x="532" y="707"/>
                      <a:pt x="526" y="713"/>
                      <a:pt x="526" y="719"/>
                    </a:cubicBezTo>
                    <a:cubicBezTo>
                      <a:pt x="526" y="726"/>
                      <a:pt x="532" y="731"/>
                      <a:pt x="538" y="731"/>
                    </a:cubicBezTo>
                    <a:cubicBezTo>
                      <a:pt x="545" y="731"/>
                      <a:pt x="550" y="726"/>
                      <a:pt x="550" y="719"/>
                    </a:cubicBezTo>
                    <a:cubicBezTo>
                      <a:pt x="550" y="713"/>
                      <a:pt x="545" y="707"/>
                      <a:pt x="538" y="707"/>
                    </a:cubicBezTo>
                    <a:close/>
                    <a:moveTo>
                      <a:pt x="538" y="676"/>
                    </a:moveTo>
                    <a:cubicBezTo>
                      <a:pt x="532" y="676"/>
                      <a:pt x="526" y="682"/>
                      <a:pt x="526" y="689"/>
                    </a:cubicBezTo>
                    <a:cubicBezTo>
                      <a:pt x="526" y="695"/>
                      <a:pt x="532" y="701"/>
                      <a:pt x="538" y="701"/>
                    </a:cubicBezTo>
                    <a:cubicBezTo>
                      <a:pt x="545" y="701"/>
                      <a:pt x="550" y="695"/>
                      <a:pt x="550" y="689"/>
                    </a:cubicBezTo>
                    <a:cubicBezTo>
                      <a:pt x="550" y="682"/>
                      <a:pt x="545" y="676"/>
                      <a:pt x="538" y="676"/>
                    </a:cubicBezTo>
                    <a:close/>
                    <a:moveTo>
                      <a:pt x="538" y="830"/>
                    </a:moveTo>
                    <a:cubicBezTo>
                      <a:pt x="532" y="830"/>
                      <a:pt x="526" y="836"/>
                      <a:pt x="526" y="842"/>
                    </a:cubicBezTo>
                    <a:cubicBezTo>
                      <a:pt x="526" y="849"/>
                      <a:pt x="532" y="854"/>
                      <a:pt x="538" y="854"/>
                    </a:cubicBezTo>
                    <a:cubicBezTo>
                      <a:pt x="545" y="854"/>
                      <a:pt x="550" y="849"/>
                      <a:pt x="550" y="842"/>
                    </a:cubicBezTo>
                    <a:cubicBezTo>
                      <a:pt x="550" y="836"/>
                      <a:pt x="545" y="830"/>
                      <a:pt x="538" y="830"/>
                    </a:cubicBezTo>
                    <a:close/>
                    <a:moveTo>
                      <a:pt x="538" y="861"/>
                    </a:moveTo>
                    <a:cubicBezTo>
                      <a:pt x="532" y="861"/>
                      <a:pt x="526" y="866"/>
                      <a:pt x="526" y="873"/>
                    </a:cubicBezTo>
                    <a:cubicBezTo>
                      <a:pt x="526" y="880"/>
                      <a:pt x="532" y="885"/>
                      <a:pt x="538" y="885"/>
                    </a:cubicBezTo>
                    <a:cubicBezTo>
                      <a:pt x="545" y="885"/>
                      <a:pt x="550" y="880"/>
                      <a:pt x="550" y="873"/>
                    </a:cubicBezTo>
                    <a:cubicBezTo>
                      <a:pt x="550" y="866"/>
                      <a:pt x="545" y="861"/>
                      <a:pt x="538" y="861"/>
                    </a:cubicBezTo>
                    <a:close/>
                    <a:moveTo>
                      <a:pt x="538" y="738"/>
                    </a:moveTo>
                    <a:cubicBezTo>
                      <a:pt x="532" y="738"/>
                      <a:pt x="526" y="743"/>
                      <a:pt x="526" y="750"/>
                    </a:cubicBezTo>
                    <a:cubicBezTo>
                      <a:pt x="526" y="757"/>
                      <a:pt x="532" y="762"/>
                      <a:pt x="538" y="762"/>
                    </a:cubicBezTo>
                    <a:cubicBezTo>
                      <a:pt x="545" y="762"/>
                      <a:pt x="550" y="757"/>
                      <a:pt x="550" y="750"/>
                    </a:cubicBezTo>
                    <a:cubicBezTo>
                      <a:pt x="550" y="743"/>
                      <a:pt x="545" y="738"/>
                      <a:pt x="538" y="738"/>
                    </a:cubicBezTo>
                    <a:close/>
                    <a:moveTo>
                      <a:pt x="538" y="799"/>
                    </a:moveTo>
                    <a:cubicBezTo>
                      <a:pt x="532" y="799"/>
                      <a:pt x="526" y="805"/>
                      <a:pt x="526" y="812"/>
                    </a:cubicBezTo>
                    <a:cubicBezTo>
                      <a:pt x="526" y="818"/>
                      <a:pt x="532" y="824"/>
                      <a:pt x="538" y="824"/>
                    </a:cubicBezTo>
                    <a:cubicBezTo>
                      <a:pt x="545" y="824"/>
                      <a:pt x="550" y="818"/>
                      <a:pt x="550" y="812"/>
                    </a:cubicBezTo>
                    <a:cubicBezTo>
                      <a:pt x="550" y="805"/>
                      <a:pt x="545" y="799"/>
                      <a:pt x="538" y="799"/>
                    </a:cubicBezTo>
                    <a:close/>
                    <a:moveTo>
                      <a:pt x="538" y="769"/>
                    </a:moveTo>
                    <a:cubicBezTo>
                      <a:pt x="532" y="769"/>
                      <a:pt x="526" y="774"/>
                      <a:pt x="526" y="781"/>
                    </a:cubicBezTo>
                    <a:cubicBezTo>
                      <a:pt x="526" y="787"/>
                      <a:pt x="532" y="793"/>
                      <a:pt x="538" y="793"/>
                    </a:cubicBezTo>
                    <a:cubicBezTo>
                      <a:pt x="545" y="793"/>
                      <a:pt x="550" y="787"/>
                      <a:pt x="550" y="781"/>
                    </a:cubicBezTo>
                    <a:cubicBezTo>
                      <a:pt x="550" y="774"/>
                      <a:pt x="545" y="769"/>
                      <a:pt x="538" y="769"/>
                    </a:cubicBezTo>
                    <a:close/>
                    <a:moveTo>
                      <a:pt x="678" y="430"/>
                    </a:moveTo>
                    <a:cubicBezTo>
                      <a:pt x="672" y="430"/>
                      <a:pt x="666" y="436"/>
                      <a:pt x="666" y="443"/>
                    </a:cubicBezTo>
                    <a:cubicBezTo>
                      <a:pt x="666" y="449"/>
                      <a:pt x="672" y="455"/>
                      <a:pt x="678" y="455"/>
                    </a:cubicBezTo>
                    <a:cubicBezTo>
                      <a:pt x="685" y="455"/>
                      <a:pt x="691" y="449"/>
                      <a:pt x="691" y="443"/>
                    </a:cubicBezTo>
                    <a:cubicBezTo>
                      <a:pt x="691" y="436"/>
                      <a:pt x="685" y="430"/>
                      <a:pt x="678" y="430"/>
                    </a:cubicBezTo>
                    <a:close/>
                    <a:moveTo>
                      <a:pt x="678" y="584"/>
                    </a:moveTo>
                    <a:cubicBezTo>
                      <a:pt x="672" y="584"/>
                      <a:pt x="666" y="590"/>
                      <a:pt x="666" y="596"/>
                    </a:cubicBezTo>
                    <a:cubicBezTo>
                      <a:pt x="666" y="603"/>
                      <a:pt x="672" y="608"/>
                      <a:pt x="678" y="608"/>
                    </a:cubicBezTo>
                    <a:cubicBezTo>
                      <a:pt x="685" y="608"/>
                      <a:pt x="691" y="603"/>
                      <a:pt x="691" y="596"/>
                    </a:cubicBezTo>
                    <a:cubicBezTo>
                      <a:pt x="691" y="590"/>
                      <a:pt x="685" y="584"/>
                      <a:pt x="678" y="584"/>
                    </a:cubicBezTo>
                    <a:close/>
                    <a:moveTo>
                      <a:pt x="678" y="892"/>
                    </a:moveTo>
                    <a:cubicBezTo>
                      <a:pt x="672" y="892"/>
                      <a:pt x="666" y="897"/>
                      <a:pt x="666" y="904"/>
                    </a:cubicBezTo>
                    <a:cubicBezTo>
                      <a:pt x="666" y="910"/>
                      <a:pt x="672" y="916"/>
                      <a:pt x="678" y="916"/>
                    </a:cubicBezTo>
                    <a:cubicBezTo>
                      <a:pt x="685" y="916"/>
                      <a:pt x="691" y="910"/>
                      <a:pt x="691" y="904"/>
                    </a:cubicBezTo>
                    <a:cubicBezTo>
                      <a:pt x="691" y="897"/>
                      <a:pt x="685" y="892"/>
                      <a:pt x="678" y="892"/>
                    </a:cubicBezTo>
                    <a:close/>
                    <a:moveTo>
                      <a:pt x="678" y="830"/>
                    </a:moveTo>
                    <a:cubicBezTo>
                      <a:pt x="672" y="830"/>
                      <a:pt x="666" y="836"/>
                      <a:pt x="666" y="842"/>
                    </a:cubicBezTo>
                    <a:cubicBezTo>
                      <a:pt x="666" y="849"/>
                      <a:pt x="672" y="854"/>
                      <a:pt x="678" y="854"/>
                    </a:cubicBezTo>
                    <a:cubicBezTo>
                      <a:pt x="685" y="854"/>
                      <a:pt x="691" y="849"/>
                      <a:pt x="691" y="842"/>
                    </a:cubicBezTo>
                    <a:cubicBezTo>
                      <a:pt x="691" y="836"/>
                      <a:pt x="685" y="830"/>
                      <a:pt x="678" y="830"/>
                    </a:cubicBezTo>
                    <a:close/>
                    <a:moveTo>
                      <a:pt x="678" y="769"/>
                    </a:moveTo>
                    <a:cubicBezTo>
                      <a:pt x="672" y="769"/>
                      <a:pt x="666" y="774"/>
                      <a:pt x="666" y="781"/>
                    </a:cubicBezTo>
                    <a:cubicBezTo>
                      <a:pt x="666" y="787"/>
                      <a:pt x="672" y="793"/>
                      <a:pt x="678" y="793"/>
                    </a:cubicBezTo>
                    <a:cubicBezTo>
                      <a:pt x="685" y="793"/>
                      <a:pt x="691" y="787"/>
                      <a:pt x="691" y="781"/>
                    </a:cubicBezTo>
                    <a:cubicBezTo>
                      <a:pt x="691" y="774"/>
                      <a:pt x="685" y="769"/>
                      <a:pt x="678" y="769"/>
                    </a:cubicBezTo>
                    <a:close/>
                    <a:moveTo>
                      <a:pt x="678" y="861"/>
                    </a:moveTo>
                    <a:cubicBezTo>
                      <a:pt x="672" y="861"/>
                      <a:pt x="666" y="866"/>
                      <a:pt x="666" y="873"/>
                    </a:cubicBezTo>
                    <a:cubicBezTo>
                      <a:pt x="666" y="880"/>
                      <a:pt x="672" y="885"/>
                      <a:pt x="678" y="885"/>
                    </a:cubicBezTo>
                    <a:cubicBezTo>
                      <a:pt x="685" y="885"/>
                      <a:pt x="691" y="880"/>
                      <a:pt x="691" y="873"/>
                    </a:cubicBezTo>
                    <a:cubicBezTo>
                      <a:pt x="691" y="866"/>
                      <a:pt x="685" y="861"/>
                      <a:pt x="678" y="861"/>
                    </a:cubicBezTo>
                    <a:close/>
                    <a:moveTo>
                      <a:pt x="678" y="615"/>
                    </a:moveTo>
                    <a:cubicBezTo>
                      <a:pt x="672" y="615"/>
                      <a:pt x="666" y="620"/>
                      <a:pt x="666" y="627"/>
                    </a:cubicBezTo>
                    <a:cubicBezTo>
                      <a:pt x="666" y="634"/>
                      <a:pt x="672" y="639"/>
                      <a:pt x="678" y="639"/>
                    </a:cubicBezTo>
                    <a:cubicBezTo>
                      <a:pt x="685" y="639"/>
                      <a:pt x="691" y="634"/>
                      <a:pt x="691" y="627"/>
                    </a:cubicBezTo>
                    <a:cubicBezTo>
                      <a:pt x="691" y="620"/>
                      <a:pt x="685" y="615"/>
                      <a:pt x="678" y="615"/>
                    </a:cubicBezTo>
                    <a:close/>
                    <a:moveTo>
                      <a:pt x="678" y="676"/>
                    </a:moveTo>
                    <a:cubicBezTo>
                      <a:pt x="672" y="676"/>
                      <a:pt x="666" y="682"/>
                      <a:pt x="666" y="689"/>
                    </a:cubicBezTo>
                    <a:cubicBezTo>
                      <a:pt x="666" y="695"/>
                      <a:pt x="672" y="701"/>
                      <a:pt x="678" y="701"/>
                    </a:cubicBezTo>
                    <a:cubicBezTo>
                      <a:pt x="685" y="701"/>
                      <a:pt x="691" y="695"/>
                      <a:pt x="691" y="689"/>
                    </a:cubicBezTo>
                    <a:cubicBezTo>
                      <a:pt x="691" y="682"/>
                      <a:pt x="685" y="676"/>
                      <a:pt x="678" y="676"/>
                    </a:cubicBezTo>
                    <a:close/>
                    <a:moveTo>
                      <a:pt x="678" y="646"/>
                    </a:moveTo>
                    <a:cubicBezTo>
                      <a:pt x="672" y="646"/>
                      <a:pt x="666" y="651"/>
                      <a:pt x="666" y="658"/>
                    </a:cubicBezTo>
                    <a:cubicBezTo>
                      <a:pt x="666" y="665"/>
                      <a:pt x="672" y="670"/>
                      <a:pt x="678" y="670"/>
                    </a:cubicBezTo>
                    <a:cubicBezTo>
                      <a:pt x="685" y="670"/>
                      <a:pt x="691" y="665"/>
                      <a:pt x="691" y="658"/>
                    </a:cubicBezTo>
                    <a:cubicBezTo>
                      <a:pt x="691" y="651"/>
                      <a:pt x="685" y="646"/>
                      <a:pt x="678" y="646"/>
                    </a:cubicBezTo>
                    <a:close/>
                    <a:moveTo>
                      <a:pt x="678" y="738"/>
                    </a:moveTo>
                    <a:cubicBezTo>
                      <a:pt x="672" y="738"/>
                      <a:pt x="666" y="743"/>
                      <a:pt x="666" y="750"/>
                    </a:cubicBezTo>
                    <a:cubicBezTo>
                      <a:pt x="666" y="757"/>
                      <a:pt x="672" y="762"/>
                      <a:pt x="678" y="762"/>
                    </a:cubicBezTo>
                    <a:cubicBezTo>
                      <a:pt x="685" y="762"/>
                      <a:pt x="691" y="757"/>
                      <a:pt x="691" y="750"/>
                    </a:cubicBezTo>
                    <a:cubicBezTo>
                      <a:pt x="691" y="743"/>
                      <a:pt x="685" y="738"/>
                      <a:pt x="678" y="738"/>
                    </a:cubicBezTo>
                    <a:close/>
                    <a:moveTo>
                      <a:pt x="678" y="707"/>
                    </a:moveTo>
                    <a:cubicBezTo>
                      <a:pt x="672" y="707"/>
                      <a:pt x="666" y="713"/>
                      <a:pt x="666" y="719"/>
                    </a:cubicBezTo>
                    <a:cubicBezTo>
                      <a:pt x="666" y="726"/>
                      <a:pt x="672" y="731"/>
                      <a:pt x="678" y="731"/>
                    </a:cubicBezTo>
                    <a:cubicBezTo>
                      <a:pt x="685" y="731"/>
                      <a:pt x="691" y="726"/>
                      <a:pt x="691" y="719"/>
                    </a:cubicBezTo>
                    <a:cubicBezTo>
                      <a:pt x="691" y="713"/>
                      <a:pt x="685" y="707"/>
                      <a:pt x="678" y="707"/>
                    </a:cubicBezTo>
                    <a:close/>
                    <a:moveTo>
                      <a:pt x="678" y="799"/>
                    </a:moveTo>
                    <a:cubicBezTo>
                      <a:pt x="672" y="799"/>
                      <a:pt x="666" y="805"/>
                      <a:pt x="666" y="812"/>
                    </a:cubicBezTo>
                    <a:cubicBezTo>
                      <a:pt x="666" y="818"/>
                      <a:pt x="672" y="824"/>
                      <a:pt x="678" y="824"/>
                    </a:cubicBezTo>
                    <a:cubicBezTo>
                      <a:pt x="685" y="824"/>
                      <a:pt x="691" y="818"/>
                      <a:pt x="691" y="812"/>
                    </a:cubicBezTo>
                    <a:cubicBezTo>
                      <a:pt x="691" y="805"/>
                      <a:pt x="685" y="799"/>
                      <a:pt x="678" y="799"/>
                    </a:cubicBezTo>
                    <a:close/>
                    <a:moveTo>
                      <a:pt x="713" y="676"/>
                    </a:moveTo>
                    <a:cubicBezTo>
                      <a:pt x="707" y="676"/>
                      <a:pt x="701" y="682"/>
                      <a:pt x="701" y="689"/>
                    </a:cubicBezTo>
                    <a:cubicBezTo>
                      <a:pt x="701" y="695"/>
                      <a:pt x="707" y="701"/>
                      <a:pt x="713" y="701"/>
                    </a:cubicBezTo>
                    <a:cubicBezTo>
                      <a:pt x="720" y="701"/>
                      <a:pt x="726" y="695"/>
                      <a:pt x="726" y="689"/>
                    </a:cubicBezTo>
                    <a:cubicBezTo>
                      <a:pt x="726" y="682"/>
                      <a:pt x="720" y="676"/>
                      <a:pt x="713" y="676"/>
                    </a:cubicBezTo>
                    <a:close/>
                    <a:moveTo>
                      <a:pt x="713" y="769"/>
                    </a:moveTo>
                    <a:cubicBezTo>
                      <a:pt x="707" y="769"/>
                      <a:pt x="701" y="774"/>
                      <a:pt x="701" y="781"/>
                    </a:cubicBezTo>
                    <a:cubicBezTo>
                      <a:pt x="701" y="787"/>
                      <a:pt x="707" y="793"/>
                      <a:pt x="713" y="793"/>
                    </a:cubicBezTo>
                    <a:cubicBezTo>
                      <a:pt x="720" y="793"/>
                      <a:pt x="726" y="787"/>
                      <a:pt x="726" y="781"/>
                    </a:cubicBezTo>
                    <a:cubicBezTo>
                      <a:pt x="726" y="774"/>
                      <a:pt x="720" y="769"/>
                      <a:pt x="713" y="769"/>
                    </a:cubicBezTo>
                    <a:close/>
                    <a:moveTo>
                      <a:pt x="713" y="646"/>
                    </a:moveTo>
                    <a:cubicBezTo>
                      <a:pt x="707" y="646"/>
                      <a:pt x="701" y="651"/>
                      <a:pt x="701" y="658"/>
                    </a:cubicBezTo>
                    <a:cubicBezTo>
                      <a:pt x="701" y="665"/>
                      <a:pt x="707" y="670"/>
                      <a:pt x="713" y="670"/>
                    </a:cubicBezTo>
                    <a:cubicBezTo>
                      <a:pt x="720" y="670"/>
                      <a:pt x="726" y="665"/>
                      <a:pt x="726" y="658"/>
                    </a:cubicBezTo>
                    <a:cubicBezTo>
                      <a:pt x="726" y="651"/>
                      <a:pt x="720" y="646"/>
                      <a:pt x="713" y="646"/>
                    </a:cubicBezTo>
                    <a:close/>
                    <a:moveTo>
                      <a:pt x="713" y="738"/>
                    </a:moveTo>
                    <a:cubicBezTo>
                      <a:pt x="707" y="738"/>
                      <a:pt x="701" y="743"/>
                      <a:pt x="701" y="750"/>
                    </a:cubicBezTo>
                    <a:cubicBezTo>
                      <a:pt x="701" y="757"/>
                      <a:pt x="707" y="762"/>
                      <a:pt x="713" y="762"/>
                    </a:cubicBezTo>
                    <a:cubicBezTo>
                      <a:pt x="720" y="762"/>
                      <a:pt x="726" y="757"/>
                      <a:pt x="726" y="750"/>
                    </a:cubicBezTo>
                    <a:cubicBezTo>
                      <a:pt x="726" y="743"/>
                      <a:pt x="720" y="738"/>
                      <a:pt x="713" y="738"/>
                    </a:cubicBezTo>
                    <a:close/>
                    <a:moveTo>
                      <a:pt x="713" y="799"/>
                    </a:moveTo>
                    <a:cubicBezTo>
                      <a:pt x="707" y="799"/>
                      <a:pt x="701" y="805"/>
                      <a:pt x="701" y="812"/>
                    </a:cubicBezTo>
                    <a:cubicBezTo>
                      <a:pt x="701" y="818"/>
                      <a:pt x="707" y="824"/>
                      <a:pt x="713" y="824"/>
                    </a:cubicBezTo>
                    <a:cubicBezTo>
                      <a:pt x="720" y="824"/>
                      <a:pt x="726" y="818"/>
                      <a:pt x="726" y="812"/>
                    </a:cubicBezTo>
                    <a:cubicBezTo>
                      <a:pt x="726" y="805"/>
                      <a:pt x="720" y="799"/>
                      <a:pt x="713" y="799"/>
                    </a:cubicBezTo>
                    <a:close/>
                    <a:moveTo>
                      <a:pt x="713" y="461"/>
                    </a:moveTo>
                    <a:cubicBezTo>
                      <a:pt x="707" y="461"/>
                      <a:pt x="701" y="467"/>
                      <a:pt x="701" y="473"/>
                    </a:cubicBezTo>
                    <a:cubicBezTo>
                      <a:pt x="701" y="480"/>
                      <a:pt x="707" y="486"/>
                      <a:pt x="713" y="486"/>
                    </a:cubicBezTo>
                    <a:cubicBezTo>
                      <a:pt x="720" y="486"/>
                      <a:pt x="726" y="480"/>
                      <a:pt x="726" y="473"/>
                    </a:cubicBezTo>
                    <a:cubicBezTo>
                      <a:pt x="726" y="467"/>
                      <a:pt x="720" y="461"/>
                      <a:pt x="713" y="461"/>
                    </a:cubicBezTo>
                    <a:close/>
                    <a:moveTo>
                      <a:pt x="713" y="430"/>
                    </a:moveTo>
                    <a:cubicBezTo>
                      <a:pt x="707" y="430"/>
                      <a:pt x="701" y="436"/>
                      <a:pt x="701" y="443"/>
                    </a:cubicBezTo>
                    <a:cubicBezTo>
                      <a:pt x="701" y="449"/>
                      <a:pt x="707" y="455"/>
                      <a:pt x="713" y="455"/>
                    </a:cubicBezTo>
                    <a:cubicBezTo>
                      <a:pt x="720" y="455"/>
                      <a:pt x="726" y="449"/>
                      <a:pt x="726" y="443"/>
                    </a:cubicBezTo>
                    <a:cubicBezTo>
                      <a:pt x="726" y="436"/>
                      <a:pt x="720" y="430"/>
                      <a:pt x="713" y="430"/>
                    </a:cubicBezTo>
                    <a:close/>
                    <a:moveTo>
                      <a:pt x="713" y="492"/>
                    </a:moveTo>
                    <a:cubicBezTo>
                      <a:pt x="707" y="492"/>
                      <a:pt x="701" y="497"/>
                      <a:pt x="701" y="504"/>
                    </a:cubicBezTo>
                    <a:cubicBezTo>
                      <a:pt x="701" y="511"/>
                      <a:pt x="707" y="516"/>
                      <a:pt x="713" y="516"/>
                    </a:cubicBezTo>
                    <a:cubicBezTo>
                      <a:pt x="720" y="516"/>
                      <a:pt x="726" y="511"/>
                      <a:pt x="726" y="504"/>
                    </a:cubicBezTo>
                    <a:cubicBezTo>
                      <a:pt x="726" y="497"/>
                      <a:pt x="720" y="492"/>
                      <a:pt x="713" y="492"/>
                    </a:cubicBezTo>
                    <a:close/>
                    <a:moveTo>
                      <a:pt x="713" y="523"/>
                    </a:moveTo>
                    <a:cubicBezTo>
                      <a:pt x="707" y="523"/>
                      <a:pt x="701" y="528"/>
                      <a:pt x="701" y="535"/>
                    </a:cubicBezTo>
                    <a:cubicBezTo>
                      <a:pt x="701" y="542"/>
                      <a:pt x="707" y="547"/>
                      <a:pt x="713" y="547"/>
                    </a:cubicBezTo>
                    <a:cubicBezTo>
                      <a:pt x="720" y="547"/>
                      <a:pt x="726" y="542"/>
                      <a:pt x="726" y="535"/>
                    </a:cubicBezTo>
                    <a:cubicBezTo>
                      <a:pt x="726" y="528"/>
                      <a:pt x="720" y="523"/>
                      <a:pt x="713" y="523"/>
                    </a:cubicBezTo>
                    <a:close/>
                    <a:moveTo>
                      <a:pt x="713" y="707"/>
                    </a:moveTo>
                    <a:cubicBezTo>
                      <a:pt x="707" y="707"/>
                      <a:pt x="701" y="713"/>
                      <a:pt x="701" y="719"/>
                    </a:cubicBezTo>
                    <a:cubicBezTo>
                      <a:pt x="701" y="726"/>
                      <a:pt x="707" y="731"/>
                      <a:pt x="713" y="731"/>
                    </a:cubicBezTo>
                    <a:cubicBezTo>
                      <a:pt x="720" y="731"/>
                      <a:pt x="726" y="726"/>
                      <a:pt x="726" y="719"/>
                    </a:cubicBezTo>
                    <a:cubicBezTo>
                      <a:pt x="726" y="713"/>
                      <a:pt x="720" y="707"/>
                      <a:pt x="713" y="707"/>
                    </a:cubicBezTo>
                    <a:close/>
                    <a:moveTo>
                      <a:pt x="713" y="922"/>
                    </a:moveTo>
                    <a:cubicBezTo>
                      <a:pt x="707" y="922"/>
                      <a:pt x="701" y="928"/>
                      <a:pt x="701" y="934"/>
                    </a:cubicBezTo>
                    <a:cubicBezTo>
                      <a:pt x="701" y="941"/>
                      <a:pt x="707" y="947"/>
                      <a:pt x="713" y="947"/>
                    </a:cubicBezTo>
                    <a:cubicBezTo>
                      <a:pt x="720" y="947"/>
                      <a:pt x="726" y="941"/>
                      <a:pt x="726" y="934"/>
                    </a:cubicBezTo>
                    <a:cubicBezTo>
                      <a:pt x="726" y="928"/>
                      <a:pt x="720" y="922"/>
                      <a:pt x="713" y="922"/>
                    </a:cubicBezTo>
                    <a:close/>
                    <a:moveTo>
                      <a:pt x="713" y="892"/>
                    </a:moveTo>
                    <a:cubicBezTo>
                      <a:pt x="707" y="892"/>
                      <a:pt x="701" y="897"/>
                      <a:pt x="701" y="904"/>
                    </a:cubicBezTo>
                    <a:cubicBezTo>
                      <a:pt x="701" y="910"/>
                      <a:pt x="707" y="916"/>
                      <a:pt x="713" y="916"/>
                    </a:cubicBezTo>
                    <a:cubicBezTo>
                      <a:pt x="720" y="916"/>
                      <a:pt x="726" y="910"/>
                      <a:pt x="726" y="904"/>
                    </a:cubicBezTo>
                    <a:cubicBezTo>
                      <a:pt x="726" y="897"/>
                      <a:pt x="720" y="892"/>
                      <a:pt x="713" y="892"/>
                    </a:cubicBezTo>
                    <a:close/>
                    <a:moveTo>
                      <a:pt x="713" y="861"/>
                    </a:moveTo>
                    <a:cubicBezTo>
                      <a:pt x="707" y="861"/>
                      <a:pt x="701" y="866"/>
                      <a:pt x="701" y="873"/>
                    </a:cubicBezTo>
                    <a:cubicBezTo>
                      <a:pt x="701" y="880"/>
                      <a:pt x="707" y="885"/>
                      <a:pt x="713" y="885"/>
                    </a:cubicBezTo>
                    <a:cubicBezTo>
                      <a:pt x="720" y="885"/>
                      <a:pt x="726" y="880"/>
                      <a:pt x="726" y="873"/>
                    </a:cubicBezTo>
                    <a:cubicBezTo>
                      <a:pt x="726" y="866"/>
                      <a:pt x="720" y="861"/>
                      <a:pt x="713" y="861"/>
                    </a:cubicBezTo>
                    <a:close/>
                    <a:moveTo>
                      <a:pt x="713" y="830"/>
                    </a:moveTo>
                    <a:cubicBezTo>
                      <a:pt x="707" y="830"/>
                      <a:pt x="701" y="836"/>
                      <a:pt x="701" y="842"/>
                    </a:cubicBezTo>
                    <a:cubicBezTo>
                      <a:pt x="701" y="849"/>
                      <a:pt x="707" y="854"/>
                      <a:pt x="713" y="854"/>
                    </a:cubicBezTo>
                    <a:cubicBezTo>
                      <a:pt x="720" y="854"/>
                      <a:pt x="726" y="849"/>
                      <a:pt x="726" y="842"/>
                    </a:cubicBezTo>
                    <a:cubicBezTo>
                      <a:pt x="726" y="836"/>
                      <a:pt x="720" y="830"/>
                      <a:pt x="713" y="830"/>
                    </a:cubicBezTo>
                    <a:close/>
                    <a:moveTo>
                      <a:pt x="643" y="799"/>
                    </a:moveTo>
                    <a:cubicBezTo>
                      <a:pt x="637" y="799"/>
                      <a:pt x="631" y="805"/>
                      <a:pt x="631" y="812"/>
                    </a:cubicBezTo>
                    <a:cubicBezTo>
                      <a:pt x="631" y="818"/>
                      <a:pt x="637" y="824"/>
                      <a:pt x="643" y="824"/>
                    </a:cubicBezTo>
                    <a:cubicBezTo>
                      <a:pt x="650" y="824"/>
                      <a:pt x="656" y="818"/>
                      <a:pt x="656" y="812"/>
                    </a:cubicBezTo>
                    <a:cubicBezTo>
                      <a:pt x="656" y="805"/>
                      <a:pt x="650" y="799"/>
                      <a:pt x="643" y="799"/>
                    </a:cubicBezTo>
                    <a:close/>
                    <a:moveTo>
                      <a:pt x="643" y="861"/>
                    </a:moveTo>
                    <a:cubicBezTo>
                      <a:pt x="637" y="861"/>
                      <a:pt x="631" y="866"/>
                      <a:pt x="631" y="873"/>
                    </a:cubicBezTo>
                    <a:cubicBezTo>
                      <a:pt x="631" y="880"/>
                      <a:pt x="637" y="885"/>
                      <a:pt x="643" y="885"/>
                    </a:cubicBezTo>
                    <a:cubicBezTo>
                      <a:pt x="650" y="885"/>
                      <a:pt x="656" y="880"/>
                      <a:pt x="656" y="873"/>
                    </a:cubicBezTo>
                    <a:cubicBezTo>
                      <a:pt x="656" y="866"/>
                      <a:pt x="650" y="861"/>
                      <a:pt x="643" y="861"/>
                    </a:cubicBezTo>
                    <a:close/>
                    <a:moveTo>
                      <a:pt x="643" y="769"/>
                    </a:moveTo>
                    <a:cubicBezTo>
                      <a:pt x="637" y="769"/>
                      <a:pt x="631" y="774"/>
                      <a:pt x="631" y="781"/>
                    </a:cubicBezTo>
                    <a:cubicBezTo>
                      <a:pt x="631" y="787"/>
                      <a:pt x="637" y="793"/>
                      <a:pt x="643" y="793"/>
                    </a:cubicBezTo>
                    <a:cubicBezTo>
                      <a:pt x="650" y="793"/>
                      <a:pt x="656" y="787"/>
                      <a:pt x="656" y="781"/>
                    </a:cubicBezTo>
                    <a:cubicBezTo>
                      <a:pt x="656" y="774"/>
                      <a:pt x="650" y="769"/>
                      <a:pt x="643" y="769"/>
                    </a:cubicBezTo>
                    <a:close/>
                    <a:moveTo>
                      <a:pt x="643" y="830"/>
                    </a:moveTo>
                    <a:cubicBezTo>
                      <a:pt x="637" y="830"/>
                      <a:pt x="631" y="836"/>
                      <a:pt x="631" y="842"/>
                    </a:cubicBezTo>
                    <a:cubicBezTo>
                      <a:pt x="631" y="849"/>
                      <a:pt x="637" y="854"/>
                      <a:pt x="643" y="854"/>
                    </a:cubicBezTo>
                    <a:cubicBezTo>
                      <a:pt x="650" y="854"/>
                      <a:pt x="656" y="849"/>
                      <a:pt x="656" y="842"/>
                    </a:cubicBezTo>
                    <a:cubicBezTo>
                      <a:pt x="656" y="836"/>
                      <a:pt x="650" y="830"/>
                      <a:pt x="643" y="830"/>
                    </a:cubicBezTo>
                    <a:close/>
                    <a:moveTo>
                      <a:pt x="643" y="738"/>
                    </a:moveTo>
                    <a:cubicBezTo>
                      <a:pt x="637" y="738"/>
                      <a:pt x="631" y="743"/>
                      <a:pt x="631" y="750"/>
                    </a:cubicBezTo>
                    <a:cubicBezTo>
                      <a:pt x="631" y="757"/>
                      <a:pt x="637" y="762"/>
                      <a:pt x="643" y="762"/>
                    </a:cubicBezTo>
                    <a:cubicBezTo>
                      <a:pt x="650" y="762"/>
                      <a:pt x="656" y="757"/>
                      <a:pt x="656" y="750"/>
                    </a:cubicBezTo>
                    <a:cubicBezTo>
                      <a:pt x="656" y="743"/>
                      <a:pt x="650" y="738"/>
                      <a:pt x="643" y="738"/>
                    </a:cubicBezTo>
                    <a:close/>
                    <a:moveTo>
                      <a:pt x="643" y="707"/>
                    </a:moveTo>
                    <a:cubicBezTo>
                      <a:pt x="637" y="707"/>
                      <a:pt x="631" y="713"/>
                      <a:pt x="631" y="719"/>
                    </a:cubicBezTo>
                    <a:cubicBezTo>
                      <a:pt x="631" y="726"/>
                      <a:pt x="637" y="731"/>
                      <a:pt x="643" y="731"/>
                    </a:cubicBezTo>
                    <a:cubicBezTo>
                      <a:pt x="650" y="731"/>
                      <a:pt x="656" y="726"/>
                      <a:pt x="656" y="719"/>
                    </a:cubicBezTo>
                    <a:cubicBezTo>
                      <a:pt x="656" y="713"/>
                      <a:pt x="650" y="707"/>
                      <a:pt x="643" y="707"/>
                    </a:cubicBezTo>
                    <a:close/>
                    <a:moveTo>
                      <a:pt x="643" y="646"/>
                    </a:moveTo>
                    <a:cubicBezTo>
                      <a:pt x="637" y="646"/>
                      <a:pt x="631" y="651"/>
                      <a:pt x="631" y="658"/>
                    </a:cubicBezTo>
                    <a:cubicBezTo>
                      <a:pt x="631" y="665"/>
                      <a:pt x="637" y="670"/>
                      <a:pt x="643" y="670"/>
                    </a:cubicBezTo>
                    <a:cubicBezTo>
                      <a:pt x="650" y="670"/>
                      <a:pt x="656" y="665"/>
                      <a:pt x="656" y="658"/>
                    </a:cubicBezTo>
                    <a:cubicBezTo>
                      <a:pt x="656" y="651"/>
                      <a:pt x="650" y="646"/>
                      <a:pt x="643" y="646"/>
                    </a:cubicBezTo>
                    <a:close/>
                    <a:moveTo>
                      <a:pt x="643" y="615"/>
                    </a:moveTo>
                    <a:cubicBezTo>
                      <a:pt x="637" y="615"/>
                      <a:pt x="631" y="620"/>
                      <a:pt x="631" y="627"/>
                    </a:cubicBezTo>
                    <a:cubicBezTo>
                      <a:pt x="631" y="634"/>
                      <a:pt x="637" y="639"/>
                      <a:pt x="643" y="639"/>
                    </a:cubicBezTo>
                    <a:cubicBezTo>
                      <a:pt x="650" y="639"/>
                      <a:pt x="656" y="634"/>
                      <a:pt x="656" y="627"/>
                    </a:cubicBezTo>
                    <a:cubicBezTo>
                      <a:pt x="656" y="620"/>
                      <a:pt x="650" y="615"/>
                      <a:pt x="643" y="615"/>
                    </a:cubicBezTo>
                    <a:close/>
                    <a:moveTo>
                      <a:pt x="643" y="584"/>
                    </a:moveTo>
                    <a:cubicBezTo>
                      <a:pt x="637" y="584"/>
                      <a:pt x="631" y="590"/>
                      <a:pt x="631" y="596"/>
                    </a:cubicBezTo>
                    <a:cubicBezTo>
                      <a:pt x="631" y="603"/>
                      <a:pt x="637" y="608"/>
                      <a:pt x="643" y="608"/>
                    </a:cubicBezTo>
                    <a:cubicBezTo>
                      <a:pt x="650" y="608"/>
                      <a:pt x="656" y="603"/>
                      <a:pt x="656" y="596"/>
                    </a:cubicBezTo>
                    <a:cubicBezTo>
                      <a:pt x="656" y="590"/>
                      <a:pt x="650" y="584"/>
                      <a:pt x="643" y="584"/>
                    </a:cubicBezTo>
                    <a:close/>
                    <a:moveTo>
                      <a:pt x="643" y="676"/>
                    </a:moveTo>
                    <a:cubicBezTo>
                      <a:pt x="637" y="676"/>
                      <a:pt x="631" y="682"/>
                      <a:pt x="631" y="689"/>
                    </a:cubicBezTo>
                    <a:cubicBezTo>
                      <a:pt x="631" y="695"/>
                      <a:pt x="637" y="701"/>
                      <a:pt x="643" y="701"/>
                    </a:cubicBezTo>
                    <a:cubicBezTo>
                      <a:pt x="650" y="701"/>
                      <a:pt x="656" y="695"/>
                      <a:pt x="656" y="689"/>
                    </a:cubicBezTo>
                    <a:cubicBezTo>
                      <a:pt x="656" y="682"/>
                      <a:pt x="650" y="676"/>
                      <a:pt x="643" y="676"/>
                    </a:cubicBezTo>
                    <a:close/>
                    <a:moveTo>
                      <a:pt x="643" y="430"/>
                    </a:moveTo>
                    <a:cubicBezTo>
                      <a:pt x="637" y="430"/>
                      <a:pt x="631" y="436"/>
                      <a:pt x="631" y="443"/>
                    </a:cubicBezTo>
                    <a:cubicBezTo>
                      <a:pt x="631" y="449"/>
                      <a:pt x="637" y="455"/>
                      <a:pt x="643" y="455"/>
                    </a:cubicBezTo>
                    <a:cubicBezTo>
                      <a:pt x="650" y="455"/>
                      <a:pt x="656" y="449"/>
                      <a:pt x="656" y="443"/>
                    </a:cubicBezTo>
                    <a:cubicBezTo>
                      <a:pt x="656" y="436"/>
                      <a:pt x="650" y="430"/>
                      <a:pt x="643" y="430"/>
                    </a:cubicBezTo>
                    <a:close/>
                    <a:moveTo>
                      <a:pt x="118" y="62"/>
                    </a:moveTo>
                    <a:cubicBezTo>
                      <a:pt x="111" y="62"/>
                      <a:pt x="106" y="67"/>
                      <a:pt x="106" y="74"/>
                    </a:cubicBezTo>
                    <a:cubicBezTo>
                      <a:pt x="106" y="80"/>
                      <a:pt x="111" y="86"/>
                      <a:pt x="118" y="86"/>
                    </a:cubicBezTo>
                    <a:cubicBezTo>
                      <a:pt x="124" y="86"/>
                      <a:pt x="130" y="80"/>
                      <a:pt x="130" y="74"/>
                    </a:cubicBezTo>
                    <a:cubicBezTo>
                      <a:pt x="130" y="67"/>
                      <a:pt x="124" y="62"/>
                      <a:pt x="118" y="62"/>
                    </a:cubicBezTo>
                    <a:close/>
                    <a:moveTo>
                      <a:pt x="118" y="31"/>
                    </a:moveTo>
                    <a:cubicBezTo>
                      <a:pt x="111" y="31"/>
                      <a:pt x="106" y="36"/>
                      <a:pt x="106" y="43"/>
                    </a:cubicBezTo>
                    <a:cubicBezTo>
                      <a:pt x="106" y="50"/>
                      <a:pt x="111" y="55"/>
                      <a:pt x="118" y="55"/>
                    </a:cubicBezTo>
                    <a:cubicBezTo>
                      <a:pt x="124" y="55"/>
                      <a:pt x="130" y="50"/>
                      <a:pt x="130" y="43"/>
                    </a:cubicBezTo>
                    <a:cubicBezTo>
                      <a:pt x="130" y="36"/>
                      <a:pt x="124" y="31"/>
                      <a:pt x="118" y="31"/>
                    </a:cubicBezTo>
                    <a:close/>
                    <a:moveTo>
                      <a:pt x="223" y="62"/>
                    </a:moveTo>
                    <a:cubicBezTo>
                      <a:pt x="216" y="62"/>
                      <a:pt x="211" y="67"/>
                      <a:pt x="211" y="74"/>
                    </a:cubicBezTo>
                    <a:cubicBezTo>
                      <a:pt x="211" y="80"/>
                      <a:pt x="216" y="86"/>
                      <a:pt x="223" y="86"/>
                    </a:cubicBezTo>
                    <a:cubicBezTo>
                      <a:pt x="230" y="86"/>
                      <a:pt x="235" y="80"/>
                      <a:pt x="235" y="74"/>
                    </a:cubicBezTo>
                    <a:cubicBezTo>
                      <a:pt x="235" y="67"/>
                      <a:pt x="230" y="62"/>
                      <a:pt x="223" y="62"/>
                    </a:cubicBezTo>
                    <a:close/>
                    <a:moveTo>
                      <a:pt x="188" y="123"/>
                    </a:moveTo>
                    <a:cubicBezTo>
                      <a:pt x="181" y="123"/>
                      <a:pt x="176" y="128"/>
                      <a:pt x="176" y="135"/>
                    </a:cubicBezTo>
                    <a:cubicBezTo>
                      <a:pt x="176" y="142"/>
                      <a:pt x="181" y="147"/>
                      <a:pt x="188" y="147"/>
                    </a:cubicBezTo>
                    <a:cubicBezTo>
                      <a:pt x="195" y="147"/>
                      <a:pt x="200" y="142"/>
                      <a:pt x="200" y="135"/>
                    </a:cubicBezTo>
                    <a:cubicBezTo>
                      <a:pt x="200" y="128"/>
                      <a:pt x="195" y="123"/>
                      <a:pt x="188" y="123"/>
                    </a:cubicBezTo>
                    <a:close/>
                    <a:moveTo>
                      <a:pt x="258" y="0"/>
                    </a:moveTo>
                    <a:cubicBezTo>
                      <a:pt x="251" y="0"/>
                      <a:pt x="246" y="5"/>
                      <a:pt x="246" y="12"/>
                    </a:cubicBezTo>
                    <a:cubicBezTo>
                      <a:pt x="246" y="19"/>
                      <a:pt x="251" y="24"/>
                      <a:pt x="258" y="24"/>
                    </a:cubicBezTo>
                    <a:cubicBezTo>
                      <a:pt x="265" y="24"/>
                      <a:pt x="270" y="19"/>
                      <a:pt x="270" y="12"/>
                    </a:cubicBezTo>
                    <a:cubicBezTo>
                      <a:pt x="270" y="5"/>
                      <a:pt x="265" y="0"/>
                      <a:pt x="258" y="0"/>
                    </a:cubicBezTo>
                    <a:close/>
                    <a:moveTo>
                      <a:pt x="13" y="277"/>
                    </a:moveTo>
                    <a:cubicBezTo>
                      <a:pt x="6" y="277"/>
                      <a:pt x="0" y="282"/>
                      <a:pt x="0" y="289"/>
                    </a:cubicBezTo>
                    <a:cubicBezTo>
                      <a:pt x="0" y="296"/>
                      <a:pt x="6" y="301"/>
                      <a:pt x="13" y="301"/>
                    </a:cubicBezTo>
                    <a:cubicBezTo>
                      <a:pt x="19" y="301"/>
                      <a:pt x="25" y="296"/>
                      <a:pt x="25" y="289"/>
                    </a:cubicBezTo>
                    <a:cubicBezTo>
                      <a:pt x="25" y="282"/>
                      <a:pt x="19" y="277"/>
                      <a:pt x="13" y="277"/>
                    </a:cubicBezTo>
                    <a:close/>
                    <a:moveTo>
                      <a:pt x="13" y="246"/>
                    </a:moveTo>
                    <a:cubicBezTo>
                      <a:pt x="6" y="246"/>
                      <a:pt x="0" y="251"/>
                      <a:pt x="0" y="258"/>
                    </a:cubicBezTo>
                    <a:cubicBezTo>
                      <a:pt x="0" y="265"/>
                      <a:pt x="6" y="270"/>
                      <a:pt x="13" y="270"/>
                    </a:cubicBezTo>
                    <a:cubicBezTo>
                      <a:pt x="19" y="270"/>
                      <a:pt x="25" y="265"/>
                      <a:pt x="25" y="258"/>
                    </a:cubicBezTo>
                    <a:cubicBezTo>
                      <a:pt x="25" y="251"/>
                      <a:pt x="19" y="246"/>
                      <a:pt x="13" y="246"/>
                    </a:cubicBezTo>
                    <a:close/>
                  </a:path>
                </a:pathLst>
              </a:custGeom>
              <a:solidFill>
                <a:srgbClr val="FFFFFF"/>
              </a:solidFill>
              <a:ln>
                <a:noFill/>
              </a:ln>
              <a:extLst/>
            </p:spPr>
            <p:txBody>
              <a:bodyPr/>
              <a:lstStyle/>
              <a:p>
                <a:pPr>
                  <a:spcBef>
                    <a:spcPct val="50000"/>
                  </a:spcBef>
                  <a:defRPr/>
                </a:pPr>
                <a:endParaRPr lang="en-US">
                  <a:solidFill>
                    <a:srgbClr val="00A9D4"/>
                  </a:solidFill>
                  <a:latin typeface="Arial" charset="0"/>
                  <a:cs typeface="Arial" pitchFamily="34" charset="0"/>
                </a:endParaRPr>
              </a:p>
            </p:txBody>
          </p:sp>
          <p:sp>
            <p:nvSpPr>
              <p:cNvPr id="51" name="Freeform 14"/>
              <p:cNvSpPr>
                <a:spLocks noChangeAspect="1" noEditPoints="1"/>
              </p:cNvSpPr>
              <p:nvPr/>
            </p:nvSpPr>
            <p:spPr bwMode="auto">
              <a:xfrm>
                <a:off x="2744788" y="1365250"/>
                <a:ext cx="6075362" cy="1530350"/>
              </a:xfrm>
              <a:custGeom>
                <a:avLst/>
                <a:gdLst>
                  <a:gd name="T0" fmla="*/ 2147483647 w 3143"/>
                  <a:gd name="T1" fmla="*/ 2147483647 h 793"/>
                  <a:gd name="T2" fmla="*/ 2147483647 w 3143"/>
                  <a:gd name="T3" fmla="*/ 2147483647 h 793"/>
                  <a:gd name="T4" fmla="*/ 2147483647 w 3143"/>
                  <a:gd name="T5" fmla="*/ 2147483647 h 793"/>
                  <a:gd name="T6" fmla="*/ 2147483647 w 3143"/>
                  <a:gd name="T7" fmla="*/ 2147483647 h 793"/>
                  <a:gd name="T8" fmla="*/ 2147483647 w 3143"/>
                  <a:gd name="T9" fmla="*/ 2147483647 h 793"/>
                  <a:gd name="T10" fmla="*/ 2147483647 w 3143"/>
                  <a:gd name="T11" fmla="*/ 2147483647 h 793"/>
                  <a:gd name="T12" fmla="*/ 2147483647 w 3143"/>
                  <a:gd name="T13" fmla="*/ 2147483647 h 793"/>
                  <a:gd name="T14" fmla="*/ 2147483647 w 3143"/>
                  <a:gd name="T15" fmla="*/ 2147483647 h 793"/>
                  <a:gd name="T16" fmla="*/ 2147483647 w 3143"/>
                  <a:gd name="T17" fmla="*/ 2147483647 h 793"/>
                  <a:gd name="T18" fmla="*/ 2147483647 w 3143"/>
                  <a:gd name="T19" fmla="*/ 2147483647 h 793"/>
                  <a:gd name="T20" fmla="*/ 2147483647 w 3143"/>
                  <a:gd name="T21" fmla="*/ 2147483647 h 793"/>
                  <a:gd name="T22" fmla="*/ 2147483647 w 3143"/>
                  <a:gd name="T23" fmla="*/ 2147483647 h 793"/>
                  <a:gd name="T24" fmla="*/ 2147483647 w 3143"/>
                  <a:gd name="T25" fmla="*/ 2147483647 h 793"/>
                  <a:gd name="T26" fmla="*/ 2147483647 w 3143"/>
                  <a:gd name="T27" fmla="*/ 2147483647 h 793"/>
                  <a:gd name="T28" fmla="*/ 2147483647 w 3143"/>
                  <a:gd name="T29" fmla="*/ 2147483647 h 793"/>
                  <a:gd name="T30" fmla="*/ 2147483647 w 3143"/>
                  <a:gd name="T31" fmla="*/ 2147483647 h 793"/>
                  <a:gd name="T32" fmla="*/ 2147483647 w 3143"/>
                  <a:gd name="T33" fmla="*/ 2147483647 h 793"/>
                  <a:gd name="T34" fmla="*/ 2147483647 w 3143"/>
                  <a:gd name="T35" fmla="*/ 2147483647 h 793"/>
                  <a:gd name="T36" fmla="*/ 2147483647 w 3143"/>
                  <a:gd name="T37" fmla="*/ 2147483647 h 793"/>
                  <a:gd name="T38" fmla="*/ 2147483647 w 3143"/>
                  <a:gd name="T39" fmla="*/ 2147483647 h 793"/>
                  <a:gd name="T40" fmla="*/ 2147483647 w 3143"/>
                  <a:gd name="T41" fmla="*/ 2147483647 h 793"/>
                  <a:gd name="T42" fmla="*/ 2147483647 w 3143"/>
                  <a:gd name="T43" fmla="*/ 2147483647 h 793"/>
                  <a:gd name="T44" fmla="*/ 2147483647 w 3143"/>
                  <a:gd name="T45" fmla="*/ 2147483647 h 793"/>
                  <a:gd name="T46" fmla="*/ 2147483647 w 3143"/>
                  <a:gd name="T47" fmla="*/ 2147483647 h 793"/>
                  <a:gd name="T48" fmla="*/ 2147483647 w 3143"/>
                  <a:gd name="T49" fmla="*/ 2147483647 h 793"/>
                  <a:gd name="T50" fmla="*/ 2147483647 w 3143"/>
                  <a:gd name="T51" fmla="*/ 2147483647 h 793"/>
                  <a:gd name="T52" fmla="*/ 2147483647 w 3143"/>
                  <a:gd name="T53" fmla="*/ 2147483647 h 793"/>
                  <a:gd name="T54" fmla="*/ 2147483647 w 3143"/>
                  <a:gd name="T55" fmla="*/ 2147483647 h 793"/>
                  <a:gd name="T56" fmla="*/ 2147483647 w 3143"/>
                  <a:gd name="T57" fmla="*/ 2147483647 h 793"/>
                  <a:gd name="T58" fmla="*/ 2147483647 w 3143"/>
                  <a:gd name="T59" fmla="*/ 2147483647 h 793"/>
                  <a:gd name="T60" fmla="*/ 2147483647 w 3143"/>
                  <a:gd name="T61" fmla="*/ 2147483647 h 793"/>
                  <a:gd name="T62" fmla="*/ 2147483647 w 3143"/>
                  <a:gd name="T63" fmla="*/ 2147483647 h 793"/>
                  <a:gd name="T64" fmla="*/ 2147483647 w 3143"/>
                  <a:gd name="T65" fmla="*/ 2147483647 h 793"/>
                  <a:gd name="T66" fmla="*/ 2147483647 w 3143"/>
                  <a:gd name="T67" fmla="*/ 2147483647 h 793"/>
                  <a:gd name="T68" fmla="*/ 2147483647 w 3143"/>
                  <a:gd name="T69" fmla="*/ 2147483647 h 793"/>
                  <a:gd name="T70" fmla="*/ 2147483647 w 3143"/>
                  <a:gd name="T71" fmla="*/ 2147483647 h 793"/>
                  <a:gd name="T72" fmla="*/ 2147483647 w 3143"/>
                  <a:gd name="T73" fmla="*/ 2147483647 h 793"/>
                  <a:gd name="T74" fmla="*/ 2147483647 w 3143"/>
                  <a:gd name="T75" fmla="*/ 2147483647 h 793"/>
                  <a:gd name="T76" fmla="*/ 2147483647 w 3143"/>
                  <a:gd name="T77" fmla="*/ 2147483647 h 793"/>
                  <a:gd name="T78" fmla="*/ 2147483647 w 3143"/>
                  <a:gd name="T79" fmla="*/ 2147483647 h 793"/>
                  <a:gd name="T80" fmla="*/ 2147483647 w 3143"/>
                  <a:gd name="T81" fmla="*/ 2147483647 h 793"/>
                  <a:gd name="T82" fmla="*/ 2147483647 w 3143"/>
                  <a:gd name="T83" fmla="*/ 2147483647 h 793"/>
                  <a:gd name="T84" fmla="*/ 2147483647 w 3143"/>
                  <a:gd name="T85" fmla="*/ 2147483647 h 793"/>
                  <a:gd name="T86" fmla="*/ 2147483647 w 3143"/>
                  <a:gd name="T87" fmla="*/ 2147483647 h 793"/>
                  <a:gd name="T88" fmla="*/ 2147483647 w 3143"/>
                  <a:gd name="T89" fmla="*/ 2147483647 h 793"/>
                  <a:gd name="T90" fmla="*/ 2147483647 w 3143"/>
                  <a:gd name="T91" fmla="*/ 2147483647 h 793"/>
                  <a:gd name="T92" fmla="*/ 2147483647 w 3143"/>
                  <a:gd name="T93" fmla="*/ 2147483647 h 793"/>
                  <a:gd name="T94" fmla="*/ 2147483647 w 3143"/>
                  <a:gd name="T95" fmla="*/ 2147483647 h 793"/>
                  <a:gd name="T96" fmla="*/ 2147483647 w 3143"/>
                  <a:gd name="T97" fmla="*/ 2147483647 h 793"/>
                  <a:gd name="T98" fmla="*/ 2147483647 w 3143"/>
                  <a:gd name="T99" fmla="*/ 2147483647 h 793"/>
                  <a:gd name="T100" fmla="*/ 2147483647 w 3143"/>
                  <a:gd name="T101" fmla="*/ 2147483647 h 793"/>
                  <a:gd name="T102" fmla="*/ 2147483647 w 3143"/>
                  <a:gd name="T103" fmla="*/ 2147483647 h 793"/>
                  <a:gd name="T104" fmla="*/ 2147483647 w 3143"/>
                  <a:gd name="T105" fmla="*/ 2147483647 h 793"/>
                  <a:gd name="T106" fmla="*/ 2147483647 w 3143"/>
                  <a:gd name="T107" fmla="*/ 2147483647 h 793"/>
                  <a:gd name="T108" fmla="*/ 2147483647 w 3143"/>
                  <a:gd name="T109" fmla="*/ 2147483647 h 793"/>
                  <a:gd name="T110" fmla="*/ 2147483647 w 3143"/>
                  <a:gd name="T111" fmla="*/ 2147483647 h 793"/>
                  <a:gd name="T112" fmla="*/ 2147483647 w 3143"/>
                  <a:gd name="T113" fmla="*/ 2147483647 h 793"/>
                  <a:gd name="T114" fmla="*/ 2147483647 w 3143"/>
                  <a:gd name="T115" fmla="*/ 2147483647 h 793"/>
                  <a:gd name="T116" fmla="*/ 2147483647 w 3143"/>
                  <a:gd name="T117" fmla="*/ 2147483647 h 793"/>
                  <a:gd name="T118" fmla="*/ 2147483647 w 3143"/>
                  <a:gd name="T119" fmla="*/ 2147483647 h 793"/>
                  <a:gd name="T120" fmla="*/ 2147483647 w 3143"/>
                  <a:gd name="T121" fmla="*/ 2147483647 h 793"/>
                  <a:gd name="T122" fmla="*/ 2147483647 w 3143"/>
                  <a:gd name="T123" fmla="*/ 2147483647 h 793"/>
                  <a:gd name="T124" fmla="*/ 2147483647 w 3143"/>
                  <a:gd name="T125" fmla="*/ 2147483647 h 7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143" h="793">
                    <a:moveTo>
                      <a:pt x="1835" y="646"/>
                    </a:moveTo>
                    <a:cubicBezTo>
                      <a:pt x="1828" y="646"/>
                      <a:pt x="1822" y="651"/>
                      <a:pt x="1822" y="658"/>
                    </a:cubicBezTo>
                    <a:cubicBezTo>
                      <a:pt x="1822" y="664"/>
                      <a:pt x="1828" y="670"/>
                      <a:pt x="1835" y="670"/>
                    </a:cubicBezTo>
                    <a:cubicBezTo>
                      <a:pt x="1841" y="670"/>
                      <a:pt x="1847" y="664"/>
                      <a:pt x="1847" y="658"/>
                    </a:cubicBezTo>
                    <a:cubicBezTo>
                      <a:pt x="1847" y="651"/>
                      <a:pt x="1841" y="646"/>
                      <a:pt x="1835" y="646"/>
                    </a:cubicBezTo>
                    <a:close/>
                    <a:moveTo>
                      <a:pt x="1835" y="676"/>
                    </a:moveTo>
                    <a:cubicBezTo>
                      <a:pt x="1828" y="676"/>
                      <a:pt x="1822" y="682"/>
                      <a:pt x="1822" y="689"/>
                    </a:cubicBezTo>
                    <a:cubicBezTo>
                      <a:pt x="1822" y="695"/>
                      <a:pt x="1828" y="701"/>
                      <a:pt x="1835" y="701"/>
                    </a:cubicBezTo>
                    <a:cubicBezTo>
                      <a:pt x="1841" y="701"/>
                      <a:pt x="1847" y="695"/>
                      <a:pt x="1847" y="689"/>
                    </a:cubicBezTo>
                    <a:cubicBezTo>
                      <a:pt x="1847" y="682"/>
                      <a:pt x="1841" y="676"/>
                      <a:pt x="1835" y="676"/>
                    </a:cubicBezTo>
                    <a:close/>
                    <a:moveTo>
                      <a:pt x="1835" y="707"/>
                    </a:moveTo>
                    <a:cubicBezTo>
                      <a:pt x="1828" y="707"/>
                      <a:pt x="1822" y="713"/>
                      <a:pt x="1822" y="719"/>
                    </a:cubicBezTo>
                    <a:cubicBezTo>
                      <a:pt x="1822" y="726"/>
                      <a:pt x="1828" y="731"/>
                      <a:pt x="1835" y="731"/>
                    </a:cubicBezTo>
                    <a:cubicBezTo>
                      <a:pt x="1841" y="731"/>
                      <a:pt x="1847" y="726"/>
                      <a:pt x="1847" y="719"/>
                    </a:cubicBezTo>
                    <a:cubicBezTo>
                      <a:pt x="1847" y="713"/>
                      <a:pt x="1841" y="707"/>
                      <a:pt x="1835" y="707"/>
                    </a:cubicBezTo>
                    <a:close/>
                    <a:moveTo>
                      <a:pt x="1800" y="676"/>
                    </a:moveTo>
                    <a:cubicBezTo>
                      <a:pt x="1793" y="676"/>
                      <a:pt x="1787" y="682"/>
                      <a:pt x="1787" y="689"/>
                    </a:cubicBezTo>
                    <a:cubicBezTo>
                      <a:pt x="1787" y="695"/>
                      <a:pt x="1793" y="701"/>
                      <a:pt x="1800" y="701"/>
                    </a:cubicBezTo>
                    <a:cubicBezTo>
                      <a:pt x="1806" y="701"/>
                      <a:pt x="1812" y="695"/>
                      <a:pt x="1812" y="689"/>
                    </a:cubicBezTo>
                    <a:cubicBezTo>
                      <a:pt x="1812" y="682"/>
                      <a:pt x="1806" y="676"/>
                      <a:pt x="1800" y="676"/>
                    </a:cubicBezTo>
                    <a:close/>
                    <a:moveTo>
                      <a:pt x="1870" y="553"/>
                    </a:moveTo>
                    <a:cubicBezTo>
                      <a:pt x="1863" y="553"/>
                      <a:pt x="1857" y="559"/>
                      <a:pt x="1857" y="566"/>
                    </a:cubicBezTo>
                    <a:cubicBezTo>
                      <a:pt x="1857" y="572"/>
                      <a:pt x="1863" y="578"/>
                      <a:pt x="1870" y="578"/>
                    </a:cubicBezTo>
                    <a:cubicBezTo>
                      <a:pt x="1876" y="578"/>
                      <a:pt x="1882" y="572"/>
                      <a:pt x="1882" y="566"/>
                    </a:cubicBezTo>
                    <a:cubicBezTo>
                      <a:pt x="1882" y="559"/>
                      <a:pt x="1876" y="553"/>
                      <a:pt x="1870" y="553"/>
                    </a:cubicBezTo>
                    <a:close/>
                    <a:moveTo>
                      <a:pt x="1870" y="584"/>
                    </a:moveTo>
                    <a:cubicBezTo>
                      <a:pt x="1863" y="584"/>
                      <a:pt x="1857" y="590"/>
                      <a:pt x="1857" y="596"/>
                    </a:cubicBezTo>
                    <a:cubicBezTo>
                      <a:pt x="1857" y="603"/>
                      <a:pt x="1863" y="608"/>
                      <a:pt x="1870" y="608"/>
                    </a:cubicBezTo>
                    <a:cubicBezTo>
                      <a:pt x="1876" y="608"/>
                      <a:pt x="1882" y="603"/>
                      <a:pt x="1882" y="596"/>
                    </a:cubicBezTo>
                    <a:cubicBezTo>
                      <a:pt x="1882" y="590"/>
                      <a:pt x="1876" y="584"/>
                      <a:pt x="1870" y="584"/>
                    </a:cubicBezTo>
                    <a:close/>
                    <a:moveTo>
                      <a:pt x="1870" y="646"/>
                    </a:moveTo>
                    <a:cubicBezTo>
                      <a:pt x="1863" y="646"/>
                      <a:pt x="1857" y="651"/>
                      <a:pt x="1857" y="658"/>
                    </a:cubicBezTo>
                    <a:cubicBezTo>
                      <a:pt x="1857" y="664"/>
                      <a:pt x="1863" y="670"/>
                      <a:pt x="1870" y="670"/>
                    </a:cubicBezTo>
                    <a:cubicBezTo>
                      <a:pt x="1876" y="670"/>
                      <a:pt x="1882" y="664"/>
                      <a:pt x="1882" y="658"/>
                    </a:cubicBezTo>
                    <a:cubicBezTo>
                      <a:pt x="1882" y="651"/>
                      <a:pt x="1876" y="646"/>
                      <a:pt x="1870" y="646"/>
                    </a:cubicBezTo>
                    <a:close/>
                    <a:moveTo>
                      <a:pt x="1870" y="676"/>
                    </a:moveTo>
                    <a:cubicBezTo>
                      <a:pt x="1863" y="676"/>
                      <a:pt x="1857" y="682"/>
                      <a:pt x="1857" y="689"/>
                    </a:cubicBezTo>
                    <a:cubicBezTo>
                      <a:pt x="1857" y="695"/>
                      <a:pt x="1863" y="701"/>
                      <a:pt x="1870" y="701"/>
                    </a:cubicBezTo>
                    <a:cubicBezTo>
                      <a:pt x="1876" y="701"/>
                      <a:pt x="1882" y="695"/>
                      <a:pt x="1882" y="689"/>
                    </a:cubicBezTo>
                    <a:cubicBezTo>
                      <a:pt x="1882" y="682"/>
                      <a:pt x="1876" y="676"/>
                      <a:pt x="1870" y="676"/>
                    </a:cubicBezTo>
                    <a:close/>
                    <a:moveTo>
                      <a:pt x="1870" y="707"/>
                    </a:moveTo>
                    <a:cubicBezTo>
                      <a:pt x="1863" y="707"/>
                      <a:pt x="1857" y="713"/>
                      <a:pt x="1857" y="719"/>
                    </a:cubicBezTo>
                    <a:cubicBezTo>
                      <a:pt x="1857" y="726"/>
                      <a:pt x="1863" y="731"/>
                      <a:pt x="1870" y="731"/>
                    </a:cubicBezTo>
                    <a:cubicBezTo>
                      <a:pt x="1876" y="731"/>
                      <a:pt x="1882" y="726"/>
                      <a:pt x="1882" y="719"/>
                    </a:cubicBezTo>
                    <a:cubicBezTo>
                      <a:pt x="1882" y="713"/>
                      <a:pt x="1876" y="707"/>
                      <a:pt x="1870" y="707"/>
                    </a:cubicBezTo>
                    <a:close/>
                    <a:moveTo>
                      <a:pt x="1870" y="615"/>
                    </a:moveTo>
                    <a:cubicBezTo>
                      <a:pt x="1863" y="615"/>
                      <a:pt x="1857" y="620"/>
                      <a:pt x="1857" y="627"/>
                    </a:cubicBezTo>
                    <a:cubicBezTo>
                      <a:pt x="1857" y="634"/>
                      <a:pt x="1863" y="639"/>
                      <a:pt x="1870" y="639"/>
                    </a:cubicBezTo>
                    <a:cubicBezTo>
                      <a:pt x="1876" y="639"/>
                      <a:pt x="1882" y="634"/>
                      <a:pt x="1882" y="627"/>
                    </a:cubicBezTo>
                    <a:cubicBezTo>
                      <a:pt x="1882" y="620"/>
                      <a:pt x="1876" y="615"/>
                      <a:pt x="1870" y="615"/>
                    </a:cubicBezTo>
                    <a:close/>
                    <a:moveTo>
                      <a:pt x="1905" y="676"/>
                    </a:moveTo>
                    <a:cubicBezTo>
                      <a:pt x="1898" y="676"/>
                      <a:pt x="1892" y="682"/>
                      <a:pt x="1892" y="689"/>
                    </a:cubicBezTo>
                    <a:cubicBezTo>
                      <a:pt x="1892" y="695"/>
                      <a:pt x="1898" y="701"/>
                      <a:pt x="1905" y="701"/>
                    </a:cubicBezTo>
                    <a:cubicBezTo>
                      <a:pt x="1911" y="701"/>
                      <a:pt x="1917" y="695"/>
                      <a:pt x="1917" y="689"/>
                    </a:cubicBezTo>
                    <a:cubicBezTo>
                      <a:pt x="1917" y="682"/>
                      <a:pt x="1911" y="676"/>
                      <a:pt x="1905" y="676"/>
                    </a:cubicBezTo>
                    <a:close/>
                    <a:moveTo>
                      <a:pt x="1905" y="707"/>
                    </a:moveTo>
                    <a:cubicBezTo>
                      <a:pt x="1898" y="707"/>
                      <a:pt x="1892" y="713"/>
                      <a:pt x="1892" y="719"/>
                    </a:cubicBezTo>
                    <a:cubicBezTo>
                      <a:pt x="1892" y="726"/>
                      <a:pt x="1898" y="731"/>
                      <a:pt x="1905" y="731"/>
                    </a:cubicBezTo>
                    <a:cubicBezTo>
                      <a:pt x="1911" y="731"/>
                      <a:pt x="1917" y="726"/>
                      <a:pt x="1917" y="719"/>
                    </a:cubicBezTo>
                    <a:cubicBezTo>
                      <a:pt x="1917" y="713"/>
                      <a:pt x="1911" y="707"/>
                      <a:pt x="1905" y="707"/>
                    </a:cubicBezTo>
                    <a:close/>
                    <a:moveTo>
                      <a:pt x="1905" y="646"/>
                    </a:moveTo>
                    <a:cubicBezTo>
                      <a:pt x="1898" y="646"/>
                      <a:pt x="1892" y="651"/>
                      <a:pt x="1892" y="658"/>
                    </a:cubicBezTo>
                    <a:cubicBezTo>
                      <a:pt x="1892" y="664"/>
                      <a:pt x="1898" y="670"/>
                      <a:pt x="1905" y="670"/>
                    </a:cubicBezTo>
                    <a:cubicBezTo>
                      <a:pt x="1911" y="670"/>
                      <a:pt x="1917" y="664"/>
                      <a:pt x="1917" y="658"/>
                    </a:cubicBezTo>
                    <a:cubicBezTo>
                      <a:pt x="1917" y="651"/>
                      <a:pt x="1911" y="646"/>
                      <a:pt x="1905" y="646"/>
                    </a:cubicBezTo>
                    <a:close/>
                    <a:moveTo>
                      <a:pt x="1905" y="584"/>
                    </a:moveTo>
                    <a:cubicBezTo>
                      <a:pt x="1898" y="584"/>
                      <a:pt x="1892" y="590"/>
                      <a:pt x="1892" y="596"/>
                    </a:cubicBezTo>
                    <a:cubicBezTo>
                      <a:pt x="1892" y="603"/>
                      <a:pt x="1898" y="608"/>
                      <a:pt x="1905" y="608"/>
                    </a:cubicBezTo>
                    <a:cubicBezTo>
                      <a:pt x="1911" y="608"/>
                      <a:pt x="1917" y="603"/>
                      <a:pt x="1917" y="596"/>
                    </a:cubicBezTo>
                    <a:cubicBezTo>
                      <a:pt x="1917" y="590"/>
                      <a:pt x="1911" y="584"/>
                      <a:pt x="1905" y="584"/>
                    </a:cubicBezTo>
                    <a:close/>
                    <a:moveTo>
                      <a:pt x="1905" y="615"/>
                    </a:moveTo>
                    <a:cubicBezTo>
                      <a:pt x="1898" y="615"/>
                      <a:pt x="1892" y="620"/>
                      <a:pt x="1892" y="627"/>
                    </a:cubicBezTo>
                    <a:cubicBezTo>
                      <a:pt x="1892" y="634"/>
                      <a:pt x="1898" y="639"/>
                      <a:pt x="1905" y="639"/>
                    </a:cubicBezTo>
                    <a:cubicBezTo>
                      <a:pt x="1911" y="639"/>
                      <a:pt x="1917" y="634"/>
                      <a:pt x="1917" y="627"/>
                    </a:cubicBezTo>
                    <a:cubicBezTo>
                      <a:pt x="1917" y="620"/>
                      <a:pt x="1911" y="615"/>
                      <a:pt x="1905" y="615"/>
                    </a:cubicBezTo>
                    <a:close/>
                    <a:moveTo>
                      <a:pt x="1835" y="615"/>
                    </a:moveTo>
                    <a:cubicBezTo>
                      <a:pt x="1828" y="615"/>
                      <a:pt x="1822" y="620"/>
                      <a:pt x="1822" y="627"/>
                    </a:cubicBezTo>
                    <a:cubicBezTo>
                      <a:pt x="1822" y="634"/>
                      <a:pt x="1828" y="639"/>
                      <a:pt x="1835" y="639"/>
                    </a:cubicBezTo>
                    <a:cubicBezTo>
                      <a:pt x="1841" y="639"/>
                      <a:pt x="1847" y="634"/>
                      <a:pt x="1847" y="627"/>
                    </a:cubicBezTo>
                    <a:cubicBezTo>
                      <a:pt x="1847" y="620"/>
                      <a:pt x="1841" y="615"/>
                      <a:pt x="1835" y="615"/>
                    </a:cubicBezTo>
                    <a:close/>
                    <a:moveTo>
                      <a:pt x="1835" y="523"/>
                    </a:moveTo>
                    <a:cubicBezTo>
                      <a:pt x="1828" y="523"/>
                      <a:pt x="1822" y="528"/>
                      <a:pt x="1822" y="535"/>
                    </a:cubicBezTo>
                    <a:cubicBezTo>
                      <a:pt x="1822" y="542"/>
                      <a:pt x="1828" y="547"/>
                      <a:pt x="1835" y="547"/>
                    </a:cubicBezTo>
                    <a:cubicBezTo>
                      <a:pt x="1841" y="547"/>
                      <a:pt x="1847" y="542"/>
                      <a:pt x="1847" y="535"/>
                    </a:cubicBezTo>
                    <a:cubicBezTo>
                      <a:pt x="1847" y="528"/>
                      <a:pt x="1841" y="523"/>
                      <a:pt x="1835" y="523"/>
                    </a:cubicBezTo>
                    <a:close/>
                    <a:moveTo>
                      <a:pt x="1835" y="553"/>
                    </a:moveTo>
                    <a:cubicBezTo>
                      <a:pt x="1828" y="553"/>
                      <a:pt x="1822" y="559"/>
                      <a:pt x="1822" y="566"/>
                    </a:cubicBezTo>
                    <a:cubicBezTo>
                      <a:pt x="1822" y="572"/>
                      <a:pt x="1828" y="578"/>
                      <a:pt x="1835" y="578"/>
                    </a:cubicBezTo>
                    <a:cubicBezTo>
                      <a:pt x="1841" y="578"/>
                      <a:pt x="1847" y="572"/>
                      <a:pt x="1847" y="566"/>
                    </a:cubicBezTo>
                    <a:cubicBezTo>
                      <a:pt x="1847" y="559"/>
                      <a:pt x="1841" y="553"/>
                      <a:pt x="1835" y="553"/>
                    </a:cubicBezTo>
                    <a:close/>
                    <a:moveTo>
                      <a:pt x="1835" y="584"/>
                    </a:moveTo>
                    <a:cubicBezTo>
                      <a:pt x="1828" y="584"/>
                      <a:pt x="1822" y="590"/>
                      <a:pt x="1822" y="596"/>
                    </a:cubicBezTo>
                    <a:cubicBezTo>
                      <a:pt x="1822" y="603"/>
                      <a:pt x="1828" y="608"/>
                      <a:pt x="1835" y="608"/>
                    </a:cubicBezTo>
                    <a:cubicBezTo>
                      <a:pt x="1841" y="608"/>
                      <a:pt x="1847" y="603"/>
                      <a:pt x="1847" y="596"/>
                    </a:cubicBezTo>
                    <a:cubicBezTo>
                      <a:pt x="1847" y="590"/>
                      <a:pt x="1841" y="584"/>
                      <a:pt x="1835" y="584"/>
                    </a:cubicBezTo>
                    <a:close/>
                    <a:moveTo>
                      <a:pt x="1905" y="553"/>
                    </a:moveTo>
                    <a:cubicBezTo>
                      <a:pt x="1898" y="553"/>
                      <a:pt x="1892" y="559"/>
                      <a:pt x="1892" y="566"/>
                    </a:cubicBezTo>
                    <a:cubicBezTo>
                      <a:pt x="1892" y="572"/>
                      <a:pt x="1898" y="578"/>
                      <a:pt x="1905" y="578"/>
                    </a:cubicBezTo>
                    <a:cubicBezTo>
                      <a:pt x="1911" y="578"/>
                      <a:pt x="1917" y="572"/>
                      <a:pt x="1917" y="566"/>
                    </a:cubicBezTo>
                    <a:cubicBezTo>
                      <a:pt x="1917" y="559"/>
                      <a:pt x="1911" y="553"/>
                      <a:pt x="1905" y="553"/>
                    </a:cubicBezTo>
                    <a:close/>
                    <a:moveTo>
                      <a:pt x="1975" y="615"/>
                    </a:moveTo>
                    <a:cubicBezTo>
                      <a:pt x="1968" y="615"/>
                      <a:pt x="1963" y="620"/>
                      <a:pt x="1963" y="627"/>
                    </a:cubicBezTo>
                    <a:cubicBezTo>
                      <a:pt x="1963" y="634"/>
                      <a:pt x="1968" y="639"/>
                      <a:pt x="1975" y="639"/>
                    </a:cubicBezTo>
                    <a:cubicBezTo>
                      <a:pt x="1981" y="639"/>
                      <a:pt x="1987" y="634"/>
                      <a:pt x="1987" y="627"/>
                    </a:cubicBezTo>
                    <a:cubicBezTo>
                      <a:pt x="1987" y="620"/>
                      <a:pt x="1981" y="615"/>
                      <a:pt x="1975" y="615"/>
                    </a:cubicBezTo>
                    <a:close/>
                    <a:moveTo>
                      <a:pt x="1975" y="584"/>
                    </a:moveTo>
                    <a:cubicBezTo>
                      <a:pt x="1968" y="584"/>
                      <a:pt x="1963" y="590"/>
                      <a:pt x="1963" y="596"/>
                    </a:cubicBezTo>
                    <a:cubicBezTo>
                      <a:pt x="1963" y="603"/>
                      <a:pt x="1968" y="608"/>
                      <a:pt x="1975" y="608"/>
                    </a:cubicBezTo>
                    <a:cubicBezTo>
                      <a:pt x="1981" y="608"/>
                      <a:pt x="1987" y="603"/>
                      <a:pt x="1987" y="596"/>
                    </a:cubicBezTo>
                    <a:cubicBezTo>
                      <a:pt x="1987" y="590"/>
                      <a:pt x="1981" y="584"/>
                      <a:pt x="1975" y="584"/>
                    </a:cubicBezTo>
                    <a:close/>
                    <a:moveTo>
                      <a:pt x="2010" y="584"/>
                    </a:moveTo>
                    <a:cubicBezTo>
                      <a:pt x="2003" y="584"/>
                      <a:pt x="1998" y="590"/>
                      <a:pt x="1998" y="596"/>
                    </a:cubicBezTo>
                    <a:cubicBezTo>
                      <a:pt x="1998" y="603"/>
                      <a:pt x="2003" y="608"/>
                      <a:pt x="2010" y="608"/>
                    </a:cubicBezTo>
                    <a:cubicBezTo>
                      <a:pt x="2016" y="608"/>
                      <a:pt x="2022" y="603"/>
                      <a:pt x="2022" y="596"/>
                    </a:cubicBezTo>
                    <a:cubicBezTo>
                      <a:pt x="2022" y="590"/>
                      <a:pt x="2016" y="584"/>
                      <a:pt x="2010" y="584"/>
                    </a:cubicBezTo>
                    <a:close/>
                    <a:moveTo>
                      <a:pt x="1940" y="676"/>
                    </a:moveTo>
                    <a:cubicBezTo>
                      <a:pt x="1933" y="676"/>
                      <a:pt x="1927" y="682"/>
                      <a:pt x="1927" y="689"/>
                    </a:cubicBezTo>
                    <a:cubicBezTo>
                      <a:pt x="1927" y="695"/>
                      <a:pt x="1933" y="701"/>
                      <a:pt x="1940" y="701"/>
                    </a:cubicBezTo>
                    <a:cubicBezTo>
                      <a:pt x="1946" y="701"/>
                      <a:pt x="1952" y="695"/>
                      <a:pt x="1952" y="689"/>
                    </a:cubicBezTo>
                    <a:cubicBezTo>
                      <a:pt x="1952" y="682"/>
                      <a:pt x="1946" y="676"/>
                      <a:pt x="1940" y="676"/>
                    </a:cubicBezTo>
                    <a:close/>
                    <a:moveTo>
                      <a:pt x="1940" y="646"/>
                    </a:moveTo>
                    <a:cubicBezTo>
                      <a:pt x="1933" y="646"/>
                      <a:pt x="1927" y="651"/>
                      <a:pt x="1927" y="658"/>
                    </a:cubicBezTo>
                    <a:cubicBezTo>
                      <a:pt x="1927" y="664"/>
                      <a:pt x="1933" y="670"/>
                      <a:pt x="1940" y="670"/>
                    </a:cubicBezTo>
                    <a:cubicBezTo>
                      <a:pt x="1946" y="670"/>
                      <a:pt x="1952" y="664"/>
                      <a:pt x="1952" y="658"/>
                    </a:cubicBezTo>
                    <a:cubicBezTo>
                      <a:pt x="1952" y="651"/>
                      <a:pt x="1946" y="646"/>
                      <a:pt x="1940" y="646"/>
                    </a:cubicBezTo>
                    <a:close/>
                    <a:moveTo>
                      <a:pt x="1940" y="615"/>
                    </a:moveTo>
                    <a:cubicBezTo>
                      <a:pt x="1933" y="615"/>
                      <a:pt x="1927" y="620"/>
                      <a:pt x="1927" y="627"/>
                    </a:cubicBezTo>
                    <a:cubicBezTo>
                      <a:pt x="1927" y="634"/>
                      <a:pt x="1933" y="639"/>
                      <a:pt x="1940" y="639"/>
                    </a:cubicBezTo>
                    <a:cubicBezTo>
                      <a:pt x="1946" y="639"/>
                      <a:pt x="1952" y="634"/>
                      <a:pt x="1952" y="627"/>
                    </a:cubicBezTo>
                    <a:cubicBezTo>
                      <a:pt x="1952" y="620"/>
                      <a:pt x="1946" y="615"/>
                      <a:pt x="1940" y="615"/>
                    </a:cubicBezTo>
                    <a:close/>
                    <a:moveTo>
                      <a:pt x="1940" y="584"/>
                    </a:moveTo>
                    <a:cubicBezTo>
                      <a:pt x="1933" y="584"/>
                      <a:pt x="1927" y="590"/>
                      <a:pt x="1927" y="596"/>
                    </a:cubicBezTo>
                    <a:cubicBezTo>
                      <a:pt x="1927" y="603"/>
                      <a:pt x="1933" y="608"/>
                      <a:pt x="1940" y="608"/>
                    </a:cubicBezTo>
                    <a:cubicBezTo>
                      <a:pt x="1946" y="608"/>
                      <a:pt x="1952" y="603"/>
                      <a:pt x="1952" y="596"/>
                    </a:cubicBezTo>
                    <a:cubicBezTo>
                      <a:pt x="1952" y="590"/>
                      <a:pt x="1946" y="584"/>
                      <a:pt x="1940" y="584"/>
                    </a:cubicBezTo>
                    <a:close/>
                    <a:moveTo>
                      <a:pt x="1764" y="676"/>
                    </a:moveTo>
                    <a:cubicBezTo>
                      <a:pt x="1758" y="676"/>
                      <a:pt x="1752" y="682"/>
                      <a:pt x="1752" y="689"/>
                    </a:cubicBezTo>
                    <a:cubicBezTo>
                      <a:pt x="1752" y="695"/>
                      <a:pt x="1758" y="701"/>
                      <a:pt x="1764" y="701"/>
                    </a:cubicBezTo>
                    <a:cubicBezTo>
                      <a:pt x="1771" y="701"/>
                      <a:pt x="1777" y="695"/>
                      <a:pt x="1777" y="689"/>
                    </a:cubicBezTo>
                    <a:cubicBezTo>
                      <a:pt x="1777" y="682"/>
                      <a:pt x="1771" y="676"/>
                      <a:pt x="1764" y="676"/>
                    </a:cubicBezTo>
                    <a:close/>
                    <a:moveTo>
                      <a:pt x="1764" y="646"/>
                    </a:moveTo>
                    <a:cubicBezTo>
                      <a:pt x="1758" y="646"/>
                      <a:pt x="1752" y="651"/>
                      <a:pt x="1752" y="658"/>
                    </a:cubicBezTo>
                    <a:cubicBezTo>
                      <a:pt x="1752" y="664"/>
                      <a:pt x="1758" y="670"/>
                      <a:pt x="1764" y="670"/>
                    </a:cubicBezTo>
                    <a:cubicBezTo>
                      <a:pt x="1771" y="670"/>
                      <a:pt x="1777" y="664"/>
                      <a:pt x="1777" y="658"/>
                    </a:cubicBezTo>
                    <a:cubicBezTo>
                      <a:pt x="1777" y="651"/>
                      <a:pt x="1771" y="646"/>
                      <a:pt x="1764" y="646"/>
                    </a:cubicBezTo>
                    <a:close/>
                    <a:moveTo>
                      <a:pt x="1764" y="553"/>
                    </a:moveTo>
                    <a:cubicBezTo>
                      <a:pt x="1758" y="553"/>
                      <a:pt x="1752" y="559"/>
                      <a:pt x="1752" y="566"/>
                    </a:cubicBezTo>
                    <a:cubicBezTo>
                      <a:pt x="1752" y="572"/>
                      <a:pt x="1758" y="578"/>
                      <a:pt x="1764" y="578"/>
                    </a:cubicBezTo>
                    <a:cubicBezTo>
                      <a:pt x="1771" y="578"/>
                      <a:pt x="1777" y="572"/>
                      <a:pt x="1777" y="566"/>
                    </a:cubicBezTo>
                    <a:cubicBezTo>
                      <a:pt x="1777" y="559"/>
                      <a:pt x="1771" y="553"/>
                      <a:pt x="1764" y="553"/>
                    </a:cubicBezTo>
                    <a:close/>
                    <a:moveTo>
                      <a:pt x="1764" y="584"/>
                    </a:moveTo>
                    <a:cubicBezTo>
                      <a:pt x="1758" y="584"/>
                      <a:pt x="1752" y="590"/>
                      <a:pt x="1752" y="596"/>
                    </a:cubicBezTo>
                    <a:cubicBezTo>
                      <a:pt x="1752" y="603"/>
                      <a:pt x="1758" y="608"/>
                      <a:pt x="1764" y="608"/>
                    </a:cubicBezTo>
                    <a:cubicBezTo>
                      <a:pt x="1771" y="608"/>
                      <a:pt x="1777" y="603"/>
                      <a:pt x="1777" y="596"/>
                    </a:cubicBezTo>
                    <a:cubicBezTo>
                      <a:pt x="1777" y="590"/>
                      <a:pt x="1771" y="584"/>
                      <a:pt x="1764" y="584"/>
                    </a:cubicBezTo>
                    <a:close/>
                    <a:moveTo>
                      <a:pt x="1764" y="615"/>
                    </a:moveTo>
                    <a:cubicBezTo>
                      <a:pt x="1758" y="615"/>
                      <a:pt x="1752" y="620"/>
                      <a:pt x="1752" y="627"/>
                    </a:cubicBezTo>
                    <a:cubicBezTo>
                      <a:pt x="1752" y="634"/>
                      <a:pt x="1758" y="639"/>
                      <a:pt x="1764" y="639"/>
                    </a:cubicBezTo>
                    <a:cubicBezTo>
                      <a:pt x="1771" y="639"/>
                      <a:pt x="1777" y="634"/>
                      <a:pt x="1777" y="627"/>
                    </a:cubicBezTo>
                    <a:cubicBezTo>
                      <a:pt x="1777" y="620"/>
                      <a:pt x="1771" y="615"/>
                      <a:pt x="1764" y="615"/>
                    </a:cubicBezTo>
                    <a:close/>
                    <a:moveTo>
                      <a:pt x="1764" y="523"/>
                    </a:moveTo>
                    <a:cubicBezTo>
                      <a:pt x="1758" y="523"/>
                      <a:pt x="1752" y="528"/>
                      <a:pt x="1752" y="535"/>
                    </a:cubicBezTo>
                    <a:cubicBezTo>
                      <a:pt x="1752" y="542"/>
                      <a:pt x="1758" y="547"/>
                      <a:pt x="1764" y="547"/>
                    </a:cubicBezTo>
                    <a:cubicBezTo>
                      <a:pt x="1771" y="547"/>
                      <a:pt x="1777" y="542"/>
                      <a:pt x="1777" y="535"/>
                    </a:cubicBezTo>
                    <a:cubicBezTo>
                      <a:pt x="1777" y="528"/>
                      <a:pt x="1771" y="523"/>
                      <a:pt x="1764" y="523"/>
                    </a:cubicBezTo>
                    <a:close/>
                    <a:moveTo>
                      <a:pt x="1800" y="553"/>
                    </a:moveTo>
                    <a:cubicBezTo>
                      <a:pt x="1793" y="553"/>
                      <a:pt x="1787" y="559"/>
                      <a:pt x="1787" y="566"/>
                    </a:cubicBezTo>
                    <a:cubicBezTo>
                      <a:pt x="1787" y="572"/>
                      <a:pt x="1793" y="578"/>
                      <a:pt x="1800" y="578"/>
                    </a:cubicBezTo>
                    <a:cubicBezTo>
                      <a:pt x="1806" y="578"/>
                      <a:pt x="1812" y="572"/>
                      <a:pt x="1812" y="566"/>
                    </a:cubicBezTo>
                    <a:cubicBezTo>
                      <a:pt x="1812" y="559"/>
                      <a:pt x="1806" y="553"/>
                      <a:pt x="1800" y="553"/>
                    </a:cubicBezTo>
                    <a:close/>
                    <a:moveTo>
                      <a:pt x="1800" y="615"/>
                    </a:moveTo>
                    <a:cubicBezTo>
                      <a:pt x="1793" y="615"/>
                      <a:pt x="1787" y="620"/>
                      <a:pt x="1787" y="627"/>
                    </a:cubicBezTo>
                    <a:cubicBezTo>
                      <a:pt x="1787" y="634"/>
                      <a:pt x="1793" y="639"/>
                      <a:pt x="1800" y="639"/>
                    </a:cubicBezTo>
                    <a:cubicBezTo>
                      <a:pt x="1806" y="639"/>
                      <a:pt x="1812" y="634"/>
                      <a:pt x="1812" y="627"/>
                    </a:cubicBezTo>
                    <a:cubicBezTo>
                      <a:pt x="1812" y="620"/>
                      <a:pt x="1806" y="615"/>
                      <a:pt x="1800" y="615"/>
                    </a:cubicBezTo>
                    <a:close/>
                    <a:moveTo>
                      <a:pt x="1800" y="584"/>
                    </a:moveTo>
                    <a:cubicBezTo>
                      <a:pt x="1793" y="584"/>
                      <a:pt x="1787" y="590"/>
                      <a:pt x="1787" y="596"/>
                    </a:cubicBezTo>
                    <a:cubicBezTo>
                      <a:pt x="1787" y="603"/>
                      <a:pt x="1793" y="608"/>
                      <a:pt x="1800" y="608"/>
                    </a:cubicBezTo>
                    <a:cubicBezTo>
                      <a:pt x="1806" y="608"/>
                      <a:pt x="1812" y="603"/>
                      <a:pt x="1812" y="596"/>
                    </a:cubicBezTo>
                    <a:cubicBezTo>
                      <a:pt x="1812" y="590"/>
                      <a:pt x="1806" y="584"/>
                      <a:pt x="1800" y="584"/>
                    </a:cubicBezTo>
                    <a:close/>
                    <a:moveTo>
                      <a:pt x="1800" y="646"/>
                    </a:moveTo>
                    <a:cubicBezTo>
                      <a:pt x="1793" y="646"/>
                      <a:pt x="1787" y="651"/>
                      <a:pt x="1787" y="658"/>
                    </a:cubicBezTo>
                    <a:cubicBezTo>
                      <a:pt x="1787" y="664"/>
                      <a:pt x="1793" y="670"/>
                      <a:pt x="1800" y="670"/>
                    </a:cubicBezTo>
                    <a:cubicBezTo>
                      <a:pt x="1806" y="670"/>
                      <a:pt x="1812" y="664"/>
                      <a:pt x="1812" y="658"/>
                    </a:cubicBezTo>
                    <a:cubicBezTo>
                      <a:pt x="1812" y="651"/>
                      <a:pt x="1806" y="646"/>
                      <a:pt x="1800" y="646"/>
                    </a:cubicBezTo>
                    <a:close/>
                    <a:moveTo>
                      <a:pt x="1800" y="523"/>
                    </a:moveTo>
                    <a:cubicBezTo>
                      <a:pt x="1793" y="523"/>
                      <a:pt x="1787" y="528"/>
                      <a:pt x="1787" y="535"/>
                    </a:cubicBezTo>
                    <a:cubicBezTo>
                      <a:pt x="1787" y="542"/>
                      <a:pt x="1793" y="547"/>
                      <a:pt x="1800" y="547"/>
                    </a:cubicBezTo>
                    <a:cubicBezTo>
                      <a:pt x="1806" y="547"/>
                      <a:pt x="1812" y="542"/>
                      <a:pt x="1812" y="535"/>
                    </a:cubicBezTo>
                    <a:cubicBezTo>
                      <a:pt x="1812" y="528"/>
                      <a:pt x="1806" y="523"/>
                      <a:pt x="1800" y="523"/>
                    </a:cubicBezTo>
                    <a:close/>
                    <a:moveTo>
                      <a:pt x="1729" y="676"/>
                    </a:moveTo>
                    <a:cubicBezTo>
                      <a:pt x="1723" y="676"/>
                      <a:pt x="1717" y="682"/>
                      <a:pt x="1717" y="689"/>
                    </a:cubicBezTo>
                    <a:cubicBezTo>
                      <a:pt x="1717" y="695"/>
                      <a:pt x="1723" y="701"/>
                      <a:pt x="1729" y="701"/>
                    </a:cubicBezTo>
                    <a:cubicBezTo>
                      <a:pt x="1736" y="701"/>
                      <a:pt x="1742" y="695"/>
                      <a:pt x="1742" y="689"/>
                    </a:cubicBezTo>
                    <a:cubicBezTo>
                      <a:pt x="1742" y="682"/>
                      <a:pt x="1736" y="676"/>
                      <a:pt x="1729" y="676"/>
                    </a:cubicBezTo>
                    <a:close/>
                    <a:moveTo>
                      <a:pt x="1729" y="646"/>
                    </a:moveTo>
                    <a:cubicBezTo>
                      <a:pt x="1723" y="646"/>
                      <a:pt x="1717" y="651"/>
                      <a:pt x="1717" y="658"/>
                    </a:cubicBezTo>
                    <a:cubicBezTo>
                      <a:pt x="1717" y="664"/>
                      <a:pt x="1723" y="670"/>
                      <a:pt x="1729" y="670"/>
                    </a:cubicBezTo>
                    <a:cubicBezTo>
                      <a:pt x="1736" y="670"/>
                      <a:pt x="1742" y="664"/>
                      <a:pt x="1742" y="658"/>
                    </a:cubicBezTo>
                    <a:cubicBezTo>
                      <a:pt x="1742" y="651"/>
                      <a:pt x="1736" y="646"/>
                      <a:pt x="1729" y="646"/>
                    </a:cubicBezTo>
                    <a:close/>
                    <a:moveTo>
                      <a:pt x="1729" y="615"/>
                    </a:moveTo>
                    <a:cubicBezTo>
                      <a:pt x="1723" y="615"/>
                      <a:pt x="1717" y="620"/>
                      <a:pt x="1717" y="627"/>
                    </a:cubicBezTo>
                    <a:cubicBezTo>
                      <a:pt x="1717" y="634"/>
                      <a:pt x="1723" y="639"/>
                      <a:pt x="1729" y="639"/>
                    </a:cubicBezTo>
                    <a:cubicBezTo>
                      <a:pt x="1736" y="639"/>
                      <a:pt x="1742" y="634"/>
                      <a:pt x="1742" y="627"/>
                    </a:cubicBezTo>
                    <a:cubicBezTo>
                      <a:pt x="1742" y="620"/>
                      <a:pt x="1736" y="615"/>
                      <a:pt x="1729" y="615"/>
                    </a:cubicBezTo>
                    <a:close/>
                    <a:moveTo>
                      <a:pt x="1729" y="553"/>
                    </a:moveTo>
                    <a:cubicBezTo>
                      <a:pt x="1723" y="553"/>
                      <a:pt x="1717" y="559"/>
                      <a:pt x="1717" y="566"/>
                    </a:cubicBezTo>
                    <a:cubicBezTo>
                      <a:pt x="1717" y="572"/>
                      <a:pt x="1723" y="578"/>
                      <a:pt x="1729" y="578"/>
                    </a:cubicBezTo>
                    <a:cubicBezTo>
                      <a:pt x="1736" y="578"/>
                      <a:pt x="1742" y="572"/>
                      <a:pt x="1742" y="566"/>
                    </a:cubicBezTo>
                    <a:cubicBezTo>
                      <a:pt x="1742" y="559"/>
                      <a:pt x="1736" y="553"/>
                      <a:pt x="1729" y="553"/>
                    </a:cubicBezTo>
                    <a:close/>
                    <a:moveTo>
                      <a:pt x="1729" y="584"/>
                    </a:moveTo>
                    <a:cubicBezTo>
                      <a:pt x="1723" y="584"/>
                      <a:pt x="1717" y="590"/>
                      <a:pt x="1717" y="596"/>
                    </a:cubicBezTo>
                    <a:cubicBezTo>
                      <a:pt x="1717" y="603"/>
                      <a:pt x="1723" y="608"/>
                      <a:pt x="1729" y="608"/>
                    </a:cubicBezTo>
                    <a:cubicBezTo>
                      <a:pt x="1736" y="608"/>
                      <a:pt x="1742" y="603"/>
                      <a:pt x="1742" y="596"/>
                    </a:cubicBezTo>
                    <a:cubicBezTo>
                      <a:pt x="1742" y="590"/>
                      <a:pt x="1736" y="584"/>
                      <a:pt x="1729" y="584"/>
                    </a:cubicBezTo>
                    <a:close/>
                    <a:moveTo>
                      <a:pt x="1800" y="707"/>
                    </a:moveTo>
                    <a:cubicBezTo>
                      <a:pt x="1793" y="707"/>
                      <a:pt x="1787" y="713"/>
                      <a:pt x="1787" y="719"/>
                    </a:cubicBezTo>
                    <a:cubicBezTo>
                      <a:pt x="1787" y="726"/>
                      <a:pt x="1793" y="731"/>
                      <a:pt x="1800" y="731"/>
                    </a:cubicBezTo>
                    <a:cubicBezTo>
                      <a:pt x="1806" y="731"/>
                      <a:pt x="1812" y="726"/>
                      <a:pt x="1812" y="719"/>
                    </a:cubicBezTo>
                    <a:cubicBezTo>
                      <a:pt x="1812" y="713"/>
                      <a:pt x="1806" y="707"/>
                      <a:pt x="1800" y="707"/>
                    </a:cubicBezTo>
                    <a:close/>
                    <a:moveTo>
                      <a:pt x="1764" y="707"/>
                    </a:moveTo>
                    <a:cubicBezTo>
                      <a:pt x="1758" y="707"/>
                      <a:pt x="1752" y="713"/>
                      <a:pt x="1752" y="719"/>
                    </a:cubicBezTo>
                    <a:cubicBezTo>
                      <a:pt x="1752" y="726"/>
                      <a:pt x="1758" y="731"/>
                      <a:pt x="1764" y="731"/>
                    </a:cubicBezTo>
                    <a:cubicBezTo>
                      <a:pt x="1771" y="731"/>
                      <a:pt x="1777" y="726"/>
                      <a:pt x="1777" y="719"/>
                    </a:cubicBezTo>
                    <a:cubicBezTo>
                      <a:pt x="1777" y="713"/>
                      <a:pt x="1771" y="707"/>
                      <a:pt x="1764" y="707"/>
                    </a:cubicBezTo>
                    <a:close/>
                    <a:moveTo>
                      <a:pt x="1729" y="707"/>
                    </a:moveTo>
                    <a:cubicBezTo>
                      <a:pt x="1723" y="707"/>
                      <a:pt x="1717" y="713"/>
                      <a:pt x="1717" y="719"/>
                    </a:cubicBezTo>
                    <a:cubicBezTo>
                      <a:pt x="1717" y="726"/>
                      <a:pt x="1723" y="731"/>
                      <a:pt x="1729" y="731"/>
                    </a:cubicBezTo>
                    <a:cubicBezTo>
                      <a:pt x="1736" y="731"/>
                      <a:pt x="1742" y="726"/>
                      <a:pt x="1742" y="719"/>
                    </a:cubicBezTo>
                    <a:cubicBezTo>
                      <a:pt x="1742" y="713"/>
                      <a:pt x="1736" y="707"/>
                      <a:pt x="1729" y="707"/>
                    </a:cubicBezTo>
                    <a:close/>
                    <a:moveTo>
                      <a:pt x="1519" y="553"/>
                    </a:moveTo>
                    <a:cubicBezTo>
                      <a:pt x="1512" y="553"/>
                      <a:pt x="1507" y="559"/>
                      <a:pt x="1507" y="566"/>
                    </a:cubicBezTo>
                    <a:cubicBezTo>
                      <a:pt x="1507" y="572"/>
                      <a:pt x="1512" y="578"/>
                      <a:pt x="1519" y="578"/>
                    </a:cubicBezTo>
                    <a:cubicBezTo>
                      <a:pt x="1526" y="578"/>
                      <a:pt x="1531" y="572"/>
                      <a:pt x="1531" y="566"/>
                    </a:cubicBezTo>
                    <a:cubicBezTo>
                      <a:pt x="1531" y="559"/>
                      <a:pt x="1526" y="553"/>
                      <a:pt x="1519" y="553"/>
                    </a:cubicBezTo>
                    <a:close/>
                    <a:moveTo>
                      <a:pt x="1484" y="338"/>
                    </a:moveTo>
                    <a:cubicBezTo>
                      <a:pt x="1477" y="338"/>
                      <a:pt x="1472" y="344"/>
                      <a:pt x="1472" y="350"/>
                    </a:cubicBezTo>
                    <a:cubicBezTo>
                      <a:pt x="1472" y="357"/>
                      <a:pt x="1477" y="363"/>
                      <a:pt x="1484" y="363"/>
                    </a:cubicBezTo>
                    <a:cubicBezTo>
                      <a:pt x="1491" y="363"/>
                      <a:pt x="1496" y="357"/>
                      <a:pt x="1496" y="350"/>
                    </a:cubicBezTo>
                    <a:cubicBezTo>
                      <a:pt x="1496" y="344"/>
                      <a:pt x="1491" y="338"/>
                      <a:pt x="1484" y="338"/>
                    </a:cubicBezTo>
                    <a:close/>
                    <a:moveTo>
                      <a:pt x="1519" y="584"/>
                    </a:moveTo>
                    <a:cubicBezTo>
                      <a:pt x="1512" y="584"/>
                      <a:pt x="1507" y="590"/>
                      <a:pt x="1507" y="596"/>
                    </a:cubicBezTo>
                    <a:cubicBezTo>
                      <a:pt x="1507" y="603"/>
                      <a:pt x="1512" y="608"/>
                      <a:pt x="1519" y="608"/>
                    </a:cubicBezTo>
                    <a:cubicBezTo>
                      <a:pt x="1526" y="608"/>
                      <a:pt x="1531" y="603"/>
                      <a:pt x="1531" y="596"/>
                    </a:cubicBezTo>
                    <a:cubicBezTo>
                      <a:pt x="1531" y="590"/>
                      <a:pt x="1526" y="584"/>
                      <a:pt x="1519" y="584"/>
                    </a:cubicBezTo>
                    <a:close/>
                    <a:moveTo>
                      <a:pt x="1484" y="369"/>
                    </a:moveTo>
                    <a:cubicBezTo>
                      <a:pt x="1477" y="369"/>
                      <a:pt x="1472" y="374"/>
                      <a:pt x="1472" y="381"/>
                    </a:cubicBezTo>
                    <a:cubicBezTo>
                      <a:pt x="1472" y="388"/>
                      <a:pt x="1477" y="393"/>
                      <a:pt x="1484" y="393"/>
                    </a:cubicBezTo>
                    <a:cubicBezTo>
                      <a:pt x="1491" y="393"/>
                      <a:pt x="1496" y="388"/>
                      <a:pt x="1496" y="381"/>
                    </a:cubicBezTo>
                    <a:cubicBezTo>
                      <a:pt x="1496" y="374"/>
                      <a:pt x="1491" y="369"/>
                      <a:pt x="1484" y="369"/>
                    </a:cubicBezTo>
                    <a:close/>
                    <a:moveTo>
                      <a:pt x="1344" y="646"/>
                    </a:moveTo>
                    <a:cubicBezTo>
                      <a:pt x="1337" y="646"/>
                      <a:pt x="1332" y="651"/>
                      <a:pt x="1332" y="658"/>
                    </a:cubicBezTo>
                    <a:cubicBezTo>
                      <a:pt x="1332" y="664"/>
                      <a:pt x="1337" y="670"/>
                      <a:pt x="1344" y="670"/>
                    </a:cubicBezTo>
                    <a:cubicBezTo>
                      <a:pt x="1351" y="670"/>
                      <a:pt x="1356" y="664"/>
                      <a:pt x="1356" y="658"/>
                    </a:cubicBezTo>
                    <a:cubicBezTo>
                      <a:pt x="1356" y="651"/>
                      <a:pt x="1351" y="646"/>
                      <a:pt x="1344" y="646"/>
                    </a:cubicBezTo>
                    <a:close/>
                    <a:moveTo>
                      <a:pt x="1519" y="523"/>
                    </a:moveTo>
                    <a:cubicBezTo>
                      <a:pt x="1512" y="523"/>
                      <a:pt x="1507" y="528"/>
                      <a:pt x="1507" y="535"/>
                    </a:cubicBezTo>
                    <a:cubicBezTo>
                      <a:pt x="1507" y="542"/>
                      <a:pt x="1512" y="547"/>
                      <a:pt x="1519" y="547"/>
                    </a:cubicBezTo>
                    <a:cubicBezTo>
                      <a:pt x="1526" y="547"/>
                      <a:pt x="1531" y="542"/>
                      <a:pt x="1531" y="535"/>
                    </a:cubicBezTo>
                    <a:cubicBezTo>
                      <a:pt x="1531" y="528"/>
                      <a:pt x="1526" y="523"/>
                      <a:pt x="1519" y="523"/>
                    </a:cubicBezTo>
                    <a:close/>
                    <a:moveTo>
                      <a:pt x="1484" y="400"/>
                    </a:moveTo>
                    <a:cubicBezTo>
                      <a:pt x="1477" y="400"/>
                      <a:pt x="1472" y="405"/>
                      <a:pt x="1472" y="412"/>
                    </a:cubicBezTo>
                    <a:cubicBezTo>
                      <a:pt x="1472" y="419"/>
                      <a:pt x="1477" y="424"/>
                      <a:pt x="1484" y="424"/>
                    </a:cubicBezTo>
                    <a:cubicBezTo>
                      <a:pt x="1491" y="424"/>
                      <a:pt x="1496" y="419"/>
                      <a:pt x="1496" y="412"/>
                    </a:cubicBezTo>
                    <a:cubicBezTo>
                      <a:pt x="1496" y="405"/>
                      <a:pt x="1491" y="400"/>
                      <a:pt x="1484" y="400"/>
                    </a:cubicBezTo>
                    <a:close/>
                    <a:moveTo>
                      <a:pt x="1519" y="461"/>
                    </a:moveTo>
                    <a:cubicBezTo>
                      <a:pt x="1512" y="461"/>
                      <a:pt x="1507" y="467"/>
                      <a:pt x="1507" y="473"/>
                    </a:cubicBezTo>
                    <a:cubicBezTo>
                      <a:pt x="1507" y="480"/>
                      <a:pt x="1512" y="485"/>
                      <a:pt x="1519" y="485"/>
                    </a:cubicBezTo>
                    <a:cubicBezTo>
                      <a:pt x="1526" y="485"/>
                      <a:pt x="1531" y="480"/>
                      <a:pt x="1531" y="473"/>
                    </a:cubicBezTo>
                    <a:cubicBezTo>
                      <a:pt x="1531" y="467"/>
                      <a:pt x="1526" y="461"/>
                      <a:pt x="1519" y="461"/>
                    </a:cubicBezTo>
                    <a:close/>
                    <a:moveTo>
                      <a:pt x="1519" y="492"/>
                    </a:moveTo>
                    <a:cubicBezTo>
                      <a:pt x="1512" y="492"/>
                      <a:pt x="1507" y="497"/>
                      <a:pt x="1507" y="504"/>
                    </a:cubicBezTo>
                    <a:cubicBezTo>
                      <a:pt x="1507" y="511"/>
                      <a:pt x="1512" y="516"/>
                      <a:pt x="1519" y="516"/>
                    </a:cubicBezTo>
                    <a:cubicBezTo>
                      <a:pt x="1526" y="516"/>
                      <a:pt x="1531" y="511"/>
                      <a:pt x="1531" y="504"/>
                    </a:cubicBezTo>
                    <a:cubicBezTo>
                      <a:pt x="1531" y="497"/>
                      <a:pt x="1526" y="492"/>
                      <a:pt x="1519" y="492"/>
                    </a:cubicBezTo>
                    <a:close/>
                    <a:moveTo>
                      <a:pt x="1484" y="584"/>
                    </a:moveTo>
                    <a:cubicBezTo>
                      <a:pt x="1477" y="584"/>
                      <a:pt x="1472" y="590"/>
                      <a:pt x="1472" y="596"/>
                    </a:cubicBezTo>
                    <a:cubicBezTo>
                      <a:pt x="1472" y="603"/>
                      <a:pt x="1477" y="608"/>
                      <a:pt x="1484" y="608"/>
                    </a:cubicBezTo>
                    <a:cubicBezTo>
                      <a:pt x="1491" y="608"/>
                      <a:pt x="1496" y="603"/>
                      <a:pt x="1496" y="596"/>
                    </a:cubicBezTo>
                    <a:cubicBezTo>
                      <a:pt x="1496" y="590"/>
                      <a:pt x="1491" y="584"/>
                      <a:pt x="1484" y="584"/>
                    </a:cubicBezTo>
                    <a:close/>
                    <a:moveTo>
                      <a:pt x="1519" y="430"/>
                    </a:moveTo>
                    <a:cubicBezTo>
                      <a:pt x="1512" y="430"/>
                      <a:pt x="1507" y="436"/>
                      <a:pt x="1507" y="443"/>
                    </a:cubicBezTo>
                    <a:cubicBezTo>
                      <a:pt x="1507" y="449"/>
                      <a:pt x="1512" y="455"/>
                      <a:pt x="1519" y="455"/>
                    </a:cubicBezTo>
                    <a:cubicBezTo>
                      <a:pt x="1526" y="455"/>
                      <a:pt x="1531" y="449"/>
                      <a:pt x="1531" y="443"/>
                    </a:cubicBezTo>
                    <a:cubicBezTo>
                      <a:pt x="1531" y="436"/>
                      <a:pt x="1526" y="430"/>
                      <a:pt x="1519" y="430"/>
                    </a:cubicBezTo>
                    <a:close/>
                    <a:moveTo>
                      <a:pt x="1344" y="615"/>
                    </a:moveTo>
                    <a:cubicBezTo>
                      <a:pt x="1337" y="615"/>
                      <a:pt x="1332" y="620"/>
                      <a:pt x="1332" y="627"/>
                    </a:cubicBezTo>
                    <a:cubicBezTo>
                      <a:pt x="1332" y="634"/>
                      <a:pt x="1337" y="639"/>
                      <a:pt x="1344" y="639"/>
                    </a:cubicBezTo>
                    <a:cubicBezTo>
                      <a:pt x="1351" y="639"/>
                      <a:pt x="1356" y="634"/>
                      <a:pt x="1356" y="627"/>
                    </a:cubicBezTo>
                    <a:cubicBezTo>
                      <a:pt x="1356" y="620"/>
                      <a:pt x="1351" y="615"/>
                      <a:pt x="1344" y="615"/>
                    </a:cubicBezTo>
                    <a:close/>
                    <a:moveTo>
                      <a:pt x="1484" y="615"/>
                    </a:moveTo>
                    <a:cubicBezTo>
                      <a:pt x="1477" y="615"/>
                      <a:pt x="1472" y="620"/>
                      <a:pt x="1472" y="627"/>
                    </a:cubicBezTo>
                    <a:cubicBezTo>
                      <a:pt x="1472" y="634"/>
                      <a:pt x="1477" y="639"/>
                      <a:pt x="1484" y="639"/>
                    </a:cubicBezTo>
                    <a:cubicBezTo>
                      <a:pt x="1491" y="639"/>
                      <a:pt x="1496" y="634"/>
                      <a:pt x="1496" y="627"/>
                    </a:cubicBezTo>
                    <a:cubicBezTo>
                      <a:pt x="1496" y="620"/>
                      <a:pt x="1491" y="615"/>
                      <a:pt x="1484" y="615"/>
                    </a:cubicBezTo>
                    <a:close/>
                    <a:moveTo>
                      <a:pt x="1449" y="338"/>
                    </a:moveTo>
                    <a:cubicBezTo>
                      <a:pt x="1442" y="338"/>
                      <a:pt x="1437" y="344"/>
                      <a:pt x="1437" y="350"/>
                    </a:cubicBezTo>
                    <a:cubicBezTo>
                      <a:pt x="1437" y="357"/>
                      <a:pt x="1442" y="363"/>
                      <a:pt x="1449" y="363"/>
                    </a:cubicBezTo>
                    <a:cubicBezTo>
                      <a:pt x="1456" y="363"/>
                      <a:pt x="1461" y="357"/>
                      <a:pt x="1461" y="350"/>
                    </a:cubicBezTo>
                    <a:cubicBezTo>
                      <a:pt x="1461" y="344"/>
                      <a:pt x="1456" y="338"/>
                      <a:pt x="1449" y="338"/>
                    </a:cubicBezTo>
                    <a:close/>
                    <a:moveTo>
                      <a:pt x="1379" y="707"/>
                    </a:moveTo>
                    <a:cubicBezTo>
                      <a:pt x="1372" y="707"/>
                      <a:pt x="1367" y="713"/>
                      <a:pt x="1367" y="719"/>
                    </a:cubicBezTo>
                    <a:cubicBezTo>
                      <a:pt x="1367" y="726"/>
                      <a:pt x="1372" y="731"/>
                      <a:pt x="1379" y="731"/>
                    </a:cubicBezTo>
                    <a:cubicBezTo>
                      <a:pt x="1386" y="731"/>
                      <a:pt x="1391" y="726"/>
                      <a:pt x="1391" y="719"/>
                    </a:cubicBezTo>
                    <a:cubicBezTo>
                      <a:pt x="1391" y="713"/>
                      <a:pt x="1386" y="707"/>
                      <a:pt x="1379" y="707"/>
                    </a:cubicBezTo>
                    <a:close/>
                    <a:moveTo>
                      <a:pt x="1484" y="492"/>
                    </a:moveTo>
                    <a:cubicBezTo>
                      <a:pt x="1477" y="492"/>
                      <a:pt x="1472" y="497"/>
                      <a:pt x="1472" y="504"/>
                    </a:cubicBezTo>
                    <a:cubicBezTo>
                      <a:pt x="1472" y="511"/>
                      <a:pt x="1477" y="516"/>
                      <a:pt x="1484" y="516"/>
                    </a:cubicBezTo>
                    <a:cubicBezTo>
                      <a:pt x="1491" y="516"/>
                      <a:pt x="1496" y="511"/>
                      <a:pt x="1496" y="504"/>
                    </a:cubicBezTo>
                    <a:cubicBezTo>
                      <a:pt x="1496" y="497"/>
                      <a:pt x="1491" y="492"/>
                      <a:pt x="1484" y="492"/>
                    </a:cubicBezTo>
                    <a:close/>
                    <a:moveTo>
                      <a:pt x="1484" y="430"/>
                    </a:moveTo>
                    <a:cubicBezTo>
                      <a:pt x="1477" y="430"/>
                      <a:pt x="1472" y="436"/>
                      <a:pt x="1472" y="443"/>
                    </a:cubicBezTo>
                    <a:cubicBezTo>
                      <a:pt x="1472" y="449"/>
                      <a:pt x="1477" y="455"/>
                      <a:pt x="1484" y="455"/>
                    </a:cubicBezTo>
                    <a:cubicBezTo>
                      <a:pt x="1491" y="455"/>
                      <a:pt x="1496" y="449"/>
                      <a:pt x="1496" y="443"/>
                    </a:cubicBezTo>
                    <a:cubicBezTo>
                      <a:pt x="1496" y="436"/>
                      <a:pt x="1491" y="430"/>
                      <a:pt x="1484" y="430"/>
                    </a:cubicBezTo>
                    <a:close/>
                    <a:moveTo>
                      <a:pt x="1484" y="461"/>
                    </a:moveTo>
                    <a:cubicBezTo>
                      <a:pt x="1477" y="461"/>
                      <a:pt x="1472" y="467"/>
                      <a:pt x="1472" y="473"/>
                    </a:cubicBezTo>
                    <a:cubicBezTo>
                      <a:pt x="1472" y="480"/>
                      <a:pt x="1477" y="485"/>
                      <a:pt x="1484" y="485"/>
                    </a:cubicBezTo>
                    <a:cubicBezTo>
                      <a:pt x="1491" y="485"/>
                      <a:pt x="1496" y="480"/>
                      <a:pt x="1496" y="473"/>
                    </a:cubicBezTo>
                    <a:cubicBezTo>
                      <a:pt x="1496" y="467"/>
                      <a:pt x="1491" y="461"/>
                      <a:pt x="1484" y="461"/>
                    </a:cubicBezTo>
                    <a:close/>
                    <a:moveTo>
                      <a:pt x="1484" y="553"/>
                    </a:moveTo>
                    <a:cubicBezTo>
                      <a:pt x="1477" y="553"/>
                      <a:pt x="1472" y="559"/>
                      <a:pt x="1472" y="566"/>
                    </a:cubicBezTo>
                    <a:cubicBezTo>
                      <a:pt x="1472" y="572"/>
                      <a:pt x="1477" y="578"/>
                      <a:pt x="1484" y="578"/>
                    </a:cubicBezTo>
                    <a:cubicBezTo>
                      <a:pt x="1491" y="578"/>
                      <a:pt x="1496" y="572"/>
                      <a:pt x="1496" y="566"/>
                    </a:cubicBezTo>
                    <a:cubicBezTo>
                      <a:pt x="1496" y="559"/>
                      <a:pt x="1491" y="553"/>
                      <a:pt x="1484" y="553"/>
                    </a:cubicBezTo>
                    <a:close/>
                    <a:moveTo>
                      <a:pt x="1484" y="523"/>
                    </a:moveTo>
                    <a:cubicBezTo>
                      <a:pt x="1477" y="523"/>
                      <a:pt x="1472" y="528"/>
                      <a:pt x="1472" y="535"/>
                    </a:cubicBezTo>
                    <a:cubicBezTo>
                      <a:pt x="1472" y="542"/>
                      <a:pt x="1477" y="547"/>
                      <a:pt x="1484" y="547"/>
                    </a:cubicBezTo>
                    <a:cubicBezTo>
                      <a:pt x="1491" y="547"/>
                      <a:pt x="1496" y="542"/>
                      <a:pt x="1496" y="535"/>
                    </a:cubicBezTo>
                    <a:cubicBezTo>
                      <a:pt x="1496" y="528"/>
                      <a:pt x="1491" y="523"/>
                      <a:pt x="1484" y="523"/>
                    </a:cubicBezTo>
                    <a:close/>
                    <a:moveTo>
                      <a:pt x="1554" y="553"/>
                    </a:moveTo>
                    <a:cubicBezTo>
                      <a:pt x="1548" y="553"/>
                      <a:pt x="1542" y="559"/>
                      <a:pt x="1542" y="566"/>
                    </a:cubicBezTo>
                    <a:cubicBezTo>
                      <a:pt x="1542" y="572"/>
                      <a:pt x="1548" y="578"/>
                      <a:pt x="1554" y="578"/>
                    </a:cubicBezTo>
                    <a:cubicBezTo>
                      <a:pt x="1561" y="578"/>
                      <a:pt x="1566" y="572"/>
                      <a:pt x="1566" y="566"/>
                    </a:cubicBezTo>
                    <a:cubicBezTo>
                      <a:pt x="1566" y="559"/>
                      <a:pt x="1561" y="553"/>
                      <a:pt x="1554" y="553"/>
                    </a:cubicBezTo>
                    <a:close/>
                    <a:moveTo>
                      <a:pt x="1554" y="430"/>
                    </a:moveTo>
                    <a:cubicBezTo>
                      <a:pt x="1548" y="430"/>
                      <a:pt x="1542" y="436"/>
                      <a:pt x="1542" y="443"/>
                    </a:cubicBezTo>
                    <a:cubicBezTo>
                      <a:pt x="1542" y="449"/>
                      <a:pt x="1548" y="455"/>
                      <a:pt x="1554" y="455"/>
                    </a:cubicBezTo>
                    <a:cubicBezTo>
                      <a:pt x="1561" y="455"/>
                      <a:pt x="1566" y="449"/>
                      <a:pt x="1566" y="443"/>
                    </a:cubicBezTo>
                    <a:cubicBezTo>
                      <a:pt x="1566" y="436"/>
                      <a:pt x="1561" y="430"/>
                      <a:pt x="1554" y="430"/>
                    </a:cubicBezTo>
                    <a:close/>
                    <a:moveTo>
                      <a:pt x="1554" y="461"/>
                    </a:moveTo>
                    <a:cubicBezTo>
                      <a:pt x="1548" y="461"/>
                      <a:pt x="1542" y="467"/>
                      <a:pt x="1542" y="473"/>
                    </a:cubicBezTo>
                    <a:cubicBezTo>
                      <a:pt x="1542" y="480"/>
                      <a:pt x="1548" y="485"/>
                      <a:pt x="1554" y="485"/>
                    </a:cubicBezTo>
                    <a:cubicBezTo>
                      <a:pt x="1561" y="485"/>
                      <a:pt x="1566" y="480"/>
                      <a:pt x="1566" y="473"/>
                    </a:cubicBezTo>
                    <a:cubicBezTo>
                      <a:pt x="1566" y="467"/>
                      <a:pt x="1561" y="461"/>
                      <a:pt x="1554" y="461"/>
                    </a:cubicBezTo>
                    <a:close/>
                    <a:moveTo>
                      <a:pt x="1554" y="400"/>
                    </a:moveTo>
                    <a:cubicBezTo>
                      <a:pt x="1548" y="400"/>
                      <a:pt x="1542" y="405"/>
                      <a:pt x="1542" y="412"/>
                    </a:cubicBezTo>
                    <a:cubicBezTo>
                      <a:pt x="1542" y="419"/>
                      <a:pt x="1548" y="424"/>
                      <a:pt x="1554" y="424"/>
                    </a:cubicBezTo>
                    <a:cubicBezTo>
                      <a:pt x="1561" y="424"/>
                      <a:pt x="1566" y="419"/>
                      <a:pt x="1566" y="412"/>
                    </a:cubicBezTo>
                    <a:cubicBezTo>
                      <a:pt x="1566" y="405"/>
                      <a:pt x="1561" y="400"/>
                      <a:pt x="1554" y="400"/>
                    </a:cubicBezTo>
                    <a:close/>
                    <a:moveTo>
                      <a:pt x="1554" y="523"/>
                    </a:moveTo>
                    <a:cubicBezTo>
                      <a:pt x="1548" y="523"/>
                      <a:pt x="1542" y="528"/>
                      <a:pt x="1542" y="535"/>
                    </a:cubicBezTo>
                    <a:cubicBezTo>
                      <a:pt x="1542" y="542"/>
                      <a:pt x="1548" y="547"/>
                      <a:pt x="1554" y="547"/>
                    </a:cubicBezTo>
                    <a:cubicBezTo>
                      <a:pt x="1561" y="547"/>
                      <a:pt x="1566" y="542"/>
                      <a:pt x="1566" y="535"/>
                    </a:cubicBezTo>
                    <a:cubicBezTo>
                      <a:pt x="1566" y="528"/>
                      <a:pt x="1561" y="523"/>
                      <a:pt x="1554" y="523"/>
                    </a:cubicBezTo>
                    <a:close/>
                    <a:moveTo>
                      <a:pt x="1554" y="492"/>
                    </a:moveTo>
                    <a:cubicBezTo>
                      <a:pt x="1548" y="492"/>
                      <a:pt x="1542" y="497"/>
                      <a:pt x="1542" y="504"/>
                    </a:cubicBezTo>
                    <a:cubicBezTo>
                      <a:pt x="1542" y="511"/>
                      <a:pt x="1548" y="516"/>
                      <a:pt x="1554" y="516"/>
                    </a:cubicBezTo>
                    <a:cubicBezTo>
                      <a:pt x="1561" y="516"/>
                      <a:pt x="1566" y="511"/>
                      <a:pt x="1566" y="504"/>
                    </a:cubicBezTo>
                    <a:cubicBezTo>
                      <a:pt x="1566" y="497"/>
                      <a:pt x="1561" y="492"/>
                      <a:pt x="1554" y="492"/>
                    </a:cubicBezTo>
                    <a:close/>
                    <a:moveTo>
                      <a:pt x="1554" y="246"/>
                    </a:moveTo>
                    <a:cubicBezTo>
                      <a:pt x="1548" y="246"/>
                      <a:pt x="1542" y="251"/>
                      <a:pt x="1542" y="258"/>
                    </a:cubicBezTo>
                    <a:cubicBezTo>
                      <a:pt x="1542" y="265"/>
                      <a:pt x="1548" y="270"/>
                      <a:pt x="1554" y="270"/>
                    </a:cubicBezTo>
                    <a:cubicBezTo>
                      <a:pt x="1561" y="270"/>
                      <a:pt x="1566" y="265"/>
                      <a:pt x="1566" y="258"/>
                    </a:cubicBezTo>
                    <a:cubicBezTo>
                      <a:pt x="1566" y="251"/>
                      <a:pt x="1561" y="246"/>
                      <a:pt x="1554" y="246"/>
                    </a:cubicBezTo>
                    <a:close/>
                    <a:moveTo>
                      <a:pt x="1554" y="369"/>
                    </a:moveTo>
                    <a:cubicBezTo>
                      <a:pt x="1548" y="369"/>
                      <a:pt x="1542" y="374"/>
                      <a:pt x="1542" y="381"/>
                    </a:cubicBezTo>
                    <a:cubicBezTo>
                      <a:pt x="1542" y="388"/>
                      <a:pt x="1548" y="393"/>
                      <a:pt x="1554" y="393"/>
                    </a:cubicBezTo>
                    <a:cubicBezTo>
                      <a:pt x="1561" y="393"/>
                      <a:pt x="1566" y="388"/>
                      <a:pt x="1566" y="381"/>
                    </a:cubicBezTo>
                    <a:cubicBezTo>
                      <a:pt x="1566" y="374"/>
                      <a:pt x="1561" y="369"/>
                      <a:pt x="1554" y="369"/>
                    </a:cubicBezTo>
                    <a:close/>
                    <a:moveTo>
                      <a:pt x="1449" y="369"/>
                    </a:moveTo>
                    <a:cubicBezTo>
                      <a:pt x="1442" y="369"/>
                      <a:pt x="1437" y="374"/>
                      <a:pt x="1437" y="381"/>
                    </a:cubicBezTo>
                    <a:cubicBezTo>
                      <a:pt x="1437" y="388"/>
                      <a:pt x="1442" y="393"/>
                      <a:pt x="1449" y="393"/>
                    </a:cubicBezTo>
                    <a:cubicBezTo>
                      <a:pt x="1456" y="393"/>
                      <a:pt x="1461" y="388"/>
                      <a:pt x="1461" y="381"/>
                    </a:cubicBezTo>
                    <a:cubicBezTo>
                      <a:pt x="1461" y="374"/>
                      <a:pt x="1456" y="369"/>
                      <a:pt x="1449" y="369"/>
                    </a:cubicBezTo>
                    <a:close/>
                    <a:moveTo>
                      <a:pt x="1554" y="277"/>
                    </a:moveTo>
                    <a:cubicBezTo>
                      <a:pt x="1548" y="277"/>
                      <a:pt x="1542" y="282"/>
                      <a:pt x="1542" y="289"/>
                    </a:cubicBezTo>
                    <a:cubicBezTo>
                      <a:pt x="1542" y="296"/>
                      <a:pt x="1548" y="301"/>
                      <a:pt x="1554" y="301"/>
                    </a:cubicBezTo>
                    <a:cubicBezTo>
                      <a:pt x="1561" y="301"/>
                      <a:pt x="1566" y="296"/>
                      <a:pt x="1566" y="289"/>
                    </a:cubicBezTo>
                    <a:cubicBezTo>
                      <a:pt x="1566" y="282"/>
                      <a:pt x="1561" y="277"/>
                      <a:pt x="1554" y="277"/>
                    </a:cubicBezTo>
                    <a:close/>
                    <a:moveTo>
                      <a:pt x="1554" y="338"/>
                    </a:moveTo>
                    <a:cubicBezTo>
                      <a:pt x="1548" y="338"/>
                      <a:pt x="1542" y="344"/>
                      <a:pt x="1542" y="350"/>
                    </a:cubicBezTo>
                    <a:cubicBezTo>
                      <a:pt x="1542" y="357"/>
                      <a:pt x="1548" y="363"/>
                      <a:pt x="1554" y="363"/>
                    </a:cubicBezTo>
                    <a:cubicBezTo>
                      <a:pt x="1561" y="363"/>
                      <a:pt x="1566" y="357"/>
                      <a:pt x="1566" y="350"/>
                    </a:cubicBezTo>
                    <a:cubicBezTo>
                      <a:pt x="1566" y="344"/>
                      <a:pt x="1561" y="338"/>
                      <a:pt x="1554" y="338"/>
                    </a:cubicBezTo>
                    <a:close/>
                    <a:moveTo>
                      <a:pt x="1554" y="707"/>
                    </a:moveTo>
                    <a:cubicBezTo>
                      <a:pt x="1548" y="707"/>
                      <a:pt x="1542" y="713"/>
                      <a:pt x="1542" y="719"/>
                    </a:cubicBezTo>
                    <a:cubicBezTo>
                      <a:pt x="1542" y="726"/>
                      <a:pt x="1548" y="731"/>
                      <a:pt x="1554" y="731"/>
                    </a:cubicBezTo>
                    <a:cubicBezTo>
                      <a:pt x="1561" y="731"/>
                      <a:pt x="1566" y="726"/>
                      <a:pt x="1566" y="719"/>
                    </a:cubicBezTo>
                    <a:cubicBezTo>
                      <a:pt x="1566" y="713"/>
                      <a:pt x="1561" y="707"/>
                      <a:pt x="1554" y="707"/>
                    </a:cubicBezTo>
                    <a:close/>
                    <a:moveTo>
                      <a:pt x="1554" y="584"/>
                    </a:moveTo>
                    <a:cubicBezTo>
                      <a:pt x="1548" y="584"/>
                      <a:pt x="1542" y="590"/>
                      <a:pt x="1542" y="596"/>
                    </a:cubicBezTo>
                    <a:cubicBezTo>
                      <a:pt x="1542" y="603"/>
                      <a:pt x="1548" y="608"/>
                      <a:pt x="1554" y="608"/>
                    </a:cubicBezTo>
                    <a:cubicBezTo>
                      <a:pt x="1561" y="608"/>
                      <a:pt x="1566" y="603"/>
                      <a:pt x="1566" y="596"/>
                    </a:cubicBezTo>
                    <a:cubicBezTo>
                      <a:pt x="1566" y="590"/>
                      <a:pt x="1561" y="584"/>
                      <a:pt x="1554" y="584"/>
                    </a:cubicBezTo>
                    <a:close/>
                    <a:moveTo>
                      <a:pt x="1519" y="277"/>
                    </a:moveTo>
                    <a:cubicBezTo>
                      <a:pt x="1512" y="277"/>
                      <a:pt x="1507" y="282"/>
                      <a:pt x="1507" y="289"/>
                    </a:cubicBezTo>
                    <a:cubicBezTo>
                      <a:pt x="1507" y="296"/>
                      <a:pt x="1512" y="301"/>
                      <a:pt x="1519" y="301"/>
                    </a:cubicBezTo>
                    <a:cubicBezTo>
                      <a:pt x="1526" y="301"/>
                      <a:pt x="1531" y="296"/>
                      <a:pt x="1531" y="289"/>
                    </a:cubicBezTo>
                    <a:cubicBezTo>
                      <a:pt x="1531" y="282"/>
                      <a:pt x="1526" y="277"/>
                      <a:pt x="1519" y="277"/>
                    </a:cubicBezTo>
                    <a:close/>
                    <a:moveTo>
                      <a:pt x="1519" y="369"/>
                    </a:moveTo>
                    <a:cubicBezTo>
                      <a:pt x="1512" y="369"/>
                      <a:pt x="1507" y="374"/>
                      <a:pt x="1507" y="381"/>
                    </a:cubicBezTo>
                    <a:cubicBezTo>
                      <a:pt x="1507" y="388"/>
                      <a:pt x="1512" y="393"/>
                      <a:pt x="1519" y="393"/>
                    </a:cubicBezTo>
                    <a:cubicBezTo>
                      <a:pt x="1526" y="393"/>
                      <a:pt x="1531" y="388"/>
                      <a:pt x="1531" y="381"/>
                    </a:cubicBezTo>
                    <a:cubicBezTo>
                      <a:pt x="1531" y="374"/>
                      <a:pt x="1526" y="369"/>
                      <a:pt x="1519" y="369"/>
                    </a:cubicBezTo>
                    <a:close/>
                    <a:moveTo>
                      <a:pt x="1379" y="461"/>
                    </a:moveTo>
                    <a:cubicBezTo>
                      <a:pt x="1372" y="461"/>
                      <a:pt x="1367" y="467"/>
                      <a:pt x="1367" y="473"/>
                    </a:cubicBezTo>
                    <a:cubicBezTo>
                      <a:pt x="1367" y="480"/>
                      <a:pt x="1372" y="485"/>
                      <a:pt x="1379" y="485"/>
                    </a:cubicBezTo>
                    <a:cubicBezTo>
                      <a:pt x="1386" y="485"/>
                      <a:pt x="1391" y="480"/>
                      <a:pt x="1391" y="473"/>
                    </a:cubicBezTo>
                    <a:cubicBezTo>
                      <a:pt x="1391" y="467"/>
                      <a:pt x="1386" y="461"/>
                      <a:pt x="1379" y="461"/>
                    </a:cubicBezTo>
                    <a:close/>
                    <a:moveTo>
                      <a:pt x="1519" y="338"/>
                    </a:moveTo>
                    <a:cubicBezTo>
                      <a:pt x="1512" y="338"/>
                      <a:pt x="1507" y="344"/>
                      <a:pt x="1507" y="350"/>
                    </a:cubicBezTo>
                    <a:cubicBezTo>
                      <a:pt x="1507" y="357"/>
                      <a:pt x="1512" y="363"/>
                      <a:pt x="1519" y="363"/>
                    </a:cubicBezTo>
                    <a:cubicBezTo>
                      <a:pt x="1526" y="363"/>
                      <a:pt x="1531" y="357"/>
                      <a:pt x="1531" y="350"/>
                    </a:cubicBezTo>
                    <a:cubicBezTo>
                      <a:pt x="1531" y="344"/>
                      <a:pt x="1526" y="338"/>
                      <a:pt x="1519" y="338"/>
                    </a:cubicBezTo>
                    <a:close/>
                    <a:moveTo>
                      <a:pt x="1554" y="615"/>
                    </a:moveTo>
                    <a:cubicBezTo>
                      <a:pt x="1548" y="615"/>
                      <a:pt x="1542" y="620"/>
                      <a:pt x="1542" y="627"/>
                    </a:cubicBezTo>
                    <a:cubicBezTo>
                      <a:pt x="1542" y="634"/>
                      <a:pt x="1548" y="639"/>
                      <a:pt x="1554" y="639"/>
                    </a:cubicBezTo>
                    <a:cubicBezTo>
                      <a:pt x="1561" y="639"/>
                      <a:pt x="1566" y="634"/>
                      <a:pt x="1566" y="627"/>
                    </a:cubicBezTo>
                    <a:cubicBezTo>
                      <a:pt x="1566" y="620"/>
                      <a:pt x="1561" y="615"/>
                      <a:pt x="1554" y="615"/>
                    </a:cubicBezTo>
                    <a:close/>
                    <a:moveTo>
                      <a:pt x="1519" y="400"/>
                    </a:moveTo>
                    <a:cubicBezTo>
                      <a:pt x="1512" y="400"/>
                      <a:pt x="1507" y="405"/>
                      <a:pt x="1507" y="412"/>
                    </a:cubicBezTo>
                    <a:cubicBezTo>
                      <a:pt x="1507" y="419"/>
                      <a:pt x="1512" y="424"/>
                      <a:pt x="1519" y="424"/>
                    </a:cubicBezTo>
                    <a:cubicBezTo>
                      <a:pt x="1526" y="424"/>
                      <a:pt x="1531" y="419"/>
                      <a:pt x="1531" y="412"/>
                    </a:cubicBezTo>
                    <a:cubicBezTo>
                      <a:pt x="1531" y="405"/>
                      <a:pt x="1526" y="400"/>
                      <a:pt x="1519" y="400"/>
                    </a:cubicBezTo>
                    <a:close/>
                    <a:moveTo>
                      <a:pt x="1554" y="769"/>
                    </a:moveTo>
                    <a:cubicBezTo>
                      <a:pt x="1548" y="769"/>
                      <a:pt x="1542" y="774"/>
                      <a:pt x="1542" y="781"/>
                    </a:cubicBezTo>
                    <a:cubicBezTo>
                      <a:pt x="1542" y="787"/>
                      <a:pt x="1548" y="793"/>
                      <a:pt x="1554" y="793"/>
                    </a:cubicBezTo>
                    <a:cubicBezTo>
                      <a:pt x="1561" y="793"/>
                      <a:pt x="1566" y="787"/>
                      <a:pt x="1566" y="781"/>
                    </a:cubicBezTo>
                    <a:cubicBezTo>
                      <a:pt x="1566" y="774"/>
                      <a:pt x="1561" y="769"/>
                      <a:pt x="1554" y="769"/>
                    </a:cubicBezTo>
                    <a:close/>
                    <a:moveTo>
                      <a:pt x="1554" y="738"/>
                    </a:moveTo>
                    <a:cubicBezTo>
                      <a:pt x="1548" y="738"/>
                      <a:pt x="1542" y="743"/>
                      <a:pt x="1542" y="750"/>
                    </a:cubicBezTo>
                    <a:cubicBezTo>
                      <a:pt x="1542" y="757"/>
                      <a:pt x="1548" y="762"/>
                      <a:pt x="1554" y="762"/>
                    </a:cubicBezTo>
                    <a:cubicBezTo>
                      <a:pt x="1561" y="762"/>
                      <a:pt x="1566" y="757"/>
                      <a:pt x="1566" y="750"/>
                    </a:cubicBezTo>
                    <a:cubicBezTo>
                      <a:pt x="1566" y="743"/>
                      <a:pt x="1561" y="738"/>
                      <a:pt x="1554" y="738"/>
                    </a:cubicBezTo>
                    <a:close/>
                    <a:moveTo>
                      <a:pt x="1519" y="246"/>
                    </a:moveTo>
                    <a:cubicBezTo>
                      <a:pt x="1512" y="246"/>
                      <a:pt x="1507" y="251"/>
                      <a:pt x="1507" y="258"/>
                    </a:cubicBezTo>
                    <a:cubicBezTo>
                      <a:pt x="1507" y="265"/>
                      <a:pt x="1512" y="270"/>
                      <a:pt x="1519" y="270"/>
                    </a:cubicBezTo>
                    <a:cubicBezTo>
                      <a:pt x="1526" y="270"/>
                      <a:pt x="1531" y="265"/>
                      <a:pt x="1531" y="258"/>
                    </a:cubicBezTo>
                    <a:cubicBezTo>
                      <a:pt x="1531" y="251"/>
                      <a:pt x="1526" y="246"/>
                      <a:pt x="1519" y="246"/>
                    </a:cubicBezTo>
                    <a:close/>
                    <a:moveTo>
                      <a:pt x="1414" y="584"/>
                    </a:moveTo>
                    <a:cubicBezTo>
                      <a:pt x="1407" y="584"/>
                      <a:pt x="1402" y="590"/>
                      <a:pt x="1402" y="596"/>
                    </a:cubicBezTo>
                    <a:cubicBezTo>
                      <a:pt x="1402" y="603"/>
                      <a:pt x="1407" y="608"/>
                      <a:pt x="1414" y="608"/>
                    </a:cubicBezTo>
                    <a:cubicBezTo>
                      <a:pt x="1421" y="608"/>
                      <a:pt x="1426" y="603"/>
                      <a:pt x="1426" y="596"/>
                    </a:cubicBezTo>
                    <a:cubicBezTo>
                      <a:pt x="1426" y="590"/>
                      <a:pt x="1421" y="584"/>
                      <a:pt x="1414" y="584"/>
                    </a:cubicBezTo>
                    <a:close/>
                    <a:moveTo>
                      <a:pt x="1344" y="430"/>
                    </a:moveTo>
                    <a:cubicBezTo>
                      <a:pt x="1337" y="430"/>
                      <a:pt x="1332" y="436"/>
                      <a:pt x="1332" y="443"/>
                    </a:cubicBezTo>
                    <a:cubicBezTo>
                      <a:pt x="1332" y="449"/>
                      <a:pt x="1337" y="455"/>
                      <a:pt x="1344" y="455"/>
                    </a:cubicBezTo>
                    <a:cubicBezTo>
                      <a:pt x="1351" y="455"/>
                      <a:pt x="1356" y="449"/>
                      <a:pt x="1356" y="443"/>
                    </a:cubicBezTo>
                    <a:cubicBezTo>
                      <a:pt x="1356" y="436"/>
                      <a:pt x="1351" y="430"/>
                      <a:pt x="1344" y="430"/>
                    </a:cubicBezTo>
                    <a:close/>
                    <a:moveTo>
                      <a:pt x="1414" y="707"/>
                    </a:moveTo>
                    <a:cubicBezTo>
                      <a:pt x="1407" y="707"/>
                      <a:pt x="1402" y="713"/>
                      <a:pt x="1402" y="719"/>
                    </a:cubicBezTo>
                    <a:cubicBezTo>
                      <a:pt x="1402" y="726"/>
                      <a:pt x="1407" y="731"/>
                      <a:pt x="1414" y="731"/>
                    </a:cubicBezTo>
                    <a:cubicBezTo>
                      <a:pt x="1421" y="731"/>
                      <a:pt x="1426" y="726"/>
                      <a:pt x="1426" y="719"/>
                    </a:cubicBezTo>
                    <a:cubicBezTo>
                      <a:pt x="1426" y="713"/>
                      <a:pt x="1421" y="707"/>
                      <a:pt x="1414" y="707"/>
                    </a:cubicBezTo>
                    <a:close/>
                    <a:moveTo>
                      <a:pt x="1729" y="184"/>
                    </a:moveTo>
                    <a:cubicBezTo>
                      <a:pt x="1723" y="184"/>
                      <a:pt x="1717" y="190"/>
                      <a:pt x="1717" y="197"/>
                    </a:cubicBezTo>
                    <a:cubicBezTo>
                      <a:pt x="1717" y="203"/>
                      <a:pt x="1723" y="209"/>
                      <a:pt x="1729" y="209"/>
                    </a:cubicBezTo>
                    <a:cubicBezTo>
                      <a:pt x="1736" y="209"/>
                      <a:pt x="1742" y="203"/>
                      <a:pt x="1742" y="197"/>
                    </a:cubicBezTo>
                    <a:cubicBezTo>
                      <a:pt x="1742" y="190"/>
                      <a:pt x="1736" y="184"/>
                      <a:pt x="1729" y="184"/>
                    </a:cubicBezTo>
                    <a:close/>
                    <a:moveTo>
                      <a:pt x="1414" y="676"/>
                    </a:moveTo>
                    <a:cubicBezTo>
                      <a:pt x="1407" y="676"/>
                      <a:pt x="1402" y="682"/>
                      <a:pt x="1402" y="689"/>
                    </a:cubicBezTo>
                    <a:cubicBezTo>
                      <a:pt x="1402" y="695"/>
                      <a:pt x="1407" y="701"/>
                      <a:pt x="1414" y="701"/>
                    </a:cubicBezTo>
                    <a:cubicBezTo>
                      <a:pt x="1421" y="701"/>
                      <a:pt x="1426" y="695"/>
                      <a:pt x="1426" y="689"/>
                    </a:cubicBezTo>
                    <a:cubicBezTo>
                      <a:pt x="1426" y="682"/>
                      <a:pt x="1421" y="676"/>
                      <a:pt x="1414" y="676"/>
                    </a:cubicBezTo>
                    <a:close/>
                    <a:moveTo>
                      <a:pt x="1309" y="338"/>
                    </a:moveTo>
                    <a:cubicBezTo>
                      <a:pt x="1302" y="338"/>
                      <a:pt x="1297" y="344"/>
                      <a:pt x="1297" y="350"/>
                    </a:cubicBezTo>
                    <a:cubicBezTo>
                      <a:pt x="1297" y="357"/>
                      <a:pt x="1302" y="363"/>
                      <a:pt x="1309" y="363"/>
                    </a:cubicBezTo>
                    <a:cubicBezTo>
                      <a:pt x="1316" y="363"/>
                      <a:pt x="1321" y="357"/>
                      <a:pt x="1321" y="350"/>
                    </a:cubicBezTo>
                    <a:cubicBezTo>
                      <a:pt x="1321" y="344"/>
                      <a:pt x="1316" y="338"/>
                      <a:pt x="1309" y="338"/>
                    </a:cubicBezTo>
                    <a:close/>
                    <a:moveTo>
                      <a:pt x="1554" y="215"/>
                    </a:moveTo>
                    <a:cubicBezTo>
                      <a:pt x="1548" y="215"/>
                      <a:pt x="1542" y="221"/>
                      <a:pt x="1542" y="227"/>
                    </a:cubicBezTo>
                    <a:cubicBezTo>
                      <a:pt x="1542" y="234"/>
                      <a:pt x="1548" y="240"/>
                      <a:pt x="1554" y="240"/>
                    </a:cubicBezTo>
                    <a:cubicBezTo>
                      <a:pt x="1561" y="240"/>
                      <a:pt x="1566" y="234"/>
                      <a:pt x="1566" y="227"/>
                    </a:cubicBezTo>
                    <a:cubicBezTo>
                      <a:pt x="1566" y="221"/>
                      <a:pt x="1561" y="215"/>
                      <a:pt x="1554" y="215"/>
                    </a:cubicBezTo>
                    <a:close/>
                    <a:moveTo>
                      <a:pt x="1379" y="676"/>
                    </a:moveTo>
                    <a:cubicBezTo>
                      <a:pt x="1372" y="676"/>
                      <a:pt x="1367" y="682"/>
                      <a:pt x="1367" y="689"/>
                    </a:cubicBezTo>
                    <a:cubicBezTo>
                      <a:pt x="1367" y="695"/>
                      <a:pt x="1372" y="701"/>
                      <a:pt x="1379" y="701"/>
                    </a:cubicBezTo>
                    <a:cubicBezTo>
                      <a:pt x="1386" y="701"/>
                      <a:pt x="1391" y="695"/>
                      <a:pt x="1391" y="689"/>
                    </a:cubicBezTo>
                    <a:cubicBezTo>
                      <a:pt x="1391" y="682"/>
                      <a:pt x="1386" y="676"/>
                      <a:pt x="1379" y="676"/>
                    </a:cubicBezTo>
                    <a:close/>
                    <a:moveTo>
                      <a:pt x="1379" y="646"/>
                    </a:moveTo>
                    <a:cubicBezTo>
                      <a:pt x="1372" y="646"/>
                      <a:pt x="1367" y="651"/>
                      <a:pt x="1367" y="658"/>
                    </a:cubicBezTo>
                    <a:cubicBezTo>
                      <a:pt x="1367" y="664"/>
                      <a:pt x="1372" y="670"/>
                      <a:pt x="1379" y="670"/>
                    </a:cubicBezTo>
                    <a:cubicBezTo>
                      <a:pt x="1386" y="670"/>
                      <a:pt x="1391" y="664"/>
                      <a:pt x="1391" y="658"/>
                    </a:cubicBezTo>
                    <a:cubicBezTo>
                      <a:pt x="1391" y="651"/>
                      <a:pt x="1386" y="646"/>
                      <a:pt x="1379" y="646"/>
                    </a:cubicBezTo>
                    <a:close/>
                    <a:moveTo>
                      <a:pt x="1414" y="523"/>
                    </a:moveTo>
                    <a:cubicBezTo>
                      <a:pt x="1407" y="523"/>
                      <a:pt x="1402" y="528"/>
                      <a:pt x="1402" y="535"/>
                    </a:cubicBezTo>
                    <a:cubicBezTo>
                      <a:pt x="1402" y="542"/>
                      <a:pt x="1407" y="547"/>
                      <a:pt x="1414" y="547"/>
                    </a:cubicBezTo>
                    <a:cubicBezTo>
                      <a:pt x="1421" y="547"/>
                      <a:pt x="1426" y="542"/>
                      <a:pt x="1426" y="535"/>
                    </a:cubicBezTo>
                    <a:cubicBezTo>
                      <a:pt x="1426" y="528"/>
                      <a:pt x="1421" y="523"/>
                      <a:pt x="1414" y="523"/>
                    </a:cubicBezTo>
                    <a:close/>
                    <a:moveTo>
                      <a:pt x="1414" y="615"/>
                    </a:moveTo>
                    <a:cubicBezTo>
                      <a:pt x="1407" y="615"/>
                      <a:pt x="1402" y="620"/>
                      <a:pt x="1402" y="627"/>
                    </a:cubicBezTo>
                    <a:cubicBezTo>
                      <a:pt x="1402" y="634"/>
                      <a:pt x="1407" y="639"/>
                      <a:pt x="1414" y="639"/>
                    </a:cubicBezTo>
                    <a:cubicBezTo>
                      <a:pt x="1421" y="639"/>
                      <a:pt x="1426" y="634"/>
                      <a:pt x="1426" y="627"/>
                    </a:cubicBezTo>
                    <a:cubicBezTo>
                      <a:pt x="1426" y="620"/>
                      <a:pt x="1421" y="615"/>
                      <a:pt x="1414" y="615"/>
                    </a:cubicBezTo>
                    <a:close/>
                    <a:moveTo>
                      <a:pt x="1379" y="523"/>
                    </a:moveTo>
                    <a:cubicBezTo>
                      <a:pt x="1372" y="523"/>
                      <a:pt x="1367" y="528"/>
                      <a:pt x="1367" y="535"/>
                    </a:cubicBezTo>
                    <a:cubicBezTo>
                      <a:pt x="1367" y="542"/>
                      <a:pt x="1372" y="547"/>
                      <a:pt x="1379" y="547"/>
                    </a:cubicBezTo>
                    <a:cubicBezTo>
                      <a:pt x="1386" y="547"/>
                      <a:pt x="1391" y="542"/>
                      <a:pt x="1391" y="535"/>
                    </a:cubicBezTo>
                    <a:cubicBezTo>
                      <a:pt x="1391" y="528"/>
                      <a:pt x="1386" y="523"/>
                      <a:pt x="1379" y="523"/>
                    </a:cubicBezTo>
                    <a:close/>
                    <a:moveTo>
                      <a:pt x="1379" y="369"/>
                    </a:moveTo>
                    <a:cubicBezTo>
                      <a:pt x="1372" y="369"/>
                      <a:pt x="1367" y="374"/>
                      <a:pt x="1367" y="381"/>
                    </a:cubicBezTo>
                    <a:cubicBezTo>
                      <a:pt x="1367" y="388"/>
                      <a:pt x="1372" y="393"/>
                      <a:pt x="1379" y="393"/>
                    </a:cubicBezTo>
                    <a:cubicBezTo>
                      <a:pt x="1386" y="393"/>
                      <a:pt x="1391" y="388"/>
                      <a:pt x="1391" y="381"/>
                    </a:cubicBezTo>
                    <a:cubicBezTo>
                      <a:pt x="1391" y="374"/>
                      <a:pt x="1386" y="369"/>
                      <a:pt x="1379" y="369"/>
                    </a:cubicBezTo>
                    <a:close/>
                    <a:moveTo>
                      <a:pt x="1379" y="553"/>
                    </a:moveTo>
                    <a:cubicBezTo>
                      <a:pt x="1372" y="553"/>
                      <a:pt x="1367" y="559"/>
                      <a:pt x="1367" y="566"/>
                    </a:cubicBezTo>
                    <a:cubicBezTo>
                      <a:pt x="1367" y="572"/>
                      <a:pt x="1372" y="578"/>
                      <a:pt x="1379" y="578"/>
                    </a:cubicBezTo>
                    <a:cubicBezTo>
                      <a:pt x="1386" y="578"/>
                      <a:pt x="1391" y="572"/>
                      <a:pt x="1391" y="566"/>
                    </a:cubicBezTo>
                    <a:cubicBezTo>
                      <a:pt x="1391" y="559"/>
                      <a:pt x="1386" y="553"/>
                      <a:pt x="1379" y="553"/>
                    </a:cubicBezTo>
                    <a:close/>
                    <a:moveTo>
                      <a:pt x="1379" y="492"/>
                    </a:moveTo>
                    <a:cubicBezTo>
                      <a:pt x="1372" y="492"/>
                      <a:pt x="1367" y="497"/>
                      <a:pt x="1367" y="504"/>
                    </a:cubicBezTo>
                    <a:cubicBezTo>
                      <a:pt x="1367" y="511"/>
                      <a:pt x="1372" y="516"/>
                      <a:pt x="1379" y="516"/>
                    </a:cubicBezTo>
                    <a:cubicBezTo>
                      <a:pt x="1386" y="516"/>
                      <a:pt x="1391" y="511"/>
                      <a:pt x="1391" y="504"/>
                    </a:cubicBezTo>
                    <a:cubicBezTo>
                      <a:pt x="1391" y="497"/>
                      <a:pt x="1386" y="492"/>
                      <a:pt x="1379" y="492"/>
                    </a:cubicBezTo>
                    <a:close/>
                    <a:moveTo>
                      <a:pt x="1379" y="584"/>
                    </a:moveTo>
                    <a:cubicBezTo>
                      <a:pt x="1372" y="584"/>
                      <a:pt x="1367" y="590"/>
                      <a:pt x="1367" y="596"/>
                    </a:cubicBezTo>
                    <a:cubicBezTo>
                      <a:pt x="1367" y="603"/>
                      <a:pt x="1372" y="608"/>
                      <a:pt x="1379" y="608"/>
                    </a:cubicBezTo>
                    <a:cubicBezTo>
                      <a:pt x="1386" y="608"/>
                      <a:pt x="1391" y="603"/>
                      <a:pt x="1391" y="596"/>
                    </a:cubicBezTo>
                    <a:cubicBezTo>
                      <a:pt x="1391" y="590"/>
                      <a:pt x="1386" y="584"/>
                      <a:pt x="1379" y="584"/>
                    </a:cubicBezTo>
                    <a:close/>
                    <a:moveTo>
                      <a:pt x="1379" y="430"/>
                    </a:moveTo>
                    <a:cubicBezTo>
                      <a:pt x="1372" y="430"/>
                      <a:pt x="1367" y="436"/>
                      <a:pt x="1367" y="443"/>
                    </a:cubicBezTo>
                    <a:cubicBezTo>
                      <a:pt x="1367" y="449"/>
                      <a:pt x="1372" y="455"/>
                      <a:pt x="1379" y="455"/>
                    </a:cubicBezTo>
                    <a:cubicBezTo>
                      <a:pt x="1386" y="455"/>
                      <a:pt x="1391" y="449"/>
                      <a:pt x="1391" y="443"/>
                    </a:cubicBezTo>
                    <a:cubicBezTo>
                      <a:pt x="1391" y="436"/>
                      <a:pt x="1386" y="430"/>
                      <a:pt x="1379" y="430"/>
                    </a:cubicBezTo>
                    <a:close/>
                    <a:moveTo>
                      <a:pt x="1449" y="400"/>
                    </a:moveTo>
                    <a:cubicBezTo>
                      <a:pt x="1442" y="400"/>
                      <a:pt x="1437" y="405"/>
                      <a:pt x="1437" y="412"/>
                    </a:cubicBezTo>
                    <a:cubicBezTo>
                      <a:pt x="1437" y="419"/>
                      <a:pt x="1442" y="424"/>
                      <a:pt x="1449" y="424"/>
                    </a:cubicBezTo>
                    <a:cubicBezTo>
                      <a:pt x="1456" y="424"/>
                      <a:pt x="1461" y="419"/>
                      <a:pt x="1461" y="412"/>
                    </a:cubicBezTo>
                    <a:cubicBezTo>
                      <a:pt x="1461" y="405"/>
                      <a:pt x="1456" y="400"/>
                      <a:pt x="1449" y="400"/>
                    </a:cubicBezTo>
                    <a:close/>
                    <a:moveTo>
                      <a:pt x="1344" y="338"/>
                    </a:moveTo>
                    <a:cubicBezTo>
                      <a:pt x="1337" y="338"/>
                      <a:pt x="1332" y="344"/>
                      <a:pt x="1332" y="350"/>
                    </a:cubicBezTo>
                    <a:cubicBezTo>
                      <a:pt x="1332" y="357"/>
                      <a:pt x="1337" y="363"/>
                      <a:pt x="1344" y="363"/>
                    </a:cubicBezTo>
                    <a:cubicBezTo>
                      <a:pt x="1351" y="363"/>
                      <a:pt x="1356" y="357"/>
                      <a:pt x="1356" y="350"/>
                    </a:cubicBezTo>
                    <a:cubicBezTo>
                      <a:pt x="1356" y="344"/>
                      <a:pt x="1351" y="338"/>
                      <a:pt x="1344" y="338"/>
                    </a:cubicBezTo>
                    <a:close/>
                    <a:moveTo>
                      <a:pt x="1379" y="615"/>
                    </a:moveTo>
                    <a:cubicBezTo>
                      <a:pt x="1372" y="615"/>
                      <a:pt x="1367" y="620"/>
                      <a:pt x="1367" y="627"/>
                    </a:cubicBezTo>
                    <a:cubicBezTo>
                      <a:pt x="1367" y="634"/>
                      <a:pt x="1372" y="639"/>
                      <a:pt x="1379" y="639"/>
                    </a:cubicBezTo>
                    <a:cubicBezTo>
                      <a:pt x="1386" y="639"/>
                      <a:pt x="1391" y="634"/>
                      <a:pt x="1391" y="627"/>
                    </a:cubicBezTo>
                    <a:cubicBezTo>
                      <a:pt x="1391" y="620"/>
                      <a:pt x="1386" y="615"/>
                      <a:pt x="1379" y="615"/>
                    </a:cubicBezTo>
                    <a:close/>
                    <a:moveTo>
                      <a:pt x="1379" y="400"/>
                    </a:moveTo>
                    <a:cubicBezTo>
                      <a:pt x="1372" y="400"/>
                      <a:pt x="1367" y="405"/>
                      <a:pt x="1367" y="412"/>
                    </a:cubicBezTo>
                    <a:cubicBezTo>
                      <a:pt x="1367" y="419"/>
                      <a:pt x="1372" y="424"/>
                      <a:pt x="1379" y="424"/>
                    </a:cubicBezTo>
                    <a:cubicBezTo>
                      <a:pt x="1386" y="424"/>
                      <a:pt x="1391" y="419"/>
                      <a:pt x="1391" y="412"/>
                    </a:cubicBezTo>
                    <a:cubicBezTo>
                      <a:pt x="1391" y="405"/>
                      <a:pt x="1386" y="400"/>
                      <a:pt x="1379" y="400"/>
                    </a:cubicBezTo>
                    <a:close/>
                    <a:moveTo>
                      <a:pt x="1344" y="584"/>
                    </a:moveTo>
                    <a:cubicBezTo>
                      <a:pt x="1337" y="584"/>
                      <a:pt x="1332" y="590"/>
                      <a:pt x="1332" y="596"/>
                    </a:cubicBezTo>
                    <a:cubicBezTo>
                      <a:pt x="1332" y="603"/>
                      <a:pt x="1337" y="608"/>
                      <a:pt x="1344" y="608"/>
                    </a:cubicBezTo>
                    <a:cubicBezTo>
                      <a:pt x="1351" y="608"/>
                      <a:pt x="1356" y="603"/>
                      <a:pt x="1356" y="596"/>
                    </a:cubicBezTo>
                    <a:cubicBezTo>
                      <a:pt x="1356" y="590"/>
                      <a:pt x="1351" y="584"/>
                      <a:pt x="1344" y="584"/>
                    </a:cubicBezTo>
                    <a:close/>
                    <a:moveTo>
                      <a:pt x="1449" y="584"/>
                    </a:moveTo>
                    <a:cubicBezTo>
                      <a:pt x="1442" y="584"/>
                      <a:pt x="1437" y="590"/>
                      <a:pt x="1437" y="596"/>
                    </a:cubicBezTo>
                    <a:cubicBezTo>
                      <a:pt x="1437" y="603"/>
                      <a:pt x="1442" y="608"/>
                      <a:pt x="1449" y="608"/>
                    </a:cubicBezTo>
                    <a:cubicBezTo>
                      <a:pt x="1456" y="608"/>
                      <a:pt x="1461" y="603"/>
                      <a:pt x="1461" y="596"/>
                    </a:cubicBezTo>
                    <a:cubicBezTo>
                      <a:pt x="1461" y="590"/>
                      <a:pt x="1456" y="584"/>
                      <a:pt x="1449" y="584"/>
                    </a:cubicBezTo>
                    <a:close/>
                    <a:moveTo>
                      <a:pt x="1344" y="523"/>
                    </a:moveTo>
                    <a:cubicBezTo>
                      <a:pt x="1337" y="523"/>
                      <a:pt x="1332" y="528"/>
                      <a:pt x="1332" y="535"/>
                    </a:cubicBezTo>
                    <a:cubicBezTo>
                      <a:pt x="1332" y="542"/>
                      <a:pt x="1337" y="547"/>
                      <a:pt x="1344" y="547"/>
                    </a:cubicBezTo>
                    <a:cubicBezTo>
                      <a:pt x="1351" y="547"/>
                      <a:pt x="1356" y="542"/>
                      <a:pt x="1356" y="535"/>
                    </a:cubicBezTo>
                    <a:cubicBezTo>
                      <a:pt x="1356" y="528"/>
                      <a:pt x="1351" y="523"/>
                      <a:pt x="1344" y="523"/>
                    </a:cubicBezTo>
                    <a:close/>
                    <a:moveTo>
                      <a:pt x="1344" y="461"/>
                    </a:moveTo>
                    <a:cubicBezTo>
                      <a:pt x="1337" y="461"/>
                      <a:pt x="1332" y="467"/>
                      <a:pt x="1332" y="473"/>
                    </a:cubicBezTo>
                    <a:cubicBezTo>
                      <a:pt x="1332" y="480"/>
                      <a:pt x="1337" y="485"/>
                      <a:pt x="1344" y="485"/>
                    </a:cubicBezTo>
                    <a:cubicBezTo>
                      <a:pt x="1351" y="485"/>
                      <a:pt x="1356" y="480"/>
                      <a:pt x="1356" y="473"/>
                    </a:cubicBezTo>
                    <a:cubicBezTo>
                      <a:pt x="1356" y="467"/>
                      <a:pt x="1351" y="461"/>
                      <a:pt x="1344" y="461"/>
                    </a:cubicBezTo>
                    <a:close/>
                    <a:moveTo>
                      <a:pt x="1449" y="553"/>
                    </a:moveTo>
                    <a:cubicBezTo>
                      <a:pt x="1442" y="553"/>
                      <a:pt x="1437" y="559"/>
                      <a:pt x="1437" y="566"/>
                    </a:cubicBezTo>
                    <a:cubicBezTo>
                      <a:pt x="1437" y="572"/>
                      <a:pt x="1442" y="578"/>
                      <a:pt x="1449" y="578"/>
                    </a:cubicBezTo>
                    <a:cubicBezTo>
                      <a:pt x="1456" y="578"/>
                      <a:pt x="1461" y="572"/>
                      <a:pt x="1461" y="566"/>
                    </a:cubicBezTo>
                    <a:cubicBezTo>
                      <a:pt x="1461" y="559"/>
                      <a:pt x="1456" y="553"/>
                      <a:pt x="1449" y="553"/>
                    </a:cubicBezTo>
                    <a:close/>
                    <a:moveTo>
                      <a:pt x="1449" y="492"/>
                    </a:moveTo>
                    <a:cubicBezTo>
                      <a:pt x="1442" y="492"/>
                      <a:pt x="1437" y="497"/>
                      <a:pt x="1437" y="504"/>
                    </a:cubicBezTo>
                    <a:cubicBezTo>
                      <a:pt x="1437" y="511"/>
                      <a:pt x="1442" y="516"/>
                      <a:pt x="1449" y="516"/>
                    </a:cubicBezTo>
                    <a:cubicBezTo>
                      <a:pt x="1456" y="516"/>
                      <a:pt x="1461" y="511"/>
                      <a:pt x="1461" y="504"/>
                    </a:cubicBezTo>
                    <a:cubicBezTo>
                      <a:pt x="1461" y="497"/>
                      <a:pt x="1456" y="492"/>
                      <a:pt x="1449" y="492"/>
                    </a:cubicBezTo>
                    <a:close/>
                    <a:moveTo>
                      <a:pt x="1449" y="523"/>
                    </a:moveTo>
                    <a:cubicBezTo>
                      <a:pt x="1442" y="523"/>
                      <a:pt x="1437" y="528"/>
                      <a:pt x="1437" y="535"/>
                    </a:cubicBezTo>
                    <a:cubicBezTo>
                      <a:pt x="1437" y="542"/>
                      <a:pt x="1442" y="547"/>
                      <a:pt x="1449" y="547"/>
                    </a:cubicBezTo>
                    <a:cubicBezTo>
                      <a:pt x="1456" y="547"/>
                      <a:pt x="1461" y="542"/>
                      <a:pt x="1461" y="535"/>
                    </a:cubicBezTo>
                    <a:cubicBezTo>
                      <a:pt x="1461" y="528"/>
                      <a:pt x="1456" y="523"/>
                      <a:pt x="1449" y="523"/>
                    </a:cubicBezTo>
                    <a:close/>
                    <a:moveTo>
                      <a:pt x="1449" y="430"/>
                    </a:moveTo>
                    <a:cubicBezTo>
                      <a:pt x="1442" y="430"/>
                      <a:pt x="1437" y="436"/>
                      <a:pt x="1437" y="443"/>
                    </a:cubicBezTo>
                    <a:cubicBezTo>
                      <a:pt x="1437" y="449"/>
                      <a:pt x="1442" y="455"/>
                      <a:pt x="1449" y="455"/>
                    </a:cubicBezTo>
                    <a:cubicBezTo>
                      <a:pt x="1456" y="455"/>
                      <a:pt x="1461" y="449"/>
                      <a:pt x="1461" y="443"/>
                    </a:cubicBezTo>
                    <a:cubicBezTo>
                      <a:pt x="1461" y="436"/>
                      <a:pt x="1456" y="430"/>
                      <a:pt x="1449" y="430"/>
                    </a:cubicBezTo>
                    <a:close/>
                    <a:moveTo>
                      <a:pt x="1449" y="461"/>
                    </a:moveTo>
                    <a:cubicBezTo>
                      <a:pt x="1442" y="461"/>
                      <a:pt x="1437" y="467"/>
                      <a:pt x="1437" y="473"/>
                    </a:cubicBezTo>
                    <a:cubicBezTo>
                      <a:pt x="1437" y="480"/>
                      <a:pt x="1442" y="485"/>
                      <a:pt x="1449" y="485"/>
                    </a:cubicBezTo>
                    <a:cubicBezTo>
                      <a:pt x="1456" y="485"/>
                      <a:pt x="1461" y="480"/>
                      <a:pt x="1461" y="473"/>
                    </a:cubicBezTo>
                    <a:cubicBezTo>
                      <a:pt x="1461" y="467"/>
                      <a:pt x="1456" y="461"/>
                      <a:pt x="1449" y="461"/>
                    </a:cubicBezTo>
                    <a:close/>
                    <a:moveTo>
                      <a:pt x="1344" y="492"/>
                    </a:moveTo>
                    <a:cubicBezTo>
                      <a:pt x="1337" y="492"/>
                      <a:pt x="1332" y="497"/>
                      <a:pt x="1332" y="504"/>
                    </a:cubicBezTo>
                    <a:cubicBezTo>
                      <a:pt x="1332" y="511"/>
                      <a:pt x="1337" y="516"/>
                      <a:pt x="1344" y="516"/>
                    </a:cubicBezTo>
                    <a:cubicBezTo>
                      <a:pt x="1351" y="516"/>
                      <a:pt x="1356" y="511"/>
                      <a:pt x="1356" y="504"/>
                    </a:cubicBezTo>
                    <a:cubicBezTo>
                      <a:pt x="1356" y="497"/>
                      <a:pt x="1351" y="492"/>
                      <a:pt x="1344" y="492"/>
                    </a:cubicBezTo>
                    <a:close/>
                    <a:moveTo>
                      <a:pt x="1344" y="553"/>
                    </a:moveTo>
                    <a:cubicBezTo>
                      <a:pt x="1337" y="553"/>
                      <a:pt x="1332" y="559"/>
                      <a:pt x="1332" y="566"/>
                    </a:cubicBezTo>
                    <a:cubicBezTo>
                      <a:pt x="1332" y="572"/>
                      <a:pt x="1337" y="578"/>
                      <a:pt x="1344" y="578"/>
                    </a:cubicBezTo>
                    <a:cubicBezTo>
                      <a:pt x="1351" y="578"/>
                      <a:pt x="1356" y="572"/>
                      <a:pt x="1356" y="566"/>
                    </a:cubicBezTo>
                    <a:cubicBezTo>
                      <a:pt x="1356" y="559"/>
                      <a:pt x="1351" y="553"/>
                      <a:pt x="1344" y="553"/>
                    </a:cubicBezTo>
                    <a:close/>
                    <a:moveTo>
                      <a:pt x="1414" y="400"/>
                    </a:moveTo>
                    <a:cubicBezTo>
                      <a:pt x="1407" y="400"/>
                      <a:pt x="1402" y="405"/>
                      <a:pt x="1402" y="412"/>
                    </a:cubicBezTo>
                    <a:cubicBezTo>
                      <a:pt x="1402" y="419"/>
                      <a:pt x="1407" y="424"/>
                      <a:pt x="1414" y="424"/>
                    </a:cubicBezTo>
                    <a:cubicBezTo>
                      <a:pt x="1421" y="424"/>
                      <a:pt x="1426" y="419"/>
                      <a:pt x="1426" y="412"/>
                    </a:cubicBezTo>
                    <a:cubicBezTo>
                      <a:pt x="1426" y="405"/>
                      <a:pt x="1421" y="400"/>
                      <a:pt x="1414" y="400"/>
                    </a:cubicBezTo>
                    <a:close/>
                    <a:moveTo>
                      <a:pt x="1414" y="461"/>
                    </a:moveTo>
                    <a:cubicBezTo>
                      <a:pt x="1407" y="461"/>
                      <a:pt x="1402" y="467"/>
                      <a:pt x="1402" y="473"/>
                    </a:cubicBezTo>
                    <a:cubicBezTo>
                      <a:pt x="1402" y="480"/>
                      <a:pt x="1407" y="485"/>
                      <a:pt x="1414" y="485"/>
                    </a:cubicBezTo>
                    <a:cubicBezTo>
                      <a:pt x="1421" y="485"/>
                      <a:pt x="1426" y="480"/>
                      <a:pt x="1426" y="473"/>
                    </a:cubicBezTo>
                    <a:cubicBezTo>
                      <a:pt x="1426" y="467"/>
                      <a:pt x="1421" y="461"/>
                      <a:pt x="1414" y="461"/>
                    </a:cubicBezTo>
                    <a:close/>
                    <a:moveTo>
                      <a:pt x="1414" y="430"/>
                    </a:moveTo>
                    <a:cubicBezTo>
                      <a:pt x="1407" y="430"/>
                      <a:pt x="1402" y="436"/>
                      <a:pt x="1402" y="443"/>
                    </a:cubicBezTo>
                    <a:cubicBezTo>
                      <a:pt x="1402" y="449"/>
                      <a:pt x="1407" y="455"/>
                      <a:pt x="1414" y="455"/>
                    </a:cubicBezTo>
                    <a:cubicBezTo>
                      <a:pt x="1421" y="455"/>
                      <a:pt x="1426" y="449"/>
                      <a:pt x="1426" y="443"/>
                    </a:cubicBezTo>
                    <a:cubicBezTo>
                      <a:pt x="1426" y="436"/>
                      <a:pt x="1421" y="430"/>
                      <a:pt x="1414" y="430"/>
                    </a:cubicBezTo>
                    <a:close/>
                    <a:moveTo>
                      <a:pt x="1414" y="492"/>
                    </a:moveTo>
                    <a:cubicBezTo>
                      <a:pt x="1407" y="492"/>
                      <a:pt x="1402" y="497"/>
                      <a:pt x="1402" y="504"/>
                    </a:cubicBezTo>
                    <a:cubicBezTo>
                      <a:pt x="1402" y="511"/>
                      <a:pt x="1407" y="516"/>
                      <a:pt x="1414" y="516"/>
                    </a:cubicBezTo>
                    <a:cubicBezTo>
                      <a:pt x="1421" y="516"/>
                      <a:pt x="1426" y="511"/>
                      <a:pt x="1426" y="504"/>
                    </a:cubicBezTo>
                    <a:cubicBezTo>
                      <a:pt x="1426" y="497"/>
                      <a:pt x="1421" y="492"/>
                      <a:pt x="1414" y="492"/>
                    </a:cubicBezTo>
                    <a:close/>
                    <a:moveTo>
                      <a:pt x="1449" y="738"/>
                    </a:moveTo>
                    <a:cubicBezTo>
                      <a:pt x="1442" y="738"/>
                      <a:pt x="1437" y="743"/>
                      <a:pt x="1437" y="750"/>
                    </a:cubicBezTo>
                    <a:cubicBezTo>
                      <a:pt x="1437" y="757"/>
                      <a:pt x="1442" y="762"/>
                      <a:pt x="1449" y="762"/>
                    </a:cubicBezTo>
                    <a:cubicBezTo>
                      <a:pt x="1456" y="762"/>
                      <a:pt x="1461" y="757"/>
                      <a:pt x="1461" y="750"/>
                    </a:cubicBezTo>
                    <a:cubicBezTo>
                      <a:pt x="1461" y="743"/>
                      <a:pt x="1456" y="738"/>
                      <a:pt x="1449" y="738"/>
                    </a:cubicBezTo>
                    <a:close/>
                    <a:moveTo>
                      <a:pt x="1414" y="307"/>
                    </a:moveTo>
                    <a:cubicBezTo>
                      <a:pt x="1407" y="307"/>
                      <a:pt x="1402" y="313"/>
                      <a:pt x="1402" y="320"/>
                    </a:cubicBezTo>
                    <a:cubicBezTo>
                      <a:pt x="1402" y="326"/>
                      <a:pt x="1407" y="332"/>
                      <a:pt x="1414" y="332"/>
                    </a:cubicBezTo>
                    <a:cubicBezTo>
                      <a:pt x="1421" y="332"/>
                      <a:pt x="1426" y="326"/>
                      <a:pt x="1426" y="320"/>
                    </a:cubicBezTo>
                    <a:cubicBezTo>
                      <a:pt x="1426" y="313"/>
                      <a:pt x="1421" y="307"/>
                      <a:pt x="1414" y="307"/>
                    </a:cubicBezTo>
                    <a:close/>
                    <a:moveTo>
                      <a:pt x="1449" y="615"/>
                    </a:moveTo>
                    <a:cubicBezTo>
                      <a:pt x="1442" y="615"/>
                      <a:pt x="1437" y="620"/>
                      <a:pt x="1437" y="627"/>
                    </a:cubicBezTo>
                    <a:cubicBezTo>
                      <a:pt x="1437" y="634"/>
                      <a:pt x="1442" y="639"/>
                      <a:pt x="1449" y="639"/>
                    </a:cubicBezTo>
                    <a:cubicBezTo>
                      <a:pt x="1456" y="639"/>
                      <a:pt x="1461" y="634"/>
                      <a:pt x="1461" y="627"/>
                    </a:cubicBezTo>
                    <a:cubicBezTo>
                      <a:pt x="1461" y="620"/>
                      <a:pt x="1456" y="615"/>
                      <a:pt x="1449" y="615"/>
                    </a:cubicBezTo>
                    <a:close/>
                    <a:moveTo>
                      <a:pt x="1414" y="338"/>
                    </a:moveTo>
                    <a:cubicBezTo>
                      <a:pt x="1407" y="338"/>
                      <a:pt x="1402" y="344"/>
                      <a:pt x="1402" y="350"/>
                    </a:cubicBezTo>
                    <a:cubicBezTo>
                      <a:pt x="1402" y="357"/>
                      <a:pt x="1407" y="363"/>
                      <a:pt x="1414" y="363"/>
                    </a:cubicBezTo>
                    <a:cubicBezTo>
                      <a:pt x="1421" y="363"/>
                      <a:pt x="1426" y="357"/>
                      <a:pt x="1426" y="350"/>
                    </a:cubicBezTo>
                    <a:cubicBezTo>
                      <a:pt x="1426" y="344"/>
                      <a:pt x="1421" y="338"/>
                      <a:pt x="1414" y="338"/>
                    </a:cubicBezTo>
                    <a:close/>
                    <a:moveTo>
                      <a:pt x="1414" y="369"/>
                    </a:moveTo>
                    <a:cubicBezTo>
                      <a:pt x="1407" y="369"/>
                      <a:pt x="1402" y="374"/>
                      <a:pt x="1402" y="381"/>
                    </a:cubicBezTo>
                    <a:cubicBezTo>
                      <a:pt x="1402" y="388"/>
                      <a:pt x="1407" y="393"/>
                      <a:pt x="1414" y="393"/>
                    </a:cubicBezTo>
                    <a:cubicBezTo>
                      <a:pt x="1421" y="393"/>
                      <a:pt x="1426" y="388"/>
                      <a:pt x="1426" y="381"/>
                    </a:cubicBezTo>
                    <a:cubicBezTo>
                      <a:pt x="1426" y="374"/>
                      <a:pt x="1421" y="369"/>
                      <a:pt x="1414" y="369"/>
                    </a:cubicBezTo>
                    <a:close/>
                    <a:moveTo>
                      <a:pt x="1414" y="553"/>
                    </a:moveTo>
                    <a:cubicBezTo>
                      <a:pt x="1407" y="553"/>
                      <a:pt x="1402" y="559"/>
                      <a:pt x="1402" y="566"/>
                    </a:cubicBezTo>
                    <a:cubicBezTo>
                      <a:pt x="1402" y="572"/>
                      <a:pt x="1407" y="578"/>
                      <a:pt x="1414" y="578"/>
                    </a:cubicBezTo>
                    <a:cubicBezTo>
                      <a:pt x="1421" y="578"/>
                      <a:pt x="1426" y="572"/>
                      <a:pt x="1426" y="566"/>
                    </a:cubicBezTo>
                    <a:cubicBezTo>
                      <a:pt x="1426" y="559"/>
                      <a:pt x="1421" y="553"/>
                      <a:pt x="1414" y="553"/>
                    </a:cubicBezTo>
                    <a:close/>
                    <a:moveTo>
                      <a:pt x="1694" y="707"/>
                    </a:moveTo>
                    <a:cubicBezTo>
                      <a:pt x="1688" y="707"/>
                      <a:pt x="1682" y="713"/>
                      <a:pt x="1682" y="719"/>
                    </a:cubicBezTo>
                    <a:cubicBezTo>
                      <a:pt x="1682" y="726"/>
                      <a:pt x="1688" y="731"/>
                      <a:pt x="1694" y="731"/>
                    </a:cubicBezTo>
                    <a:cubicBezTo>
                      <a:pt x="1701" y="731"/>
                      <a:pt x="1707" y="726"/>
                      <a:pt x="1707" y="719"/>
                    </a:cubicBezTo>
                    <a:cubicBezTo>
                      <a:pt x="1707" y="713"/>
                      <a:pt x="1701" y="707"/>
                      <a:pt x="1694" y="707"/>
                    </a:cubicBezTo>
                    <a:close/>
                    <a:moveTo>
                      <a:pt x="1694" y="676"/>
                    </a:moveTo>
                    <a:cubicBezTo>
                      <a:pt x="1688" y="676"/>
                      <a:pt x="1682" y="682"/>
                      <a:pt x="1682" y="689"/>
                    </a:cubicBezTo>
                    <a:cubicBezTo>
                      <a:pt x="1682" y="695"/>
                      <a:pt x="1688" y="701"/>
                      <a:pt x="1694" y="701"/>
                    </a:cubicBezTo>
                    <a:cubicBezTo>
                      <a:pt x="1701" y="701"/>
                      <a:pt x="1707" y="695"/>
                      <a:pt x="1707" y="689"/>
                    </a:cubicBezTo>
                    <a:cubicBezTo>
                      <a:pt x="1707" y="682"/>
                      <a:pt x="1701" y="676"/>
                      <a:pt x="1694" y="676"/>
                    </a:cubicBezTo>
                    <a:close/>
                    <a:moveTo>
                      <a:pt x="1659" y="184"/>
                    </a:moveTo>
                    <a:cubicBezTo>
                      <a:pt x="1653" y="184"/>
                      <a:pt x="1647" y="190"/>
                      <a:pt x="1647" y="197"/>
                    </a:cubicBezTo>
                    <a:cubicBezTo>
                      <a:pt x="1647" y="203"/>
                      <a:pt x="1653" y="209"/>
                      <a:pt x="1659" y="209"/>
                    </a:cubicBezTo>
                    <a:cubicBezTo>
                      <a:pt x="1666" y="209"/>
                      <a:pt x="1672" y="203"/>
                      <a:pt x="1672" y="197"/>
                    </a:cubicBezTo>
                    <a:cubicBezTo>
                      <a:pt x="1672" y="190"/>
                      <a:pt x="1666" y="184"/>
                      <a:pt x="1659" y="184"/>
                    </a:cubicBezTo>
                    <a:close/>
                    <a:moveTo>
                      <a:pt x="1694" y="646"/>
                    </a:moveTo>
                    <a:cubicBezTo>
                      <a:pt x="1688" y="646"/>
                      <a:pt x="1682" y="651"/>
                      <a:pt x="1682" y="658"/>
                    </a:cubicBezTo>
                    <a:cubicBezTo>
                      <a:pt x="1682" y="664"/>
                      <a:pt x="1688" y="670"/>
                      <a:pt x="1694" y="670"/>
                    </a:cubicBezTo>
                    <a:cubicBezTo>
                      <a:pt x="1701" y="670"/>
                      <a:pt x="1707" y="664"/>
                      <a:pt x="1707" y="658"/>
                    </a:cubicBezTo>
                    <a:cubicBezTo>
                      <a:pt x="1707" y="651"/>
                      <a:pt x="1701" y="646"/>
                      <a:pt x="1694" y="646"/>
                    </a:cubicBezTo>
                    <a:close/>
                    <a:moveTo>
                      <a:pt x="1694" y="738"/>
                    </a:moveTo>
                    <a:cubicBezTo>
                      <a:pt x="1688" y="738"/>
                      <a:pt x="1682" y="743"/>
                      <a:pt x="1682" y="750"/>
                    </a:cubicBezTo>
                    <a:cubicBezTo>
                      <a:pt x="1682" y="757"/>
                      <a:pt x="1688" y="762"/>
                      <a:pt x="1694" y="762"/>
                    </a:cubicBezTo>
                    <a:cubicBezTo>
                      <a:pt x="1701" y="762"/>
                      <a:pt x="1707" y="757"/>
                      <a:pt x="1707" y="750"/>
                    </a:cubicBezTo>
                    <a:cubicBezTo>
                      <a:pt x="1707" y="743"/>
                      <a:pt x="1701" y="738"/>
                      <a:pt x="1694" y="738"/>
                    </a:cubicBezTo>
                    <a:close/>
                    <a:moveTo>
                      <a:pt x="1694" y="769"/>
                    </a:moveTo>
                    <a:cubicBezTo>
                      <a:pt x="1688" y="769"/>
                      <a:pt x="1682" y="774"/>
                      <a:pt x="1682" y="781"/>
                    </a:cubicBezTo>
                    <a:cubicBezTo>
                      <a:pt x="1682" y="787"/>
                      <a:pt x="1688" y="793"/>
                      <a:pt x="1694" y="793"/>
                    </a:cubicBezTo>
                    <a:cubicBezTo>
                      <a:pt x="1701" y="793"/>
                      <a:pt x="1707" y="787"/>
                      <a:pt x="1707" y="781"/>
                    </a:cubicBezTo>
                    <a:cubicBezTo>
                      <a:pt x="1707" y="774"/>
                      <a:pt x="1701" y="769"/>
                      <a:pt x="1694" y="769"/>
                    </a:cubicBezTo>
                    <a:close/>
                    <a:moveTo>
                      <a:pt x="1694" y="553"/>
                    </a:moveTo>
                    <a:cubicBezTo>
                      <a:pt x="1688" y="553"/>
                      <a:pt x="1682" y="559"/>
                      <a:pt x="1682" y="566"/>
                    </a:cubicBezTo>
                    <a:cubicBezTo>
                      <a:pt x="1682" y="572"/>
                      <a:pt x="1688" y="578"/>
                      <a:pt x="1694" y="578"/>
                    </a:cubicBezTo>
                    <a:cubicBezTo>
                      <a:pt x="1701" y="578"/>
                      <a:pt x="1707" y="572"/>
                      <a:pt x="1707" y="566"/>
                    </a:cubicBezTo>
                    <a:cubicBezTo>
                      <a:pt x="1707" y="559"/>
                      <a:pt x="1701" y="553"/>
                      <a:pt x="1694" y="553"/>
                    </a:cubicBezTo>
                    <a:close/>
                    <a:moveTo>
                      <a:pt x="1589" y="769"/>
                    </a:moveTo>
                    <a:cubicBezTo>
                      <a:pt x="1583" y="769"/>
                      <a:pt x="1577" y="774"/>
                      <a:pt x="1577" y="781"/>
                    </a:cubicBezTo>
                    <a:cubicBezTo>
                      <a:pt x="1577" y="787"/>
                      <a:pt x="1583" y="793"/>
                      <a:pt x="1589" y="793"/>
                    </a:cubicBezTo>
                    <a:cubicBezTo>
                      <a:pt x="1596" y="793"/>
                      <a:pt x="1601" y="787"/>
                      <a:pt x="1601" y="781"/>
                    </a:cubicBezTo>
                    <a:cubicBezTo>
                      <a:pt x="1601" y="774"/>
                      <a:pt x="1596" y="769"/>
                      <a:pt x="1589" y="769"/>
                    </a:cubicBezTo>
                    <a:close/>
                    <a:moveTo>
                      <a:pt x="1694" y="523"/>
                    </a:moveTo>
                    <a:cubicBezTo>
                      <a:pt x="1688" y="523"/>
                      <a:pt x="1682" y="528"/>
                      <a:pt x="1682" y="535"/>
                    </a:cubicBezTo>
                    <a:cubicBezTo>
                      <a:pt x="1682" y="542"/>
                      <a:pt x="1688" y="547"/>
                      <a:pt x="1694" y="547"/>
                    </a:cubicBezTo>
                    <a:cubicBezTo>
                      <a:pt x="1701" y="547"/>
                      <a:pt x="1707" y="542"/>
                      <a:pt x="1707" y="535"/>
                    </a:cubicBezTo>
                    <a:cubicBezTo>
                      <a:pt x="1707" y="528"/>
                      <a:pt x="1701" y="523"/>
                      <a:pt x="1694" y="523"/>
                    </a:cubicBezTo>
                    <a:close/>
                    <a:moveTo>
                      <a:pt x="1694" y="584"/>
                    </a:moveTo>
                    <a:cubicBezTo>
                      <a:pt x="1688" y="584"/>
                      <a:pt x="1682" y="590"/>
                      <a:pt x="1682" y="596"/>
                    </a:cubicBezTo>
                    <a:cubicBezTo>
                      <a:pt x="1682" y="603"/>
                      <a:pt x="1688" y="608"/>
                      <a:pt x="1694" y="608"/>
                    </a:cubicBezTo>
                    <a:cubicBezTo>
                      <a:pt x="1701" y="608"/>
                      <a:pt x="1707" y="603"/>
                      <a:pt x="1707" y="596"/>
                    </a:cubicBezTo>
                    <a:cubicBezTo>
                      <a:pt x="1707" y="590"/>
                      <a:pt x="1701" y="584"/>
                      <a:pt x="1694" y="584"/>
                    </a:cubicBezTo>
                    <a:close/>
                    <a:moveTo>
                      <a:pt x="1659" y="584"/>
                    </a:moveTo>
                    <a:cubicBezTo>
                      <a:pt x="1653" y="584"/>
                      <a:pt x="1647" y="590"/>
                      <a:pt x="1647" y="596"/>
                    </a:cubicBezTo>
                    <a:cubicBezTo>
                      <a:pt x="1647" y="603"/>
                      <a:pt x="1653" y="608"/>
                      <a:pt x="1659" y="608"/>
                    </a:cubicBezTo>
                    <a:cubicBezTo>
                      <a:pt x="1666" y="608"/>
                      <a:pt x="1672" y="603"/>
                      <a:pt x="1672" y="596"/>
                    </a:cubicBezTo>
                    <a:cubicBezTo>
                      <a:pt x="1672" y="590"/>
                      <a:pt x="1666" y="584"/>
                      <a:pt x="1659" y="584"/>
                    </a:cubicBezTo>
                    <a:close/>
                    <a:moveTo>
                      <a:pt x="1659" y="307"/>
                    </a:moveTo>
                    <a:cubicBezTo>
                      <a:pt x="1653" y="307"/>
                      <a:pt x="1647" y="313"/>
                      <a:pt x="1647" y="320"/>
                    </a:cubicBezTo>
                    <a:cubicBezTo>
                      <a:pt x="1647" y="326"/>
                      <a:pt x="1653" y="332"/>
                      <a:pt x="1659" y="332"/>
                    </a:cubicBezTo>
                    <a:cubicBezTo>
                      <a:pt x="1666" y="332"/>
                      <a:pt x="1672" y="326"/>
                      <a:pt x="1672" y="320"/>
                    </a:cubicBezTo>
                    <a:cubicBezTo>
                      <a:pt x="1672" y="313"/>
                      <a:pt x="1666" y="307"/>
                      <a:pt x="1659" y="307"/>
                    </a:cubicBezTo>
                    <a:close/>
                    <a:moveTo>
                      <a:pt x="1659" y="461"/>
                    </a:moveTo>
                    <a:cubicBezTo>
                      <a:pt x="1653" y="461"/>
                      <a:pt x="1647" y="467"/>
                      <a:pt x="1647" y="473"/>
                    </a:cubicBezTo>
                    <a:cubicBezTo>
                      <a:pt x="1647" y="480"/>
                      <a:pt x="1653" y="485"/>
                      <a:pt x="1659" y="485"/>
                    </a:cubicBezTo>
                    <a:cubicBezTo>
                      <a:pt x="1666" y="485"/>
                      <a:pt x="1672" y="480"/>
                      <a:pt x="1672" y="473"/>
                    </a:cubicBezTo>
                    <a:cubicBezTo>
                      <a:pt x="1672" y="467"/>
                      <a:pt x="1666" y="461"/>
                      <a:pt x="1659" y="461"/>
                    </a:cubicBezTo>
                    <a:close/>
                    <a:moveTo>
                      <a:pt x="1659" y="523"/>
                    </a:moveTo>
                    <a:cubicBezTo>
                      <a:pt x="1653" y="523"/>
                      <a:pt x="1647" y="528"/>
                      <a:pt x="1647" y="535"/>
                    </a:cubicBezTo>
                    <a:cubicBezTo>
                      <a:pt x="1647" y="542"/>
                      <a:pt x="1653" y="547"/>
                      <a:pt x="1659" y="547"/>
                    </a:cubicBezTo>
                    <a:cubicBezTo>
                      <a:pt x="1666" y="547"/>
                      <a:pt x="1672" y="542"/>
                      <a:pt x="1672" y="535"/>
                    </a:cubicBezTo>
                    <a:cubicBezTo>
                      <a:pt x="1672" y="528"/>
                      <a:pt x="1666" y="523"/>
                      <a:pt x="1659" y="523"/>
                    </a:cubicBezTo>
                    <a:close/>
                    <a:moveTo>
                      <a:pt x="1659" y="553"/>
                    </a:moveTo>
                    <a:cubicBezTo>
                      <a:pt x="1653" y="553"/>
                      <a:pt x="1647" y="559"/>
                      <a:pt x="1647" y="566"/>
                    </a:cubicBezTo>
                    <a:cubicBezTo>
                      <a:pt x="1647" y="572"/>
                      <a:pt x="1653" y="578"/>
                      <a:pt x="1659" y="578"/>
                    </a:cubicBezTo>
                    <a:cubicBezTo>
                      <a:pt x="1666" y="578"/>
                      <a:pt x="1672" y="572"/>
                      <a:pt x="1672" y="566"/>
                    </a:cubicBezTo>
                    <a:cubicBezTo>
                      <a:pt x="1672" y="559"/>
                      <a:pt x="1666" y="553"/>
                      <a:pt x="1659" y="553"/>
                    </a:cubicBezTo>
                    <a:close/>
                    <a:moveTo>
                      <a:pt x="1659" y="492"/>
                    </a:moveTo>
                    <a:cubicBezTo>
                      <a:pt x="1653" y="492"/>
                      <a:pt x="1647" y="497"/>
                      <a:pt x="1647" y="504"/>
                    </a:cubicBezTo>
                    <a:cubicBezTo>
                      <a:pt x="1647" y="511"/>
                      <a:pt x="1653" y="516"/>
                      <a:pt x="1659" y="516"/>
                    </a:cubicBezTo>
                    <a:cubicBezTo>
                      <a:pt x="1666" y="516"/>
                      <a:pt x="1672" y="511"/>
                      <a:pt x="1672" y="504"/>
                    </a:cubicBezTo>
                    <a:cubicBezTo>
                      <a:pt x="1672" y="497"/>
                      <a:pt x="1666" y="492"/>
                      <a:pt x="1659" y="492"/>
                    </a:cubicBezTo>
                    <a:close/>
                    <a:moveTo>
                      <a:pt x="1659" y="338"/>
                    </a:moveTo>
                    <a:cubicBezTo>
                      <a:pt x="1653" y="338"/>
                      <a:pt x="1647" y="344"/>
                      <a:pt x="1647" y="350"/>
                    </a:cubicBezTo>
                    <a:cubicBezTo>
                      <a:pt x="1647" y="357"/>
                      <a:pt x="1653" y="363"/>
                      <a:pt x="1659" y="363"/>
                    </a:cubicBezTo>
                    <a:cubicBezTo>
                      <a:pt x="1666" y="363"/>
                      <a:pt x="1672" y="357"/>
                      <a:pt x="1672" y="350"/>
                    </a:cubicBezTo>
                    <a:cubicBezTo>
                      <a:pt x="1672" y="344"/>
                      <a:pt x="1666" y="338"/>
                      <a:pt x="1659" y="338"/>
                    </a:cubicBezTo>
                    <a:close/>
                    <a:moveTo>
                      <a:pt x="1659" y="430"/>
                    </a:moveTo>
                    <a:cubicBezTo>
                      <a:pt x="1653" y="430"/>
                      <a:pt x="1647" y="436"/>
                      <a:pt x="1647" y="443"/>
                    </a:cubicBezTo>
                    <a:cubicBezTo>
                      <a:pt x="1647" y="449"/>
                      <a:pt x="1653" y="455"/>
                      <a:pt x="1659" y="455"/>
                    </a:cubicBezTo>
                    <a:cubicBezTo>
                      <a:pt x="1666" y="455"/>
                      <a:pt x="1672" y="449"/>
                      <a:pt x="1672" y="443"/>
                    </a:cubicBezTo>
                    <a:cubicBezTo>
                      <a:pt x="1672" y="436"/>
                      <a:pt x="1666" y="430"/>
                      <a:pt x="1659" y="430"/>
                    </a:cubicBezTo>
                    <a:close/>
                    <a:moveTo>
                      <a:pt x="1659" y="369"/>
                    </a:moveTo>
                    <a:cubicBezTo>
                      <a:pt x="1653" y="369"/>
                      <a:pt x="1647" y="374"/>
                      <a:pt x="1647" y="381"/>
                    </a:cubicBezTo>
                    <a:cubicBezTo>
                      <a:pt x="1647" y="388"/>
                      <a:pt x="1653" y="393"/>
                      <a:pt x="1659" y="393"/>
                    </a:cubicBezTo>
                    <a:cubicBezTo>
                      <a:pt x="1666" y="393"/>
                      <a:pt x="1672" y="388"/>
                      <a:pt x="1672" y="381"/>
                    </a:cubicBezTo>
                    <a:cubicBezTo>
                      <a:pt x="1672" y="374"/>
                      <a:pt x="1666" y="369"/>
                      <a:pt x="1659" y="369"/>
                    </a:cubicBezTo>
                    <a:close/>
                    <a:moveTo>
                      <a:pt x="1694" y="492"/>
                    </a:moveTo>
                    <a:cubicBezTo>
                      <a:pt x="1688" y="492"/>
                      <a:pt x="1682" y="497"/>
                      <a:pt x="1682" y="504"/>
                    </a:cubicBezTo>
                    <a:cubicBezTo>
                      <a:pt x="1682" y="511"/>
                      <a:pt x="1688" y="516"/>
                      <a:pt x="1694" y="516"/>
                    </a:cubicBezTo>
                    <a:cubicBezTo>
                      <a:pt x="1701" y="516"/>
                      <a:pt x="1707" y="511"/>
                      <a:pt x="1707" y="504"/>
                    </a:cubicBezTo>
                    <a:cubicBezTo>
                      <a:pt x="1707" y="497"/>
                      <a:pt x="1701" y="492"/>
                      <a:pt x="1694" y="492"/>
                    </a:cubicBezTo>
                    <a:close/>
                    <a:moveTo>
                      <a:pt x="1659" y="400"/>
                    </a:moveTo>
                    <a:cubicBezTo>
                      <a:pt x="1653" y="400"/>
                      <a:pt x="1647" y="405"/>
                      <a:pt x="1647" y="412"/>
                    </a:cubicBezTo>
                    <a:cubicBezTo>
                      <a:pt x="1647" y="419"/>
                      <a:pt x="1653" y="424"/>
                      <a:pt x="1659" y="424"/>
                    </a:cubicBezTo>
                    <a:cubicBezTo>
                      <a:pt x="1666" y="424"/>
                      <a:pt x="1672" y="419"/>
                      <a:pt x="1672" y="412"/>
                    </a:cubicBezTo>
                    <a:cubicBezTo>
                      <a:pt x="1672" y="405"/>
                      <a:pt x="1666" y="400"/>
                      <a:pt x="1659" y="400"/>
                    </a:cubicBezTo>
                    <a:close/>
                    <a:moveTo>
                      <a:pt x="1729" y="523"/>
                    </a:moveTo>
                    <a:cubicBezTo>
                      <a:pt x="1723" y="523"/>
                      <a:pt x="1717" y="528"/>
                      <a:pt x="1717" y="535"/>
                    </a:cubicBezTo>
                    <a:cubicBezTo>
                      <a:pt x="1717" y="542"/>
                      <a:pt x="1723" y="547"/>
                      <a:pt x="1729" y="547"/>
                    </a:cubicBezTo>
                    <a:cubicBezTo>
                      <a:pt x="1736" y="547"/>
                      <a:pt x="1742" y="542"/>
                      <a:pt x="1742" y="535"/>
                    </a:cubicBezTo>
                    <a:cubicBezTo>
                      <a:pt x="1742" y="528"/>
                      <a:pt x="1736" y="523"/>
                      <a:pt x="1729" y="523"/>
                    </a:cubicBezTo>
                    <a:close/>
                    <a:moveTo>
                      <a:pt x="1729" y="400"/>
                    </a:moveTo>
                    <a:cubicBezTo>
                      <a:pt x="1723" y="400"/>
                      <a:pt x="1717" y="405"/>
                      <a:pt x="1717" y="412"/>
                    </a:cubicBezTo>
                    <a:cubicBezTo>
                      <a:pt x="1717" y="419"/>
                      <a:pt x="1723" y="424"/>
                      <a:pt x="1729" y="424"/>
                    </a:cubicBezTo>
                    <a:cubicBezTo>
                      <a:pt x="1736" y="424"/>
                      <a:pt x="1742" y="419"/>
                      <a:pt x="1742" y="412"/>
                    </a:cubicBezTo>
                    <a:cubicBezTo>
                      <a:pt x="1742" y="405"/>
                      <a:pt x="1736" y="400"/>
                      <a:pt x="1729" y="400"/>
                    </a:cubicBezTo>
                    <a:close/>
                    <a:moveTo>
                      <a:pt x="1729" y="461"/>
                    </a:moveTo>
                    <a:cubicBezTo>
                      <a:pt x="1723" y="461"/>
                      <a:pt x="1717" y="467"/>
                      <a:pt x="1717" y="473"/>
                    </a:cubicBezTo>
                    <a:cubicBezTo>
                      <a:pt x="1717" y="480"/>
                      <a:pt x="1723" y="485"/>
                      <a:pt x="1729" y="485"/>
                    </a:cubicBezTo>
                    <a:cubicBezTo>
                      <a:pt x="1736" y="485"/>
                      <a:pt x="1742" y="480"/>
                      <a:pt x="1742" y="473"/>
                    </a:cubicBezTo>
                    <a:cubicBezTo>
                      <a:pt x="1742" y="467"/>
                      <a:pt x="1736" y="461"/>
                      <a:pt x="1729" y="461"/>
                    </a:cubicBezTo>
                    <a:close/>
                    <a:moveTo>
                      <a:pt x="1729" y="369"/>
                    </a:moveTo>
                    <a:cubicBezTo>
                      <a:pt x="1723" y="369"/>
                      <a:pt x="1717" y="374"/>
                      <a:pt x="1717" y="381"/>
                    </a:cubicBezTo>
                    <a:cubicBezTo>
                      <a:pt x="1717" y="388"/>
                      <a:pt x="1723" y="393"/>
                      <a:pt x="1729" y="393"/>
                    </a:cubicBezTo>
                    <a:cubicBezTo>
                      <a:pt x="1736" y="393"/>
                      <a:pt x="1742" y="388"/>
                      <a:pt x="1742" y="381"/>
                    </a:cubicBezTo>
                    <a:cubicBezTo>
                      <a:pt x="1742" y="374"/>
                      <a:pt x="1736" y="369"/>
                      <a:pt x="1729" y="369"/>
                    </a:cubicBezTo>
                    <a:close/>
                    <a:moveTo>
                      <a:pt x="1729" y="492"/>
                    </a:moveTo>
                    <a:cubicBezTo>
                      <a:pt x="1723" y="492"/>
                      <a:pt x="1717" y="497"/>
                      <a:pt x="1717" y="504"/>
                    </a:cubicBezTo>
                    <a:cubicBezTo>
                      <a:pt x="1717" y="511"/>
                      <a:pt x="1723" y="516"/>
                      <a:pt x="1729" y="516"/>
                    </a:cubicBezTo>
                    <a:cubicBezTo>
                      <a:pt x="1736" y="516"/>
                      <a:pt x="1742" y="511"/>
                      <a:pt x="1742" y="504"/>
                    </a:cubicBezTo>
                    <a:cubicBezTo>
                      <a:pt x="1742" y="497"/>
                      <a:pt x="1736" y="492"/>
                      <a:pt x="1729" y="492"/>
                    </a:cubicBezTo>
                    <a:close/>
                    <a:moveTo>
                      <a:pt x="1729" y="430"/>
                    </a:moveTo>
                    <a:cubicBezTo>
                      <a:pt x="1723" y="430"/>
                      <a:pt x="1717" y="436"/>
                      <a:pt x="1717" y="443"/>
                    </a:cubicBezTo>
                    <a:cubicBezTo>
                      <a:pt x="1717" y="449"/>
                      <a:pt x="1723" y="455"/>
                      <a:pt x="1729" y="455"/>
                    </a:cubicBezTo>
                    <a:cubicBezTo>
                      <a:pt x="1736" y="455"/>
                      <a:pt x="1742" y="449"/>
                      <a:pt x="1742" y="443"/>
                    </a:cubicBezTo>
                    <a:cubicBezTo>
                      <a:pt x="1742" y="436"/>
                      <a:pt x="1736" y="430"/>
                      <a:pt x="1729" y="430"/>
                    </a:cubicBezTo>
                    <a:close/>
                    <a:moveTo>
                      <a:pt x="1729" y="246"/>
                    </a:moveTo>
                    <a:cubicBezTo>
                      <a:pt x="1723" y="246"/>
                      <a:pt x="1717" y="251"/>
                      <a:pt x="1717" y="258"/>
                    </a:cubicBezTo>
                    <a:cubicBezTo>
                      <a:pt x="1717" y="265"/>
                      <a:pt x="1723" y="270"/>
                      <a:pt x="1729" y="270"/>
                    </a:cubicBezTo>
                    <a:cubicBezTo>
                      <a:pt x="1736" y="270"/>
                      <a:pt x="1742" y="265"/>
                      <a:pt x="1742" y="258"/>
                    </a:cubicBezTo>
                    <a:cubicBezTo>
                      <a:pt x="1742" y="251"/>
                      <a:pt x="1736" y="246"/>
                      <a:pt x="1729" y="246"/>
                    </a:cubicBezTo>
                    <a:close/>
                    <a:moveTo>
                      <a:pt x="1729" y="338"/>
                    </a:moveTo>
                    <a:cubicBezTo>
                      <a:pt x="1723" y="338"/>
                      <a:pt x="1717" y="344"/>
                      <a:pt x="1717" y="350"/>
                    </a:cubicBezTo>
                    <a:cubicBezTo>
                      <a:pt x="1717" y="357"/>
                      <a:pt x="1723" y="363"/>
                      <a:pt x="1729" y="363"/>
                    </a:cubicBezTo>
                    <a:cubicBezTo>
                      <a:pt x="1736" y="363"/>
                      <a:pt x="1742" y="357"/>
                      <a:pt x="1742" y="350"/>
                    </a:cubicBezTo>
                    <a:cubicBezTo>
                      <a:pt x="1742" y="344"/>
                      <a:pt x="1736" y="338"/>
                      <a:pt x="1729" y="338"/>
                    </a:cubicBezTo>
                    <a:close/>
                    <a:moveTo>
                      <a:pt x="1729" y="277"/>
                    </a:moveTo>
                    <a:cubicBezTo>
                      <a:pt x="1723" y="277"/>
                      <a:pt x="1717" y="282"/>
                      <a:pt x="1717" y="289"/>
                    </a:cubicBezTo>
                    <a:cubicBezTo>
                      <a:pt x="1717" y="296"/>
                      <a:pt x="1723" y="301"/>
                      <a:pt x="1729" y="301"/>
                    </a:cubicBezTo>
                    <a:cubicBezTo>
                      <a:pt x="1736" y="301"/>
                      <a:pt x="1742" y="296"/>
                      <a:pt x="1742" y="289"/>
                    </a:cubicBezTo>
                    <a:cubicBezTo>
                      <a:pt x="1742" y="282"/>
                      <a:pt x="1736" y="277"/>
                      <a:pt x="1729" y="277"/>
                    </a:cubicBezTo>
                    <a:close/>
                    <a:moveTo>
                      <a:pt x="1729" y="307"/>
                    </a:moveTo>
                    <a:cubicBezTo>
                      <a:pt x="1723" y="307"/>
                      <a:pt x="1717" y="313"/>
                      <a:pt x="1717" y="320"/>
                    </a:cubicBezTo>
                    <a:cubicBezTo>
                      <a:pt x="1717" y="326"/>
                      <a:pt x="1723" y="332"/>
                      <a:pt x="1729" y="332"/>
                    </a:cubicBezTo>
                    <a:cubicBezTo>
                      <a:pt x="1736" y="332"/>
                      <a:pt x="1742" y="326"/>
                      <a:pt x="1742" y="320"/>
                    </a:cubicBezTo>
                    <a:cubicBezTo>
                      <a:pt x="1742" y="313"/>
                      <a:pt x="1736" y="307"/>
                      <a:pt x="1729" y="307"/>
                    </a:cubicBezTo>
                    <a:close/>
                    <a:moveTo>
                      <a:pt x="1694" y="307"/>
                    </a:moveTo>
                    <a:cubicBezTo>
                      <a:pt x="1688" y="307"/>
                      <a:pt x="1682" y="313"/>
                      <a:pt x="1682" y="320"/>
                    </a:cubicBezTo>
                    <a:cubicBezTo>
                      <a:pt x="1682" y="326"/>
                      <a:pt x="1688" y="332"/>
                      <a:pt x="1694" y="332"/>
                    </a:cubicBezTo>
                    <a:cubicBezTo>
                      <a:pt x="1701" y="332"/>
                      <a:pt x="1707" y="326"/>
                      <a:pt x="1707" y="320"/>
                    </a:cubicBezTo>
                    <a:cubicBezTo>
                      <a:pt x="1707" y="313"/>
                      <a:pt x="1701" y="307"/>
                      <a:pt x="1694" y="307"/>
                    </a:cubicBezTo>
                    <a:close/>
                    <a:moveTo>
                      <a:pt x="1694" y="369"/>
                    </a:moveTo>
                    <a:cubicBezTo>
                      <a:pt x="1688" y="369"/>
                      <a:pt x="1682" y="374"/>
                      <a:pt x="1682" y="381"/>
                    </a:cubicBezTo>
                    <a:cubicBezTo>
                      <a:pt x="1682" y="388"/>
                      <a:pt x="1688" y="393"/>
                      <a:pt x="1694" y="393"/>
                    </a:cubicBezTo>
                    <a:cubicBezTo>
                      <a:pt x="1701" y="393"/>
                      <a:pt x="1707" y="388"/>
                      <a:pt x="1707" y="381"/>
                    </a:cubicBezTo>
                    <a:cubicBezTo>
                      <a:pt x="1707" y="374"/>
                      <a:pt x="1701" y="369"/>
                      <a:pt x="1694" y="369"/>
                    </a:cubicBezTo>
                    <a:close/>
                    <a:moveTo>
                      <a:pt x="1694" y="338"/>
                    </a:moveTo>
                    <a:cubicBezTo>
                      <a:pt x="1688" y="338"/>
                      <a:pt x="1682" y="344"/>
                      <a:pt x="1682" y="350"/>
                    </a:cubicBezTo>
                    <a:cubicBezTo>
                      <a:pt x="1682" y="357"/>
                      <a:pt x="1688" y="363"/>
                      <a:pt x="1694" y="363"/>
                    </a:cubicBezTo>
                    <a:cubicBezTo>
                      <a:pt x="1701" y="363"/>
                      <a:pt x="1707" y="357"/>
                      <a:pt x="1707" y="350"/>
                    </a:cubicBezTo>
                    <a:cubicBezTo>
                      <a:pt x="1707" y="344"/>
                      <a:pt x="1701" y="338"/>
                      <a:pt x="1694" y="338"/>
                    </a:cubicBezTo>
                    <a:close/>
                    <a:moveTo>
                      <a:pt x="1694" y="400"/>
                    </a:moveTo>
                    <a:cubicBezTo>
                      <a:pt x="1688" y="400"/>
                      <a:pt x="1682" y="405"/>
                      <a:pt x="1682" y="412"/>
                    </a:cubicBezTo>
                    <a:cubicBezTo>
                      <a:pt x="1682" y="419"/>
                      <a:pt x="1688" y="424"/>
                      <a:pt x="1694" y="424"/>
                    </a:cubicBezTo>
                    <a:cubicBezTo>
                      <a:pt x="1701" y="424"/>
                      <a:pt x="1707" y="419"/>
                      <a:pt x="1707" y="412"/>
                    </a:cubicBezTo>
                    <a:cubicBezTo>
                      <a:pt x="1707" y="405"/>
                      <a:pt x="1701" y="400"/>
                      <a:pt x="1694" y="400"/>
                    </a:cubicBezTo>
                    <a:close/>
                    <a:moveTo>
                      <a:pt x="1694" y="430"/>
                    </a:moveTo>
                    <a:cubicBezTo>
                      <a:pt x="1688" y="430"/>
                      <a:pt x="1682" y="436"/>
                      <a:pt x="1682" y="443"/>
                    </a:cubicBezTo>
                    <a:cubicBezTo>
                      <a:pt x="1682" y="449"/>
                      <a:pt x="1688" y="455"/>
                      <a:pt x="1694" y="455"/>
                    </a:cubicBezTo>
                    <a:cubicBezTo>
                      <a:pt x="1701" y="455"/>
                      <a:pt x="1707" y="449"/>
                      <a:pt x="1707" y="443"/>
                    </a:cubicBezTo>
                    <a:cubicBezTo>
                      <a:pt x="1707" y="436"/>
                      <a:pt x="1701" y="430"/>
                      <a:pt x="1694" y="430"/>
                    </a:cubicBezTo>
                    <a:close/>
                    <a:moveTo>
                      <a:pt x="1729" y="738"/>
                    </a:moveTo>
                    <a:cubicBezTo>
                      <a:pt x="1723" y="738"/>
                      <a:pt x="1717" y="743"/>
                      <a:pt x="1717" y="750"/>
                    </a:cubicBezTo>
                    <a:cubicBezTo>
                      <a:pt x="1717" y="757"/>
                      <a:pt x="1723" y="762"/>
                      <a:pt x="1729" y="762"/>
                    </a:cubicBezTo>
                    <a:cubicBezTo>
                      <a:pt x="1736" y="762"/>
                      <a:pt x="1742" y="757"/>
                      <a:pt x="1742" y="750"/>
                    </a:cubicBezTo>
                    <a:cubicBezTo>
                      <a:pt x="1742" y="743"/>
                      <a:pt x="1736" y="738"/>
                      <a:pt x="1729" y="738"/>
                    </a:cubicBezTo>
                    <a:close/>
                    <a:moveTo>
                      <a:pt x="1729" y="769"/>
                    </a:moveTo>
                    <a:cubicBezTo>
                      <a:pt x="1723" y="769"/>
                      <a:pt x="1717" y="774"/>
                      <a:pt x="1717" y="781"/>
                    </a:cubicBezTo>
                    <a:cubicBezTo>
                      <a:pt x="1717" y="787"/>
                      <a:pt x="1723" y="793"/>
                      <a:pt x="1729" y="793"/>
                    </a:cubicBezTo>
                    <a:cubicBezTo>
                      <a:pt x="1736" y="793"/>
                      <a:pt x="1742" y="787"/>
                      <a:pt x="1742" y="781"/>
                    </a:cubicBezTo>
                    <a:cubicBezTo>
                      <a:pt x="1742" y="774"/>
                      <a:pt x="1736" y="769"/>
                      <a:pt x="1729" y="769"/>
                    </a:cubicBezTo>
                    <a:close/>
                    <a:moveTo>
                      <a:pt x="1694" y="184"/>
                    </a:moveTo>
                    <a:cubicBezTo>
                      <a:pt x="1688" y="184"/>
                      <a:pt x="1682" y="190"/>
                      <a:pt x="1682" y="197"/>
                    </a:cubicBezTo>
                    <a:cubicBezTo>
                      <a:pt x="1682" y="203"/>
                      <a:pt x="1688" y="209"/>
                      <a:pt x="1694" y="209"/>
                    </a:cubicBezTo>
                    <a:cubicBezTo>
                      <a:pt x="1701" y="209"/>
                      <a:pt x="1707" y="203"/>
                      <a:pt x="1707" y="197"/>
                    </a:cubicBezTo>
                    <a:cubicBezTo>
                      <a:pt x="1707" y="190"/>
                      <a:pt x="1701" y="184"/>
                      <a:pt x="1694" y="184"/>
                    </a:cubicBezTo>
                    <a:close/>
                    <a:moveTo>
                      <a:pt x="1694" y="461"/>
                    </a:moveTo>
                    <a:cubicBezTo>
                      <a:pt x="1688" y="461"/>
                      <a:pt x="1682" y="467"/>
                      <a:pt x="1682" y="473"/>
                    </a:cubicBezTo>
                    <a:cubicBezTo>
                      <a:pt x="1682" y="480"/>
                      <a:pt x="1688" y="485"/>
                      <a:pt x="1694" y="485"/>
                    </a:cubicBezTo>
                    <a:cubicBezTo>
                      <a:pt x="1701" y="485"/>
                      <a:pt x="1707" y="480"/>
                      <a:pt x="1707" y="473"/>
                    </a:cubicBezTo>
                    <a:cubicBezTo>
                      <a:pt x="1707" y="467"/>
                      <a:pt x="1701" y="461"/>
                      <a:pt x="1694" y="461"/>
                    </a:cubicBezTo>
                    <a:close/>
                    <a:moveTo>
                      <a:pt x="1694" y="277"/>
                    </a:moveTo>
                    <a:cubicBezTo>
                      <a:pt x="1688" y="277"/>
                      <a:pt x="1682" y="282"/>
                      <a:pt x="1682" y="289"/>
                    </a:cubicBezTo>
                    <a:cubicBezTo>
                      <a:pt x="1682" y="296"/>
                      <a:pt x="1688" y="301"/>
                      <a:pt x="1694" y="301"/>
                    </a:cubicBezTo>
                    <a:cubicBezTo>
                      <a:pt x="1701" y="301"/>
                      <a:pt x="1707" y="296"/>
                      <a:pt x="1707" y="289"/>
                    </a:cubicBezTo>
                    <a:cubicBezTo>
                      <a:pt x="1707" y="282"/>
                      <a:pt x="1701" y="277"/>
                      <a:pt x="1694" y="277"/>
                    </a:cubicBezTo>
                    <a:close/>
                    <a:moveTo>
                      <a:pt x="1694" y="615"/>
                    </a:moveTo>
                    <a:cubicBezTo>
                      <a:pt x="1688" y="615"/>
                      <a:pt x="1682" y="620"/>
                      <a:pt x="1682" y="627"/>
                    </a:cubicBezTo>
                    <a:cubicBezTo>
                      <a:pt x="1682" y="634"/>
                      <a:pt x="1688" y="639"/>
                      <a:pt x="1694" y="639"/>
                    </a:cubicBezTo>
                    <a:cubicBezTo>
                      <a:pt x="1701" y="639"/>
                      <a:pt x="1707" y="634"/>
                      <a:pt x="1707" y="627"/>
                    </a:cubicBezTo>
                    <a:cubicBezTo>
                      <a:pt x="1707" y="620"/>
                      <a:pt x="1701" y="615"/>
                      <a:pt x="1694" y="615"/>
                    </a:cubicBezTo>
                    <a:close/>
                    <a:moveTo>
                      <a:pt x="1589" y="307"/>
                    </a:moveTo>
                    <a:cubicBezTo>
                      <a:pt x="1583" y="307"/>
                      <a:pt x="1577" y="313"/>
                      <a:pt x="1577" y="320"/>
                    </a:cubicBezTo>
                    <a:cubicBezTo>
                      <a:pt x="1577" y="326"/>
                      <a:pt x="1583" y="332"/>
                      <a:pt x="1589" y="332"/>
                    </a:cubicBezTo>
                    <a:cubicBezTo>
                      <a:pt x="1596" y="332"/>
                      <a:pt x="1601" y="326"/>
                      <a:pt x="1601" y="320"/>
                    </a:cubicBezTo>
                    <a:cubicBezTo>
                      <a:pt x="1601" y="313"/>
                      <a:pt x="1596" y="307"/>
                      <a:pt x="1589" y="307"/>
                    </a:cubicBezTo>
                    <a:close/>
                    <a:moveTo>
                      <a:pt x="1624" y="707"/>
                    </a:moveTo>
                    <a:cubicBezTo>
                      <a:pt x="1618" y="707"/>
                      <a:pt x="1612" y="713"/>
                      <a:pt x="1612" y="719"/>
                    </a:cubicBezTo>
                    <a:cubicBezTo>
                      <a:pt x="1612" y="726"/>
                      <a:pt x="1618" y="731"/>
                      <a:pt x="1624" y="731"/>
                    </a:cubicBezTo>
                    <a:cubicBezTo>
                      <a:pt x="1631" y="731"/>
                      <a:pt x="1636" y="726"/>
                      <a:pt x="1636" y="719"/>
                    </a:cubicBezTo>
                    <a:cubicBezTo>
                      <a:pt x="1636" y="713"/>
                      <a:pt x="1631" y="707"/>
                      <a:pt x="1624" y="707"/>
                    </a:cubicBezTo>
                    <a:close/>
                    <a:moveTo>
                      <a:pt x="1589" y="461"/>
                    </a:moveTo>
                    <a:cubicBezTo>
                      <a:pt x="1583" y="461"/>
                      <a:pt x="1577" y="467"/>
                      <a:pt x="1577" y="473"/>
                    </a:cubicBezTo>
                    <a:cubicBezTo>
                      <a:pt x="1577" y="480"/>
                      <a:pt x="1583" y="485"/>
                      <a:pt x="1589" y="485"/>
                    </a:cubicBezTo>
                    <a:cubicBezTo>
                      <a:pt x="1596" y="485"/>
                      <a:pt x="1601" y="480"/>
                      <a:pt x="1601" y="473"/>
                    </a:cubicBezTo>
                    <a:cubicBezTo>
                      <a:pt x="1601" y="467"/>
                      <a:pt x="1596" y="461"/>
                      <a:pt x="1589" y="461"/>
                    </a:cubicBezTo>
                    <a:close/>
                    <a:moveTo>
                      <a:pt x="1659" y="615"/>
                    </a:moveTo>
                    <a:cubicBezTo>
                      <a:pt x="1653" y="615"/>
                      <a:pt x="1647" y="620"/>
                      <a:pt x="1647" y="627"/>
                    </a:cubicBezTo>
                    <a:cubicBezTo>
                      <a:pt x="1647" y="634"/>
                      <a:pt x="1653" y="639"/>
                      <a:pt x="1659" y="639"/>
                    </a:cubicBezTo>
                    <a:cubicBezTo>
                      <a:pt x="1666" y="639"/>
                      <a:pt x="1672" y="634"/>
                      <a:pt x="1672" y="627"/>
                    </a:cubicBezTo>
                    <a:cubicBezTo>
                      <a:pt x="1672" y="620"/>
                      <a:pt x="1666" y="615"/>
                      <a:pt x="1659" y="615"/>
                    </a:cubicBezTo>
                    <a:close/>
                    <a:moveTo>
                      <a:pt x="1589" y="430"/>
                    </a:moveTo>
                    <a:cubicBezTo>
                      <a:pt x="1583" y="430"/>
                      <a:pt x="1577" y="436"/>
                      <a:pt x="1577" y="443"/>
                    </a:cubicBezTo>
                    <a:cubicBezTo>
                      <a:pt x="1577" y="449"/>
                      <a:pt x="1583" y="455"/>
                      <a:pt x="1589" y="455"/>
                    </a:cubicBezTo>
                    <a:cubicBezTo>
                      <a:pt x="1596" y="455"/>
                      <a:pt x="1601" y="449"/>
                      <a:pt x="1601" y="443"/>
                    </a:cubicBezTo>
                    <a:cubicBezTo>
                      <a:pt x="1601" y="436"/>
                      <a:pt x="1596" y="430"/>
                      <a:pt x="1589" y="430"/>
                    </a:cubicBezTo>
                    <a:close/>
                    <a:moveTo>
                      <a:pt x="1589" y="338"/>
                    </a:moveTo>
                    <a:cubicBezTo>
                      <a:pt x="1583" y="338"/>
                      <a:pt x="1577" y="344"/>
                      <a:pt x="1577" y="350"/>
                    </a:cubicBezTo>
                    <a:cubicBezTo>
                      <a:pt x="1577" y="357"/>
                      <a:pt x="1583" y="363"/>
                      <a:pt x="1589" y="363"/>
                    </a:cubicBezTo>
                    <a:cubicBezTo>
                      <a:pt x="1596" y="363"/>
                      <a:pt x="1601" y="357"/>
                      <a:pt x="1601" y="350"/>
                    </a:cubicBezTo>
                    <a:cubicBezTo>
                      <a:pt x="1601" y="344"/>
                      <a:pt x="1596" y="338"/>
                      <a:pt x="1589" y="338"/>
                    </a:cubicBezTo>
                    <a:close/>
                    <a:moveTo>
                      <a:pt x="1624" y="738"/>
                    </a:moveTo>
                    <a:cubicBezTo>
                      <a:pt x="1618" y="738"/>
                      <a:pt x="1612" y="743"/>
                      <a:pt x="1612" y="750"/>
                    </a:cubicBezTo>
                    <a:cubicBezTo>
                      <a:pt x="1612" y="757"/>
                      <a:pt x="1618" y="762"/>
                      <a:pt x="1624" y="762"/>
                    </a:cubicBezTo>
                    <a:cubicBezTo>
                      <a:pt x="1631" y="762"/>
                      <a:pt x="1636" y="757"/>
                      <a:pt x="1636" y="750"/>
                    </a:cubicBezTo>
                    <a:cubicBezTo>
                      <a:pt x="1636" y="743"/>
                      <a:pt x="1631" y="738"/>
                      <a:pt x="1624" y="738"/>
                    </a:cubicBezTo>
                    <a:close/>
                    <a:moveTo>
                      <a:pt x="1589" y="215"/>
                    </a:moveTo>
                    <a:cubicBezTo>
                      <a:pt x="1583" y="215"/>
                      <a:pt x="1577" y="221"/>
                      <a:pt x="1577" y="227"/>
                    </a:cubicBezTo>
                    <a:cubicBezTo>
                      <a:pt x="1577" y="234"/>
                      <a:pt x="1583" y="240"/>
                      <a:pt x="1589" y="240"/>
                    </a:cubicBezTo>
                    <a:cubicBezTo>
                      <a:pt x="1596" y="240"/>
                      <a:pt x="1601" y="234"/>
                      <a:pt x="1601" y="227"/>
                    </a:cubicBezTo>
                    <a:cubicBezTo>
                      <a:pt x="1601" y="221"/>
                      <a:pt x="1596" y="215"/>
                      <a:pt x="1589" y="215"/>
                    </a:cubicBezTo>
                    <a:close/>
                    <a:moveTo>
                      <a:pt x="1624" y="769"/>
                    </a:moveTo>
                    <a:cubicBezTo>
                      <a:pt x="1618" y="769"/>
                      <a:pt x="1612" y="774"/>
                      <a:pt x="1612" y="781"/>
                    </a:cubicBezTo>
                    <a:cubicBezTo>
                      <a:pt x="1612" y="787"/>
                      <a:pt x="1618" y="793"/>
                      <a:pt x="1624" y="793"/>
                    </a:cubicBezTo>
                    <a:cubicBezTo>
                      <a:pt x="1631" y="793"/>
                      <a:pt x="1636" y="787"/>
                      <a:pt x="1636" y="781"/>
                    </a:cubicBezTo>
                    <a:cubicBezTo>
                      <a:pt x="1636" y="774"/>
                      <a:pt x="1631" y="769"/>
                      <a:pt x="1624" y="769"/>
                    </a:cubicBezTo>
                    <a:close/>
                    <a:moveTo>
                      <a:pt x="1589" y="184"/>
                    </a:moveTo>
                    <a:cubicBezTo>
                      <a:pt x="1583" y="184"/>
                      <a:pt x="1577" y="190"/>
                      <a:pt x="1577" y="197"/>
                    </a:cubicBezTo>
                    <a:cubicBezTo>
                      <a:pt x="1577" y="203"/>
                      <a:pt x="1583" y="209"/>
                      <a:pt x="1589" y="209"/>
                    </a:cubicBezTo>
                    <a:cubicBezTo>
                      <a:pt x="1596" y="209"/>
                      <a:pt x="1601" y="203"/>
                      <a:pt x="1601" y="197"/>
                    </a:cubicBezTo>
                    <a:cubicBezTo>
                      <a:pt x="1601" y="190"/>
                      <a:pt x="1596" y="184"/>
                      <a:pt x="1589" y="184"/>
                    </a:cubicBezTo>
                    <a:close/>
                    <a:moveTo>
                      <a:pt x="1589" y="369"/>
                    </a:moveTo>
                    <a:cubicBezTo>
                      <a:pt x="1583" y="369"/>
                      <a:pt x="1577" y="374"/>
                      <a:pt x="1577" y="381"/>
                    </a:cubicBezTo>
                    <a:cubicBezTo>
                      <a:pt x="1577" y="388"/>
                      <a:pt x="1583" y="393"/>
                      <a:pt x="1589" y="393"/>
                    </a:cubicBezTo>
                    <a:cubicBezTo>
                      <a:pt x="1596" y="393"/>
                      <a:pt x="1601" y="388"/>
                      <a:pt x="1601" y="381"/>
                    </a:cubicBezTo>
                    <a:cubicBezTo>
                      <a:pt x="1601" y="374"/>
                      <a:pt x="1596" y="369"/>
                      <a:pt x="1589" y="369"/>
                    </a:cubicBezTo>
                    <a:close/>
                    <a:moveTo>
                      <a:pt x="1589" y="676"/>
                    </a:moveTo>
                    <a:cubicBezTo>
                      <a:pt x="1583" y="676"/>
                      <a:pt x="1577" y="682"/>
                      <a:pt x="1577" y="689"/>
                    </a:cubicBezTo>
                    <a:cubicBezTo>
                      <a:pt x="1577" y="695"/>
                      <a:pt x="1583" y="701"/>
                      <a:pt x="1589" y="701"/>
                    </a:cubicBezTo>
                    <a:cubicBezTo>
                      <a:pt x="1596" y="701"/>
                      <a:pt x="1601" y="695"/>
                      <a:pt x="1601" y="689"/>
                    </a:cubicBezTo>
                    <a:cubicBezTo>
                      <a:pt x="1601" y="682"/>
                      <a:pt x="1596" y="676"/>
                      <a:pt x="1589" y="676"/>
                    </a:cubicBezTo>
                    <a:close/>
                    <a:moveTo>
                      <a:pt x="1589" y="646"/>
                    </a:moveTo>
                    <a:cubicBezTo>
                      <a:pt x="1583" y="646"/>
                      <a:pt x="1577" y="651"/>
                      <a:pt x="1577" y="658"/>
                    </a:cubicBezTo>
                    <a:cubicBezTo>
                      <a:pt x="1577" y="664"/>
                      <a:pt x="1583" y="670"/>
                      <a:pt x="1589" y="670"/>
                    </a:cubicBezTo>
                    <a:cubicBezTo>
                      <a:pt x="1596" y="670"/>
                      <a:pt x="1601" y="664"/>
                      <a:pt x="1601" y="658"/>
                    </a:cubicBezTo>
                    <a:cubicBezTo>
                      <a:pt x="1601" y="651"/>
                      <a:pt x="1596" y="646"/>
                      <a:pt x="1589" y="646"/>
                    </a:cubicBezTo>
                    <a:close/>
                    <a:moveTo>
                      <a:pt x="1589" y="707"/>
                    </a:moveTo>
                    <a:cubicBezTo>
                      <a:pt x="1583" y="707"/>
                      <a:pt x="1577" y="713"/>
                      <a:pt x="1577" y="719"/>
                    </a:cubicBezTo>
                    <a:cubicBezTo>
                      <a:pt x="1577" y="726"/>
                      <a:pt x="1583" y="731"/>
                      <a:pt x="1589" y="731"/>
                    </a:cubicBezTo>
                    <a:cubicBezTo>
                      <a:pt x="1596" y="731"/>
                      <a:pt x="1601" y="726"/>
                      <a:pt x="1601" y="719"/>
                    </a:cubicBezTo>
                    <a:cubicBezTo>
                      <a:pt x="1601" y="713"/>
                      <a:pt x="1596" y="707"/>
                      <a:pt x="1589" y="707"/>
                    </a:cubicBezTo>
                    <a:close/>
                    <a:moveTo>
                      <a:pt x="1589" y="738"/>
                    </a:moveTo>
                    <a:cubicBezTo>
                      <a:pt x="1583" y="738"/>
                      <a:pt x="1577" y="743"/>
                      <a:pt x="1577" y="750"/>
                    </a:cubicBezTo>
                    <a:cubicBezTo>
                      <a:pt x="1577" y="757"/>
                      <a:pt x="1583" y="762"/>
                      <a:pt x="1589" y="762"/>
                    </a:cubicBezTo>
                    <a:cubicBezTo>
                      <a:pt x="1596" y="762"/>
                      <a:pt x="1601" y="757"/>
                      <a:pt x="1601" y="750"/>
                    </a:cubicBezTo>
                    <a:cubicBezTo>
                      <a:pt x="1601" y="743"/>
                      <a:pt x="1596" y="738"/>
                      <a:pt x="1589" y="738"/>
                    </a:cubicBezTo>
                    <a:close/>
                    <a:moveTo>
                      <a:pt x="1589" y="584"/>
                    </a:moveTo>
                    <a:cubicBezTo>
                      <a:pt x="1583" y="584"/>
                      <a:pt x="1577" y="590"/>
                      <a:pt x="1577" y="596"/>
                    </a:cubicBezTo>
                    <a:cubicBezTo>
                      <a:pt x="1577" y="603"/>
                      <a:pt x="1583" y="608"/>
                      <a:pt x="1589" y="608"/>
                    </a:cubicBezTo>
                    <a:cubicBezTo>
                      <a:pt x="1596" y="608"/>
                      <a:pt x="1601" y="603"/>
                      <a:pt x="1601" y="596"/>
                    </a:cubicBezTo>
                    <a:cubicBezTo>
                      <a:pt x="1601" y="590"/>
                      <a:pt x="1596" y="584"/>
                      <a:pt x="1589" y="584"/>
                    </a:cubicBezTo>
                    <a:close/>
                    <a:moveTo>
                      <a:pt x="1589" y="523"/>
                    </a:moveTo>
                    <a:cubicBezTo>
                      <a:pt x="1583" y="523"/>
                      <a:pt x="1577" y="528"/>
                      <a:pt x="1577" y="535"/>
                    </a:cubicBezTo>
                    <a:cubicBezTo>
                      <a:pt x="1577" y="542"/>
                      <a:pt x="1583" y="547"/>
                      <a:pt x="1589" y="547"/>
                    </a:cubicBezTo>
                    <a:cubicBezTo>
                      <a:pt x="1596" y="547"/>
                      <a:pt x="1601" y="542"/>
                      <a:pt x="1601" y="535"/>
                    </a:cubicBezTo>
                    <a:cubicBezTo>
                      <a:pt x="1601" y="528"/>
                      <a:pt x="1596" y="523"/>
                      <a:pt x="1589" y="523"/>
                    </a:cubicBezTo>
                    <a:close/>
                    <a:moveTo>
                      <a:pt x="1589" y="553"/>
                    </a:moveTo>
                    <a:cubicBezTo>
                      <a:pt x="1583" y="553"/>
                      <a:pt x="1577" y="559"/>
                      <a:pt x="1577" y="566"/>
                    </a:cubicBezTo>
                    <a:cubicBezTo>
                      <a:pt x="1577" y="572"/>
                      <a:pt x="1583" y="578"/>
                      <a:pt x="1589" y="578"/>
                    </a:cubicBezTo>
                    <a:cubicBezTo>
                      <a:pt x="1596" y="578"/>
                      <a:pt x="1601" y="572"/>
                      <a:pt x="1601" y="566"/>
                    </a:cubicBezTo>
                    <a:cubicBezTo>
                      <a:pt x="1601" y="559"/>
                      <a:pt x="1596" y="553"/>
                      <a:pt x="1589" y="553"/>
                    </a:cubicBezTo>
                    <a:close/>
                    <a:moveTo>
                      <a:pt x="1589" y="615"/>
                    </a:moveTo>
                    <a:cubicBezTo>
                      <a:pt x="1583" y="615"/>
                      <a:pt x="1577" y="620"/>
                      <a:pt x="1577" y="627"/>
                    </a:cubicBezTo>
                    <a:cubicBezTo>
                      <a:pt x="1577" y="634"/>
                      <a:pt x="1583" y="639"/>
                      <a:pt x="1589" y="639"/>
                    </a:cubicBezTo>
                    <a:cubicBezTo>
                      <a:pt x="1596" y="639"/>
                      <a:pt x="1601" y="634"/>
                      <a:pt x="1601" y="627"/>
                    </a:cubicBezTo>
                    <a:cubicBezTo>
                      <a:pt x="1601" y="620"/>
                      <a:pt x="1596" y="615"/>
                      <a:pt x="1589" y="615"/>
                    </a:cubicBezTo>
                    <a:close/>
                    <a:moveTo>
                      <a:pt x="1589" y="492"/>
                    </a:moveTo>
                    <a:cubicBezTo>
                      <a:pt x="1583" y="492"/>
                      <a:pt x="1577" y="497"/>
                      <a:pt x="1577" y="504"/>
                    </a:cubicBezTo>
                    <a:cubicBezTo>
                      <a:pt x="1577" y="511"/>
                      <a:pt x="1583" y="516"/>
                      <a:pt x="1589" y="516"/>
                    </a:cubicBezTo>
                    <a:cubicBezTo>
                      <a:pt x="1596" y="516"/>
                      <a:pt x="1601" y="511"/>
                      <a:pt x="1601" y="504"/>
                    </a:cubicBezTo>
                    <a:cubicBezTo>
                      <a:pt x="1601" y="497"/>
                      <a:pt x="1596" y="492"/>
                      <a:pt x="1589" y="492"/>
                    </a:cubicBezTo>
                    <a:close/>
                    <a:moveTo>
                      <a:pt x="1589" y="400"/>
                    </a:moveTo>
                    <a:cubicBezTo>
                      <a:pt x="1583" y="400"/>
                      <a:pt x="1577" y="405"/>
                      <a:pt x="1577" y="412"/>
                    </a:cubicBezTo>
                    <a:cubicBezTo>
                      <a:pt x="1577" y="419"/>
                      <a:pt x="1583" y="424"/>
                      <a:pt x="1589" y="424"/>
                    </a:cubicBezTo>
                    <a:cubicBezTo>
                      <a:pt x="1596" y="424"/>
                      <a:pt x="1601" y="419"/>
                      <a:pt x="1601" y="412"/>
                    </a:cubicBezTo>
                    <a:cubicBezTo>
                      <a:pt x="1601" y="405"/>
                      <a:pt x="1596" y="400"/>
                      <a:pt x="1589" y="400"/>
                    </a:cubicBezTo>
                    <a:close/>
                    <a:moveTo>
                      <a:pt x="1624" y="369"/>
                    </a:moveTo>
                    <a:cubicBezTo>
                      <a:pt x="1618" y="369"/>
                      <a:pt x="1612" y="374"/>
                      <a:pt x="1612" y="381"/>
                    </a:cubicBezTo>
                    <a:cubicBezTo>
                      <a:pt x="1612" y="388"/>
                      <a:pt x="1618" y="393"/>
                      <a:pt x="1624" y="393"/>
                    </a:cubicBezTo>
                    <a:cubicBezTo>
                      <a:pt x="1631" y="393"/>
                      <a:pt x="1636" y="388"/>
                      <a:pt x="1636" y="381"/>
                    </a:cubicBezTo>
                    <a:cubicBezTo>
                      <a:pt x="1636" y="374"/>
                      <a:pt x="1631" y="369"/>
                      <a:pt x="1624" y="369"/>
                    </a:cubicBezTo>
                    <a:close/>
                    <a:moveTo>
                      <a:pt x="1624" y="184"/>
                    </a:moveTo>
                    <a:cubicBezTo>
                      <a:pt x="1618" y="184"/>
                      <a:pt x="1612" y="190"/>
                      <a:pt x="1612" y="197"/>
                    </a:cubicBezTo>
                    <a:cubicBezTo>
                      <a:pt x="1612" y="203"/>
                      <a:pt x="1618" y="209"/>
                      <a:pt x="1624" y="209"/>
                    </a:cubicBezTo>
                    <a:cubicBezTo>
                      <a:pt x="1631" y="209"/>
                      <a:pt x="1636" y="203"/>
                      <a:pt x="1636" y="197"/>
                    </a:cubicBezTo>
                    <a:cubicBezTo>
                      <a:pt x="1636" y="190"/>
                      <a:pt x="1631" y="184"/>
                      <a:pt x="1624" y="184"/>
                    </a:cubicBezTo>
                    <a:close/>
                    <a:moveTo>
                      <a:pt x="1624" y="338"/>
                    </a:moveTo>
                    <a:cubicBezTo>
                      <a:pt x="1618" y="338"/>
                      <a:pt x="1612" y="344"/>
                      <a:pt x="1612" y="350"/>
                    </a:cubicBezTo>
                    <a:cubicBezTo>
                      <a:pt x="1612" y="357"/>
                      <a:pt x="1618" y="363"/>
                      <a:pt x="1624" y="363"/>
                    </a:cubicBezTo>
                    <a:cubicBezTo>
                      <a:pt x="1631" y="363"/>
                      <a:pt x="1636" y="357"/>
                      <a:pt x="1636" y="350"/>
                    </a:cubicBezTo>
                    <a:cubicBezTo>
                      <a:pt x="1636" y="344"/>
                      <a:pt x="1631" y="338"/>
                      <a:pt x="1624" y="338"/>
                    </a:cubicBezTo>
                    <a:close/>
                    <a:moveTo>
                      <a:pt x="1659" y="769"/>
                    </a:moveTo>
                    <a:cubicBezTo>
                      <a:pt x="1653" y="769"/>
                      <a:pt x="1647" y="774"/>
                      <a:pt x="1647" y="781"/>
                    </a:cubicBezTo>
                    <a:cubicBezTo>
                      <a:pt x="1647" y="787"/>
                      <a:pt x="1653" y="793"/>
                      <a:pt x="1659" y="793"/>
                    </a:cubicBezTo>
                    <a:cubicBezTo>
                      <a:pt x="1666" y="793"/>
                      <a:pt x="1672" y="787"/>
                      <a:pt x="1672" y="781"/>
                    </a:cubicBezTo>
                    <a:cubicBezTo>
                      <a:pt x="1672" y="774"/>
                      <a:pt x="1666" y="769"/>
                      <a:pt x="1659" y="769"/>
                    </a:cubicBezTo>
                    <a:close/>
                    <a:moveTo>
                      <a:pt x="1624" y="676"/>
                    </a:moveTo>
                    <a:cubicBezTo>
                      <a:pt x="1618" y="676"/>
                      <a:pt x="1612" y="682"/>
                      <a:pt x="1612" y="689"/>
                    </a:cubicBezTo>
                    <a:cubicBezTo>
                      <a:pt x="1612" y="695"/>
                      <a:pt x="1618" y="701"/>
                      <a:pt x="1624" y="701"/>
                    </a:cubicBezTo>
                    <a:cubicBezTo>
                      <a:pt x="1631" y="701"/>
                      <a:pt x="1636" y="695"/>
                      <a:pt x="1636" y="689"/>
                    </a:cubicBezTo>
                    <a:cubicBezTo>
                      <a:pt x="1636" y="682"/>
                      <a:pt x="1631" y="676"/>
                      <a:pt x="1624" y="676"/>
                    </a:cubicBezTo>
                    <a:close/>
                    <a:moveTo>
                      <a:pt x="1624" y="215"/>
                    </a:moveTo>
                    <a:cubicBezTo>
                      <a:pt x="1618" y="215"/>
                      <a:pt x="1612" y="221"/>
                      <a:pt x="1612" y="227"/>
                    </a:cubicBezTo>
                    <a:cubicBezTo>
                      <a:pt x="1612" y="234"/>
                      <a:pt x="1618" y="240"/>
                      <a:pt x="1624" y="240"/>
                    </a:cubicBezTo>
                    <a:cubicBezTo>
                      <a:pt x="1631" y="240"/>
                      <a:pt x="1636" y="234"/>
                      <a:pt x="1636" y="227"/>
                    </a:cubicBezTo>
                    <a:cubicBezTo>
                      <a:pt x="1636" y="221"/>
                      <a:pt x="1631" y="215"/>
                      <a:pt x="1624" y="215"/>
                    </a:cubicBezTo>
                    <a:close/>
                    <a:moveTo>
                      <a:pt x="1659" y="676"/>
                    </a:moveTo>
                    <a:cubicBezTo>
                      <a:pt x="1653" y="676"/>
                      <a:pt x="1647" y="682"/>
                      <a:pt x="1647" y="689"/>
                    </a:cubicBezTo>
                    <a:cubicBezTo>
                      <a:pt x="1647" y="695"/>
                      <a:pt x="1653" y="701"/>
                      <a:pt x="1659" y="701"/>
                    </a:cubicBezTo>
                    <a:cubicBezTo>
                      <a:pt x="1666" y="701"/>
                      <a:pt x="1672" y="695"/>
                      <a:pt x="1672" y="689"/>
                    </a:cubicBezTo>
                    <a:cubicBezTo>
                      <a:pt x="1672" y="682"/>
                      <a:pt x="1666" y="676"/>
                      <a:pt x="1659" y="676"/>
                    </a:cubicBezTo>
                    <a:close/>
                    <a:moveTo>
                      <a:pt x="1659" y="646"/>
                    </a:moveTo>
                    <a:cubicBezTo>
                      <a:pt x="1653" y="646"/>
                      <a:pt x="1647" y="651"/>
                      <a:pt x="1647" y="658"/>
                    </a:cubicBezTo>
                    <a:cubicBezTo>
                      <a:pt x="1647" y="664"/>
                      <a:pt x="1653" y="670"/>
                      <a:pt x="1659" y="670"/>
                    </a:cubicBezTo>
                    <a:cubicBezTo>
                      <a:pt x="1666" y="670"/>
                      <a:pt x="1672" y="664"/>
                      <a:pt x="1672" y="658"/>
                    </a:cubicBezTo>
                    <a:cubicBezTo>
                      <a:pt x="1672" y="651"/>
                      <a:pt x="1666" y="646"/>
                      <a:pt x="1659" y="646"/>
                    </a:cubicBezTo>
                    <a:close/>
                    <a:moveTo>
                      <a:pt x="1659" y="738"/>
                    </a:moveTo>
                    <a:cubicBezTo>
                      <a:pt x="1653" y="738"/>
                      <a:pt x="1647" y="743"/>
                      <a:pt x="1647" y="750"/>
                    </a:cubicBezTo>
                    <a:cubicBezTo>
                      <a:pt x="1647" y="757"/>
                      <a:pt x="1653" y="762"/>
                      <a:pt x="1659" y="762"/>
                    </a:cubicBezTo>
                    <a:cubicBezTo>
                      <a:pt x="1666" y="762"/>
                      <a:pt x="1672" y="757"/>
                      <a:pt x="1672" y="750"/>
                    </a:cubicBezTo>
                    <a:cubicBezTo>
                      <a:pt x="1672" y="743"/>
                      <a:pt x="1666" y="738"/>
                      <a:pt x="1659" y="738"/>
                    </a:cubicBezTo>
                    <a:close/>
                    <a:moveTo>
                      <a:pt x="1659" y="707"/>
                    </a:moveTo>
                    <a:cubicBezTo>
                      <a:pt x="1653" y="707"/>
                      <a:pt x="1647" y="713"/>
                      <a:pt x="1647" y="719"/>
                    </a:cubicBezTo>
                    <a:cubicBezTo>
                      <a:pt x="1647" y="726"/>
                      <a:pt x="1653" y="731"/>
                      <a:pt x="1659" y="731"/>
                    </a:cubicBezTo>
                    <a:cubicBezTo>
                      <a:pt x="1666" y="731"/>
                      <a:pt x="1672" y="726"/>
                      <a:pt x="1672" y="719"/>
                    </a:cubicBezTo>
                    <a:cubicBezTo>
                      <a:pt x="1672" y="713"/>
                      <a:pt x="1666" y="707"/>
                      <a:pt x="1659" y="707"/>
                    </a:cubicBezTo>
                    <a:close/>
                    <a:moveTo>
                      <a:pt x="1624" y="307"/>
                    </a:moveTo>
                    <a:cubicBezTo>
                      <a:pt x="1618" y="307"/>
                      <a:pt x="1612" y="313"/>
                      <a:pt x="1612" y="320"/>
                    </a:cubicBezTo>
                    <a:cubicBezTo>
                      <a:pt x="1612" y="326"/>
                      <a:pt x="1618" y="332"/>
                      <a:pt x="1624" y="332"/>
                    </a:cubicBezTo>
                    <a:cubicBezTo>
                      <a:pt x="1631" y="332"/>
                      <a:pt x="1636" y="326"/>
                      <a:pt x="1636" y="320"/>
                    </a:cubicBezTo>
                    <a:cubicBezTo>
                      <a:pt x="1636" y="313"/>
                      <a:pt x="1631" y="307"/>
                      <a:pt x="1624" y="307"/>
                    </a:cubicBezTo>
                    <a:close/>
                    <a:moveTo>
                      <a:pt x="1624" y="584"/>
                    </a:moveTo>
                    <a:cubicBezTo>
                      <a:pt x="1618" y="584"/>
                      <a:pt x="1612" y="590"/>
                      <a:pt x="1612" y="596"/>
                    </a:cubicBezTo>
                    <a:cubicBezTo>
                      <a:pt x="1612" y="603"/>
                      <a:pt x="1618" y="608"/>
                      <a:pt x="1624" y="608"/>
                    </a:cubicBezTo>
                    <a:cubicBezTo>
                      <a:pt x="1631" y="608"/>
                      <a:pt x="1636" y="603"/>
                      <a:pt x="1636" y="596"/>
                    </a:cubicBezTo>
                    <a:cubicBezTo>
                      <a:pt x="1636" y="590"/>
                      <a:pt x="1631" y="584"/>
                      <a:pt x="1624" y="584"/>
                    </a:cubicBezTo>
                    <a:close/>
                    <a:moveTo>
                      <a:pt x="1624" y="615"/>
                    </a:moveTo>
                    <a:cubicBezTo>
                      <a:pt x="1618" y="615"/>
                      <a:pt x="1612" y="620"/>
                      <a:pt x="1612" y="627"/>
                    </a:cubicBezTo>
                    <a:cubicBezTo>
                      <a:pt x="1612" y="634"/>
                      <a:pt x="1618" y="639"/>
                      <a:pt x="1624" y="639"/>
                    </a:cubicBezTo>
                    <a:cubicBezTo>
                      <a:pt x="1631" y="639"/>
                      <a:pt x="1636" y="634"/>
                      <a:pt x="1636" y="627"/>
                    </a:cubicBezTo>
                    <a:cubicBezTo>
                      <a:pt x="1636" y="620"/>
                      <a:pt x="1631" y="615"/>
                      <a:pt x="1624" y="615"/>
                    </a:cubicBezTo>
                    <a:close/>
                    <a:moveTo>
                      <a:pt x="1624" y="646"/>
                    </a:moveTo>
                    <a:cubicBezTo>
                      <a:pt x="1618" y="646"/>
                      <a:pt x="1612" y="651"/>
                      <a:pt x="1612" y="658"/>
                    </a:cubicBezTo>
                    <a:cubicBezTo>
                      <a:pt x="1612" y="664"/>
                      <a:pt x="1618" y="670"/>
                      <a:pt x="1624" y="670"/>
                    </a:cubicBezTo>
                    <a:cubicBezTo>
                      <a:pt x="1631" y="670"/>
                      <a:pt x="1636" y="664"/>
                      <a:pt x="1636" y="658"/>
                    </a:cubicBezTo>
                    <a:cubicBezTo>
                      <a:pt x="1636" y="651"/>
                      <a:pt x="1631" y="646"/>
                      <a:pt x="1624" y="646"/>
                    </a:cubicBezTo>
                    <a:close/>
                    <a:moveTo>
                      <a:pt x="1624" y="553"/>
                    </a:moveTo>
                    <a:cubicBezTo>
                      <a:pt x="1618" y="553"/>
                      <a:pt x="1612" y="559"/>
                      <a:pt x="1612" y="566"/>
                    </a:cubicBezTo>
                    <a:cubicBezTo>
                      <a:pt x="1612" y="572"/>
                      <a:pt x="1618" y="578"/>
                      <a:pt x="1624" y="578"/>
                    </a:cubicBezTo>
                    <a:cubicBezTo>
                      <a:pt x="1631" y="578"/>
                      <a:pt x="1636" y="572"/>
                      <a:pt x="1636" y="566"/>
                    </a:cubicBezTo>
                    <a:cubicBezTo>
                      <a:pt x="1636" y="559"/>
                      <a:pt x="1631" y="553"/>
                      <a:pt x="1624" y="553"/>
                    </a:cubicBezTo>
                    <a:close/>
                    <a:moveTo>
                      <a:pt x="1624" y="492"/>
                    </a:moveTo>
                    <a:cubicBezTo>
                      <a:pt x="1618" y="492"/>
                      <a:pt x="1612" y="497"/>
                      <a:pt x="1612" y="504"/>
                    </a:cubicBezTo>
                    <a:cubicBezTo>
                      <a:pt x="1612" y="511"/>
                      <a:pt x="1618" y="516"/>
                      <a:pt x="1624" y="516"/>
                    </a:cubicBezTo>
                    <a:cubicBezTo>
                      <a:pt x="1631" y="516"/>
                      <a:pt x="1636" y="511"/>
                      <a:pt x="1636" y="504"/>
                    </a:cubicBezTo>
                    <a:cubicBezTo>
                      <a:pt x="1636" y="497"/>
                      <a:pt x="1631" y="492"/>
                      <a:pt x="1624" y="492"/>
                    </a:cubicBezTo>
                    <a:close/>
                    <a:moveTo>
                      <a:pt x="1624" y="523"/>
                    </a:moveTo>
                    <a:cubicBezTo>
                      <a:pt x="1618" y="523"/>
                      <a:pt x="1612" y="528"/>
                      <a:pt x="1612" y="535"/>
                    </a:cubicBezTo>
                    <a:cubicBezTo>
                      <a:pt x="1612" y="542"/>
                      <a:pt x="1618" y="547"/>
                      <a:pt x="1624" y="547"/>
                    </a:cubicBezTo>
                    <a:cubicBezTo>
                      <a:pt x="1631" y="547"/>
                      <a:pt x="1636" y="542"/>
                      <a:pt x="1636" y="535"/>
                    </a:cubicBezTo>
                    <a:cubicBezTo>
                      <a:pt x="1636" y="528"/>
                      <a:pt x="1631" y="523"/>
                      <a:pt x="1624" y="523"/>
                    </a:cubicBezTo>
                    <a:close/>
                    <a:moveTo>
                      <a:pt x="1624" y="430"/>
                    </a:moveTo>
                    <a:cubicBezTo>
                      <a:pt x="1618" y="430"/>
                      <a:pt x="1612" y="436"/>
                      <a:pt x="1612" y="443"/>
                    </a:cubicBezTo>
                    <a:cubicBezTo>
                      <a:pt x="1612" y="449"/>
                      <a:pt x="1618" y="455"/>
                      <a:pt x="1624" y="455"/>
                    </a:cubicBezTo>
                    <a:cubicBezTo>
                      <a:pt x="1631" y="455"/>
                      <a:pt x="1636" y="449"/>
                      <a:pt x="1636" y="443"/>
                    </a:cubicBezTo>
                    <a:cubicBezTo>
                      <a:pt x="1636" y="436"/>
                      <a:pt x="1631" y="430"/>
                      <a:pt x="1624" y="430"/>
                    </a:cubicBezTo>
                    <a:close/>
                    <a:moveTo>
                      <a:pt x="1624" y="461"/>
                    </a:moveTo>
                    <a:cubicBezTo>
                      <a:pt x="1618" y="461"/>
                      <a:pt x="1612" y="467"/>
                      <a:pt x="1612" y="473"/>
                    </a:cubicBezTo>
                    <a:cubicBezTo>
                      <a:pt x="1612" y="480"/>
                      <a:pt x="1618" y="485"/>
                      <a:pt x="1624" y="485"/>
                    </a:cubicBezTo>
                    <a:cubicBezTo>
                      <a:pt x="1631" y="485"/>
                      <a:pt x="1636" y="480"/>
                      <a:pt x="1636" y="473"/>
                    </a:cubicBezTo>
                    <a:cubicBezTo>
                      <a:pt x="1636" y="467"/>
                      <a:pt x="1631" y="461"/>
                      <a:pt x="1624" y="461"/>
                    </a:cubicBezTo>
                    <a:close/>
                    <a:moveTo>
                      <a:pt x="1624" y="400"/>
                    </a:moveTo>
                    <a:cubicBezTo>
                      <a:pt x="1618" y="400"/>
                      <a:pt x="1612" y="405"/>
                      <a:pt x="1612" y="412"/>
                    </a:cubicBezTo>
                    <a:cubicBezTo>
                      <a:pt x="1612" y="419"/>
                      <a:pt x="1618" y="424"/>
                      <a:pt x="1624" y="424"/>
                    </a:cubicBezTo>
                    <a:cubicBezTo>
                      <a:pt x="1631" y="424"/>
                      <a:pt x="1636" y="419"/>
                      <a:pt x="1636" y="412"/>
                    </a:cubicBezTo>
                    <a:cubicBezTo>
                      <a:pt x="1636" y="405"/>
                      <a:pt x="1631" y="400"/>
                      <a:pt x="1624" y="400"/>
                    </a:cubicBezTo>
                    <a:close/>
                    <a:moveTo>
                      <a:pt x="1344" y="400"/>
                    </a:moveTo>
                    <a:cubicBezTo>
                      <a:pt x="1337" y="400"/>
                      <a:pt x="1332" y="405"/>
                      <a:pt x="1332" y="412"/>
                    </a:cubicBezTo>
                    <a:cubicBezTo>
                      <a:pt x="1332" y="419"/>
                      <a:pt x="1337" y="424"/>
                      <a:pt x="1344" y="424"/>
                    </a:cubicBezTo>
                    <a:cubicBezTo>
                      <a:pt x="1351" y="424"/>
                      <a:pt x="1356" y="419"/>
                      <a:pt x="1356" y="412"/>
                    </a:cubicBezTo>
                    <a:cubicBezTo>
                      <a:pt x="1356" y="405"/>
                      <a:pt x="1351" y="400"/>
                      <a:pt x="1344" y="400"/>
                    </a:cubicBezTo>
                    <a:close/>
                    <a:moveTo>
                      <a:pt x="328" y="92"/>
                    </a:moveTo>
                    <a:cubicBezTo>
                      <a:pt x="321" y="92"/>
                      <a:pt x="316" y="98"/>
                      <a:pt x="316" y="104"/>
                    </a:cubicBezTo>
                    <a:cubicBezTo>
                      <a:pt x="316" y="111"/>
                      <a:pt x="321" y="117"/>
                      <a:pt x="328" y="117"/>
                    </a:cubicBezTo>
                    <a:cubicBezTo>
                      <a:pt x="335" y="117"/>
                      <a:pt x="340" y="111"/>
                      <a:pt x="340" y="104"/>
                    </a:cubicBezTo>
                    <a:cubicBezTo>
                      <a:pt x="340" y="98"/>
                      <a:pt x="335" y="92"/>
                      <a:pt x="328" y="92"/>
                    </a:cubicBezTo>
                    <a:close/>
                    <a:moveTo>
                      <a:pt x="328" y="215"/>
                    </a:moveTo>
                    <a:cubicBezTo>
                      <a:pt x="321" y="215"/>
                      <a:pt x="316" y="221"/>
                      <a:pt x="316" y="227"/>
                    </a:cubicBezTo>
                    <a:cubicBezTo>
                      <a:pt x="316" y="234"/>
                      <a:pt x="321" y="240"/>
                      <a:pt x="328" y="240"/>
                    </a:cubicBezTo>
                    <a:cubicBezTo>
                      <a:pt x="335" y="240"/>
                      <a:pt x="340" y="234"/>
                      <a:pt x="340" y="227"/>
                    </a:cubicBezTo>
                    <a:cubicBezTo>
                      <a:pt x="340" y="221"/>
                      <a:pt x="335" y="215"/>
                      <a:pt x="328" y="215"/>
                    </a:cubicBezTo>
                    <a:close/>
                    <a:moveTo>
                      <a:pt x="328" y="61"/>
                    </a:moveTo>
                    <a:cubicBezTo>
                      <a:pt x="321" y="61"/>
                      <a:pt x="316" y="67"/>
                      <a:pt x="316" y="74"/>
                    </a:cubicBezTo>
                    <a:cubicBezTo>
                      <a:pt x="316" y="80"/>
                      <a:pt x="321" y="86"/>
                      <a:pt x="328" y="86"/>
                    </a:cubicBezTo>
                    <a:cubicBezTo>
                      <a:pt x="335" y="86"/>
                      <a:pt x="340" y="80"/>
                      <a:pt x="340" y="74"/>
                    </a:cubicBezTo>
                    <a:cubicBezTo>
                      <a:pt x="340" y="67"/>
                      <a:pt x="335" y="61"/>
                      <a:pt x="328" y="61"/>
                    </a:cubicBezTo>
                    <a:close/>
                    <a:moveTo>
                      <a:pt x="328" y="123"/>
                    </a:moveTo>
                    <a:cubicBezTo>
                      <a:pt x="321" y="123"/>
                      <a:pt x="316" y="128"/>
                      <a:pt x="316" y="135"/>
                    </a:cubicBezTo>
                    <a:cubicBezTo>
                      <a:pt x="316" y="142"/>
                      <a:pt x="321" y="147"/>
                      <a:pt x="328" y="147"/>
                    </a:cubicBezTo>
                    <a:cubicBezTo>
                      <a:pt x="335" y="147"/>
                      <a:pt x="340" y="142"/>
                      <a:pt x="340" y="135"/>
                    </a:cubicBezTo>
                    <a:cubicBezTo>
                      <a:pt x="340" y="128"/>
                      <a:pt x="335" y="123"/>
                      <a:pt x="328" y="123"/>
                    </a:cubicBezTo>
                    <a:close/>
                    <a:moveTo>
                      <a:pt x="328" y="184"/>
                    </a:moveTo>
                    <a:cubicBezTo>
                      <a:pt x="321" y="184"/>
                      <a:pt x="316" y="190"/>
                      <a:pt x="316" y="197"/>
                    </a:cubicBezTo>
                    <a:cubicBezTo>
                      <a:pt x="316" y="203"/>
                      <a:pt x="321" y="209"/>
                      <a:pt x="328" y="209"/>
                    </a:cubicBezTo>
                    <a:cubicBezTo>
                      <a:pt x="335" y="209"/>
                      <a:pt x="340" y="203"/>
                      <a:pt x="340" y="197"/>
                    </a:cubicBezTo>
                    <a:cubicBezTo>
                      <a:pt x="340" y="190"/>
                      <a:pt x="335" y="184"/>
                      <a:pt x="328" y="184"/>
                    </a:cubicBezTo>
                    <a:close/>
                    <a:moveTo>
                      <a:pt x="328" y="154"/>
                    </a:moveTo>
                    <a:cubicBezTo>
                      <a:pt x="321" y="154"/>
                      <a:pt x="316" y="159"/>
                      <a:pt x="316" y="166"/>
                    </a:cubicBezTo>
                    <a:cubicBezTo>
                      <a:pt x="316" y="173"/>
                      <a:pt x="321" y="178"/>
                      <a:pt x="328" y="178"/>
                    </a:cubicBezTo>
                    <a:cubicBezTo>
                      <a:pt x="335" y="178"/>
                      <a:pt x="340" y="173"/>
                      <a:pt x="340" y="166"/>
                    </a:cubicBezTo>
                    <a:cubicBezTo>
                      <a:pt x="340" y="159"/>
                      <a:pt x="335" y="154"/>
                      <a:pt x="328" y="154"/>
                    </a:cubicBezTo>
                    <a:close/>
                    <a:moveTo>
                      <a:pt x="328" y="31"/>
                    </a:moveTo>
                    <a:cubicBezTo>
                      <a:pt x="321" y="31"/>
                      <a:pt x="316" y="36"/>
                      <a:pt x="316" y="43"/>
                    </a:cubicBezTo>
                    <a:cubicBezTo>
                      <a:pt x="316" y="50"/>
                      <a:pt x="321" y="55"/>
                      <a:pt x="328" y="55"/>
                    </a:cubicBezTo>
                    <a:cubicBezTo>
                      <a:pt x="335" y="55"/>
                      <a:pt x="340" y="50"/>
                      <a:pt x="340" y="43"/>
                    </a:cubicBezTo>
                    <a:cubicBezTo>
                      <a:pt x="340" y="36"/>
                      <a:pt x="335" y="31"/>
                      <a:pt x="328" y="31"/>
                    </a:cubicBezTo>
                    <a:close/>
                    <a:moveTo>
                      <a:pt x="363" y="246"/>
                    </a:moveTo>
                    <a:cubicBezTo>
                      <a:pt x="356" y="246"/>
                      <a:pt x="351" y="251"/>
                      <a:pt x="351" y="258"/>
                    </a:cubicBezTo>
                    <a:cubicBezTo>
                      <a:pt x="351" y="265"/>
                      <a:pt x="356" y="270"/>
                      <a:pt x="363" y="270"/>
                    </a:cubicBezTo>
                    <a:cubicBezTo>
                      <a:pt x="370" y="270"/>
                      <a:pt x="375" y="265"/>
                      <a:pt x="375" y="258"/>
                    </a:cubicBezTo>
                    <a:cubicBezTo>
                      <a:pt x="375" y="251"/>
                      <a:pt x="370" y="246"/>
                      <a:pt x="363" y="246"/>
                    </a:cubicBezTo>
                    <a:close/>
                    <a:moveTo>
                      <a:pt x="363" y="277"/>
                    </a:moveTo>
                    <a:cubicBezTo>
                      <a:pt x="356" y="277"/>
                      <a:pt x="351" y="282"/>
                      <a:pt x="351" y="289"/>
                    </a:cubicBezTo>
                    <a:cubicBezTo>
                      <a:pt x="351" y="296"/>
                      <a:pt x="356" y="301"/>
                      <a:pt x="363" y="301"/>
                    </a:cubicBezTo>
                    <a:cubicBezTo>
                      <a:pt x="370" y="301"/>
                      <a:pt x="375" y="296"/>
                      <a:pt x="375" y="289"/>
                    </a:cubicBezTo>
                    <a:cubicBezTo>
                      <a:pt x="375" y="282"/>
                      <a:pt x="370" y="277"/>
                      <a:pt x="363" y="277"/>
                    </a:cubicBezTo>
                    <a:close/>
                    <a:moveTo>
                      <a:pt x="363" y="215"/>
                    </a:moveTo>
                    <a:cubicBezTo>
                      <a:pt x="356" y="215"/>
                      <a:pt x="351" y="221"/>
                      <a:pt x="351" y="227"/>
                    </a:cubicBezTo>
                    <a:cubicBezTo>
                      <a:pt x="351" y="234"/>
                      <a:pt x="356" y="240"/>
                      <a:pt x="363" y="240"/>
                    </a:cubicBezTo>
                    <a:cubicBezTo>
                      <a:pt x="370" y="240"/>
                      <a:pt x="375" y="234"/>
                      <a:pt x="375" y="227"/>
                    </a:cubicBezTo>
                    <a:cubicBezTo>
                      <a:pt x="375" y="221"/>
                      <a:pt x="370" y="215"/>
                      <a:pt x="363" y="215"/>
                    </a:cubicBezTo>
                    <a:close/>
                    <a:moveTo>
                      <a:pt x="363" y="338"/>
                    </a:moveTo>
                    <a:cubicBezTo>
                      <a:pt x="356" y="338"/>
                      <a:pt x="351" y="344"/>
                      <a:pt x="351" y="350"/>
                    </a:cubicBezTo>
                    <a:cubicBezTo>
                      <a:pt x="351" y="357"/>
                      <a:pt x="356" y="363"/>
                      <a:pt x="363" y="363"/>
                    </a:cubicBezTo>
                    <a:cubicBezTo>
                      <a:pt x="370" y="363"/>
                      <a:pt x="375" y="357"/>
                      <a:pt x="375" y="350"/>
                    </a:cubicBezTo>
                    <a:cubicBezTo>
                      <a:pt x="375" y="344"/>
                      <a:pt x="370" y="338"/>
                      <a:pt x="363" y="338"/>
                    </a:cubicBezTo>
                    <a:close/>
                    <a:moveTo>
                      <a:pt x="468" y="123"/>
                    </a:moveTo>
                    <a:cubicBezTo>
                      <a:pt x="461" y="123"/>
                      <a:pt x="456" y="128"/>
                      <a:pt x="456" y="135"/>
                    </a:cubicBezTo>
                    <a:cubicBezTo>
                      <a:pt x="456" y="142"/>
                      <a:pt x="461" y="147"/>
                      <a:pt x="468" y="147"/>
                    </a:cubicBezTo>
                    <a:cubicBezTo>
                      <a:pt x="475" y="147"/>
                      <a:pt x="480" y="142"/>
                      <a:pt x="480" y="135"/>
                    </a:cubicBezTo>
                    <a:cubicBezTo>
                      <a:pt x="480" y="128"/>
                      <a:pt x="475" y="123"/>
                      <a:pt x="468" y="123"/>
                    </a:cubicBezTo>
                    <a:close/>
                    <a:moveTo>
                      <a:pt x="328" y="0"/>
                    </a:moveTo>
                    <a:cubicBezTo>
                      <a:pt x="321" y="0"/>
                      <a:pt x="316" y="5"/>
                      <a:pt x="316" y="12"/>
                    </a:cubicBezTo>
                    <a:cubicBezTo>
                      <a:pt x="316" y="19"/>
                      <a:pt x="321" y="24"/>
                      <a:pt x="328" y="24"/>
                    </a:cubicBezTo>
                    <a:cubicBezTo>
                      <a:pt x="335" y="24"/>
                      <a:pt x="340" y="19"/>
                      <a:pt x="340" y="12"/>
                    </a:cubicBezTo>
                    <a:cubicBezTo>
                      <a:pt x="340" y="5"/>
                      <a:pt x="335" y="0"/>
                      <a:pt x="328" y="0"/>
                    </a:cubicBezTo>
                    <a:close/>
                    <a:moveTo>
                      <a:pt x="363" y="307"/>
                    </a:moveTo>
                    <a:cubicBezTo>
                      <a:pt x="356" y="307"/>
                      <a:pt x="351" y="313"/>
                      <a:pt x="351" y="320"/>
                    </a:cubicBezTo>
                    <a:cubicBezTo>
                      <a:pt x="351" y="326"/>
                      <a:pt x="356" y="332"/>
                      <a:pt x="363" y="332"/>
                    </a:cubicBezTo>
                    <a:cubicBezTo>
                      <a:pt x="370" y="332"/>
                      <a:pt x="375" y="326"/>
                      <a:pt x="375" y="320"/>
                    </a:cubicBezTo>
                    <a:cubicBezTo>
                      <a:pt x="375" y="313"/>
                      <a:pt x="370" y="307"/>
                      <a:pt x="363" y="307"/>
                    </a:cubicBezTo>
                    <a:close/>
                    <a:moveTo>
                      <a:pt x="293" y="123"/>
                    </a:moveTo>
                    <a:cubicBezTo>
                      <a:pt x="286" y="123"/>
                      <a:pt x="281" y="128"/>
                      <a:pt x="281" y="135"/>
                    </a:cubicBezTo>
                    <a:cubicBezTo>
                      <a:pt x="281" y="142"/>
                      <a:pt x="286" y="147"/>
                      <a:pt x="293" y="147"/>
                    </a:cubicBezTo>
                    <a:cubicBezTo>
                      <a:pt x="299" y="147"/>
                      <a:pt x="305" y="142"/>
                      <a:pt x="305" y="135"/>
                    </a:cubicBezTo>
                    <a:cubicBezTo>
                      <a:pt x="305" y="128"/>
                      <a:pt x="299" y="123"/>
                      <a:pt x="293" y="123"/>
                    </a:cubicBezTo>
                    <a:close/>
                    <a:moveTo>
                      <a:pt x="293" y="61"/>
                    </a:moveTo>
                    <a:cubicBezTo>
                      <a:pt x="286" y="61"/>
                      <a:pt x="281" y="67"/>
                      <a:pt x="281" y="74"/>
                    </a:cubicBezTo>
                    <a:cubicBezTo>
                      <a:pt x="281" y="80"/>
                      <a:pt x="286" y="86"/>
                      <a:pt x="293" y="86"/>
                    </a:cubicBezTo>
                    <a:cubicBezTo>
                      <a:pt x="299" y="86"/>
                      <a:pt x="305" y="80"/>
                      <a:pt x="305" y="74"/>
                    </a:cubicBezTo>
                    <a:cubicBezTo>
                      <a:pt x="305" y="67"/>
                      <a:pt x="299" y="61"/>
                      <a:pt x="293" y="61"/>
                    </a:cubicBezTo>
                    <a:close/>
                    <a:moveTo>
                      <a:pt x="293" y="92"/>
                    </a:moveTo>
                    <a:cubicBezTo>
                      <a:pt x="286" y="92"/>
                      <a:pt x="281" y="98"/>
                      <a:pt x="281" y="104"/>
                    </a:cubicBezTo>
                    <a:cubicBezTo>
                      <a:pt x="281" y="111"/>
                      <a:pt x="286" y="117"/>
                      <a:pt x="293" y="117"/>
                    </a:cubicBezTo>
                    <a:cubicBezTo>
                      <a:pt x="299" y="117"/>
                      <a:pt x="305" y="111"/>
                      <a:pt x="305" y="104"/>
                    </a:cubicBezTo>
                    <a:cubicBezTo>
                      <a:pt x="305" y="98"/>
                      <a:pt x="299" y="92"/>
                      <a:pt x="293" y="92"/>
                    </a:cubicBezTo>
                    <a:close/>
                    <a:moveTo>
                      <a:pt x="293" y="154"/>
                    </a:moveTo>
                    <a:cubicBezTo>
                      <a:pt x="286" y="154"/>
                      <a:pt x="281" y="159"/>
                      <a:pt x="281" y="166"/>
                    </a:cubicBezTo>
                    <a:cubicBezTo>
                      <a:pt x="281" y="173"/>
                      <a:pt x="286" y="178"/>
                      <a:pt x="293" y="178"/>
                    </a:cubicBezTo>
                    <a:cubicBezTo>
                      <a:pt x="299" y="178"/>
                      <a:pt x="305" y="173"/>
                      <a:pt x="305" y="166"/>
                    </a:cubicBezTo>
                    <a:cubicBezTo>
                      <a:pt x="305" y="159"/>
                      <a:pt x="299" y="154"/>
                      <a:pt x="293" y="154"/>
                    </a:cubicBezTo>
                    <a:close/>
                    <a:moveTo>
                      <a:pt x="293" y="215"/>
                    </a:moveTo>
                    <a:cubicBezTo>
                      <a:pt x="286" y="215"/>
                      <a:pt x="281" y="221"/>
                      <a:pt x="281" y="227"/>
                    </a:cubicBezTo>
                    <a:cubicBezTo>
                      <a:pt x="281" y="234"/>
                      <a:pt x="286" y="240"/>
                      <a:pt x="293" y="240"/>
                    </a:cubicBezTo>
                    <a:cubicBezTo>
                      <a:pt x="299" y="240"/>
                      <a:pt x="305" y="234"/>
                      <a:pt x="305" y="227"/>
                    </a:cubicBezTo>
                    <a:cubicBezTo>
                      <a:pt x="305" y="221"/>
                      <a:pt x="299" y="215"/>
                      <a:pt x="293" y="215"/>
                    </a:cubicBezTo>
                    <a:close/>
                    <a:moveTo>
                      <a:pt x="293" y="184"/>
                    </a:moveTo>
                    <a:cubicBezTo>
                      <a:pt x="286" y="184"/>
                      <a:pt x="281" y="190"/>
                      <a:pt x="281" y="197"/>
                    </a:cubicBezTo>
                    <a:cubicBezTo>
                      <a:pt x="281" y="203"/>
                      <a:pt x="286" y="209"/>
                      <a:pt x="293" y="209"/>
                    </a:cubicBezTo>
                    <a:cubicBezTo>
                      <a:pt x="299" y="209"/>
                      <a:pt x="305" y="203"/>
                      <a:pt x="305" y="197"/>
                    </a:cubicBezTo>
                    <a:cubicBezTo>
                      <a:pt x="305" y="190"/>
                      <a:pt x="299" y="184"/>
                      <a:pt x="293" y="184"/>
                    </a:cubicBezTo>
                    <a:close/>
                    <a:moveTo>
                      <a:pt x="328" y="246"/>
                    </a:moveTo>
                    <a:cubicBezTo>
                      <a:pt x="321" y="246"/>
                      <a:pt x="316" y="251"/>
                      <a:pt x="316" y="258"/>
                    </a:cubicBezTo>
                    <a:cubicBezTo>
                      <a:pt x="316" y="265"/>
                      <a:pt x="321" y="270"/>
                      <a:pt x="328" y="270"/>
                    </a:cubicBezTo>
                    <a:cubicBezTo>
                      <a:pt x="335" y="270"/>
                      <a:pt x="340" y="265"/>
                      <a:pt x="340" y="258"/>
                    </a:cubicBezTo>
                    <a:cubicBezTo>
                      <a:pt x="340" y="251"/>
                      <a:pt x="335" y="246"/>
                      <a:pt x="328" y="246"/>
                    </a:cubicBezTo>
                    <a:close/>
                    <a:moveTo>
                      <a:pt x="328" y="307"/>
                    </a:moveTo>
                    <a:cubicBezTo>
                      <a:pt x="321" y="307"/>
                      <a:pt x="316" y="313"/>
                      <a:pt x="316" y="320"/>
                    </a:cubicBezTo>
                    <a:cubicBezTo>
                      <a:pt x="316" y="326"/>
                      <a:pt x="321" y="332"/>
                      <a:pt x="328" y="332"/>
                    </a:cubicBezTo>
                    <a:cubicBezTo>
                      <a:pt x="335" y="332"/>
                      <a:pt x="340" y="326"/>
                      <a:pt x="340" y="320"/>
                    </a:cubicBezTo>
                    <a:cubicBezTo>
                      <a:pt x="340" y="313"/>
                      <a:pt x="335" y="307"/>
                      <a:pt x="328" y="307"/>
                    </a:cubicBezTo>
                    <a:close/>
                    <a:moveTo>
                      <a:pt x="293" y="31"/>
                    </a:moveTo>
                    <a:cubicBezTo>
                      <a:pt x="286" y="31"/>
                      <a:pt x="281" y="36"/>
                      <a:pt x="281" y="43"/>
                    </a:cubicBezTo>
                    <a:cubicBezTo>
                      <a:pt x="281" y="50"/>
                      <a:pt x="286" y="55"/>
                      <a:pt x="293" y="55"/>
                    </a:cubicBezTo>
                    <a:cubicBezTo>
                      <a:pt x="299" y="55"/>
                      <a:pt x="305" y="50"/>
                      <a:pt x="305" y="43"/>
                    </a:cubicBezTo>
                    <a:cubicBezTo>
                      <a:pt x="305" y="36"/>
                      <a:pt x="299" y="31"/>
                      <a:pt x="293" y="31"/>
                    </a:cubicBezTo>
                    <a:close/>
                    <a:moveTo>
                      <a:pt x="293" y="246"/>
                    </a:moveTo>
                    <a:cubicBezTo>
                      <a:pt x="286" y="246"/>
                      <a:pt x="281" y="251"/>
                      <a:pt x="281" y="258"/>
                    </a:cubicBezTo>
                    <a:cubicBezTo>
                      <a:pt x="281" y="265"/>
                      <a:pt x="286" y="270"/>
                      <a:pt x="293" y="270"/>
                    </a:cubicBezTo>
                    <a:cubicBezTo>
                      <a:pt x="299" y="270"/>
                      <a:pt x="305" y="265"/>
                      <a:pt x="305" y="258"/>
                    </a:cubicBezTo>
                    <a:cubicBezTo>
                      <a:pt x="305" y="251"/>
                      <a:pt x="299" y="246"/>
                      <a:pt x="293" y="246"/>
                    </a:cubicBezTo>
                    <a:close/>
                    <a:moveTo>
                      <a:pt x="328" y="338"/>
                    </a:moveTo>
                    <a:cubicBezTo>
                      <a:pt x="321" y="338"/>
                      <a:pt x="316" y="344"/>
                      <a:pt x="316" y="350"/>
                    </a:cubicBezTo>
                    <a:cubicBezTo>
                      <a:pt x="316" y="357"/>
                      <a:pt x="321" y="363"/>
                      <a:pt x="328" y="363"/>
                    </a:cubicBezTo>
                    <a:cubicBezTo>
                      <a:pt x="335" y="363"/>
                      <a:pt x="340" y="357"/>
                      <a:pt x="340" y="350"/>
                    </a:cubicBezTo>
                    <a:cubicBezTo>
                      <a:pt x="340" y="344"/>
                      <a:pt x="335" y="338"/>
                      <a:pt x="328" y="338"/>
                    </a:cubicBezTo>
                    <a:close/>
                    <a:moveTo>
                      <a:pt x="293" y="0"/>
                    </a:moveTo>
                    <a:cubicBezTo>
                      <a:pt x="286" y="0"/>
                      <a:pt x="281" y="5"/>
                      <a:pt x="281" y="12"/>
                    </a:cubicBezTo>
                    <a:cubicBezTo>
                      <a:pt x="281" y="19"/>
                      <a:pt x="286" y="24"/>
                      <a:pt x="293" y="24"/>
                    </a:cubicBezTo>
                    <a:cubicBezTo>
                      <a:pt x="299" y="24"/>
                      <a:pt x="305" y="19"/>
                      <a:pt x="305" y="12"/>
                    </a:cubicBezTo>
                    <a:cubicBezTo>
                      <a:pt x="305" y="5"/>
                      <a:pt x="299" y="0"/>
                      <a:pt x="293" y="0"/>
                    </a:cubicBezTo>
                    <a:close/>
                    <a:moveTo>
                      <a:pt x="328" y="277"/>
                    </a:moveTo>
                    <a:cubicBezTo>
                      <a:pt x="321" y="277"/>
                      <a:pt x="316" y="282"/>
                      <a:pt x="316" y="289"/>
                    </a:cubicBezTo>
                    <a:cubicBezTo>
                      <a:pt x="316" y="296"/>
                      <a:pt x="321" y="301"/>
                      <a:pt x="328" y="301"/>
                    </a:cubicBezTo>
                    <a:cubicBezTo>
                      <a:pt x="335" y="301"/>
                      <a:pt x="340" y="296"/>
                      <a:pt x="340" y="289"/>
                    </a:cubicBezTo>
                    <a:cubicBezTo>
                      <a:pt x="340" y="282"/>
                      <a:pt x="335" y="277"/>
                      <a:pt x="328" y="277"/>
                    </a:cubicBezTo>
                    <a:close/>
                    <a:moveTo>
                      <a:pt x="433" y="184"/>
                    </a:moveTo>
                    <a:cubicBezTo>
                      <a:pt x="426" y="184"/>
                      <a:pt x="421" y="190"/>
                      <a:pt x="421" y="197"/>
                    </a:cubicBezTo>
                    <a:cubicBezTo>
                      <a:pt x="421" y="203"/>
                      <a:pt x="426" y="209"/>
                      <a:pt x="433" y="209"/>
                    </a:cubicBezTo>
                    <a:cubicBezTo>
                      <a:pt x="440" y="209"/>
                      <a:pt x="445" y="203"/>
                      <a:pt x="445" y="197"/>
                    </a:cubicBezTo>
                    <a:cubicBezTo>
                      <a:pt x="445" y="190"/>
                      <a:pt x="440" y="184"/>
                      <a:pt x="433" y="184"/>
                    </a:cubicBezTo>
                    <a:close/>
                    <a:moveTo>
                      <a:pt x="433" y="123"/>
                    </a:moveTo>
                    <a:cubicBezTo>
                      <a:pt x="426" y="123"/>
                      <a:pt x="421" y="128"/>
                      <a:pt x="421" y="135"/>
                    </a:cubicBezTo>
                    <a:cubicBezTo>
                      <a:pt x="421" y="142"/>
                      <a:pt x="426" y="147"/>
                      <a:pt x="433" y="147"/>
                    </a:cubicBezTo>
                    <a:cubicBezTo>
                      <a:pt x="440" y="147"/>
                      <a:pt x="445" y="142"/>
                      <a:pt x="445" y="135"/>
                    </a:cubicBezTo>
                    <a:cubicBezTo>
                      <a:pt x="445" y="128"/>
                      <a:pt x="440" y="123"/>
                      <a:pt x="433" y="123"/>
                    </a:cubicBezTo>
                    <a:close/>
                    <a:moveTo>
                      <a:pt x="433" y="215"/>
                    </a:moveTo>
                    <a:cubicBezTo>
                      <a:pt x="426" y="215"/>
                      <a:pt x="421" y="221"/>
                      <a:pt x="421" y="227"/>
                    </a:cubicBezTo>
                    <a:cubicBezTo>
                      <a:pt x="421" y="234"/>
                      <a:pt x="426" y="240"/>
                      <a:pt x="433" y="240"/>
                    </a:cubicBezTo>
                    <a:cubicBezTo>
                      <a:pt x="440" y="240"/>
                      <a:pt x="445" y="234"/>
                      <a:pt x="445" y="227"/>
                    </a:cubicBezTo>
                    <a:cubicBezTo>
                      <a:pt x="445" y="221"/>
                      <a:pt x="440" y="215"/>
                      <a:pt x="433" y="215"/>
                    </a:cubicBezTo>
                    <a:close/>
                    <a:moveTo>
                      <a:pt x="433" y="154"/>
                    </a:moveTo>
                    <a:cubicBezTo>
                      <a:pt x="426" y="154"/>
                      <a:pt x="421" y="159"/>
                      <a:pt x="421" y="166"/>
                    </a:cubicBezTo>
                    <a:cubicBezTo>
                      <a:pt x="421" y="173"/>
                      <a:pt x="426" y="178"/>
                      <a:pt x="433" y="178"/>
                    </a:cubicBezTo>
                    <a:cubicBezTo>
                      <a:pt x="440" y="178"/>
                      <a:pt x="445" y="173"/>
                      <a:pt x="445" y="166"/>
                    </a:cubicBezTo>
                    <a:cubicBezTo>
                      <a:pt x="445" y="159"/>
                      <a:pt x="440" y="154"/>
                      <a:pt x="433" y="154"/>
                    </a:cubicBezTo>
                    <a:close/>
                    <a:moveTo>
                      <a:pt x="433" y="246"/>
                    </a:moveTo>
                    <a:cubicBezTo>
                      <a:pt x="426" y="246"/>
                      <a:pt x="421" y="251"/>
                      <a:pt x="421" y="258"/>
                    </a:cubicBezTo>
                    <a:cubicBezTo>
                      <a:pt x="421" y="265"/>
                      <a:pt x="426" y="270"/>
                      <a:pt x="433" y="270"/>
                    </a:cubicBezTo>
                    <a:cubicBezTo>
                      <a:pt x="440" y="270"/>
                      <a:pt x="445" y="265"/>
                      <a:pt x="445" y="258"/>
                    </a:cubicBezTo>
                    <a:cubicBezTo>
                      <a:pt x="445" y="251"/>
                      <a:pt x="440" y="246"/>
                      <a:pt x="433" y="246"/>
                    </a:cubicBezTo>
                    <a:close/>
                    <a:moveTo>
                      <a:pt x="433" y="277"/>
                    </a:moveTo>
                    <a:cubicBezTo>
                      <a:pt x="426" y="277"/>
                      <a:pt x="421" y="282"/>
                      <a:pt x="421" y="289"/>
                    </a:cubicBezTo>
                    <a:cubicBezTo>
                      <a:pt x="421" y="296"/>
                      <a:pt x="426" y="301"/>
                      <a:pt x="433" y="301"/>
                    </a:cubicBezTo>
                    <a:cubicBezTo>
                      <a:pt x="440" y="301"/>
                      <a:pt x="445" y="296"/>
                      <a:pt x="445" y="289"/>
                    </a:cubicBezTo>
                    <a:cubicBezTo>
                      <a:pt x="445" y="282"/>
                      <a:pt x="440" y="277"/>
                      <a:pt x="433" y="277"/>
                    </a:cubicBezTo>
                    <a:close/>
                    <a:moveTo>
                      <a:pt x="433" y="92"/>
                    </a:moveTo>
                    <a:cubicBezTo>
                      <a:pt x="426" y="92"/>
                      <a:pt x="421" y="98"/>
                      <a:pt x="421" y="104"/>
                    </a:cubicBezTo>
                    <a:cubicBezTo>
                      <a:pt x="421" y="111"/>
                      <a:pt x="426" y="117"/>
                      <a:pt x="433" y="117"/>
                    </a:cubicBezTo>
                    <a:cubicBezTo>
                      <a:pt x="440" y="117"/>
                      <a:pt x="445" y="111"/>
                      <a:pt x="445" y="104"/>
                    </a:cubicBezTo>
                    <a:cubicBezTo>
                      <a:pt x="445" y="98"/>
                      <a:pt x="440" y="92"/>
                      <a:pt x="433" y="92"/>
                    </a:cubicBezTo>
                    <a:close/>
                    <a:moveTo>
                      <a:pt x="468" y="184"/>
                    </a:moveTo>
                    <a:cubicBezTo>
                      <a:pt x="461" y="184"/>
                      <a:pt x="456" y="190"/>
                      <a:pt x="456" y="197"/>
                    </a:cubicBezTo>
                    <a:cubicBezTo>
                      <a:pt x="456" y="203"/>
                      <a:pt x="461" y="209"/>
                      <a:pt x="468" y="209"/>
                    </a:cubicBezTo>
                    <a:cubicBezTo>
                      <a:pt x="475" y="209"/>
                      <a:pt x="480" y="203"/>
                      <a:pt x="480" y="197"/>
                    </a:cubicBezTo>
                    <a:cubicBezTo>
                      <a:pt x="480" y="190"/>
                      <a:pt x="475" y="184"/>
                      <a:pt x="468" y="184"/>
                    </a:cubicBezTo>
                    <a:close/>
                    <a:moveTo>
                      <a:pt x="468" y="215"/>
                    </a:moveTo>
                    <a:cubicBezTo>
                      <a:pt x="461" y="215"/>
                      <a:pt x="456" y="221"/>
                      <a:pt x="456" y="227"/>
                    </a:cubicBezTo>
                    <a:cubicBezTo>
                      <a:pt x="456" y="234"/>
                      <a:pt x="461" y="240"/>
                      <a:pt x="468" y="240"/>
                    </a:cubicBezTo>
                    <a:cubicBezTo>
                      <a:pt x="475" y="240"/>
                      <a:pt x="480" y="234"/>
                      <a:pt x="480" y="227"/>
                    </a:cubicBezTo>
                    <a:cubicBezTo>
                      <a:pt x="480" y="221"/>
                      <a:pt x="475" y="215"/>
                      <a:pt x="468" y="215"/>
                    </a:cubicBezTo>
                    <a:close/>
                    <a:moveTo>
                      <a:pt x="433" y="307"/>
                    </a:moveTo>
                    <a:cubicBezTo>
                      <a:pt x="426" y="307"/>
                      <a:pt x="421" y="313"/>
                      <a:pt x="421" y="320"/>
                    </a:cubicBezTo>
                    <a:cubicBezTo>
                      <a:pt x="421" y="326"/>
                      <a:pt x="426" y="332"/>
                      <a:pt x="433" y="332"/>
                    </a:cubicBezTo>
                    <a:cubicBezTo>
                      <a:pt x="440" y="332"/>
                      <a:pt x="445" y="326"/>
                      <a:pt x="445" y="320"/>
                    </a:cubicBezTo>
                    <a:cubicBezTo>
                      <a:pt x="445" y="313"/>
                      <a:pt x="440" y="307"/>
                      <a:pt x="433" y="307"/>
                    </a:cubicBezTo>
                    <a:close/>
                    <a:moveTo>
                      <a:pt x="468" y="154"/>
                    </a:moveTo>
                    <a:cubicBezTo>
                      <a:pt x="461" y="154"/>
                      <a:pt x="456" y="159"/>
                      <a:pt x="456" y="166"/>
                    </a:cubicBezTo>
                    <a:cubicBezTo>
                      <a:pt x="456" y="173"/>
                      <a:pt x="461" y="178"/>
                      <a:pt x="468" y="178"/>
                    </a:cubicBezTo>
                    <a:cubicBezTo>
                      <a:pt x="475" y="178"/>
                      <a:pt x="480" y="173"/>
                      <a:pt x="480" y="166"/>
                    </a:cubicBezTo>
                    <a:cubicBezTo>
                      <a:pt x="480" y="159"/>
                      <a:pt x="475" y="154"/>
                      <a:pt x="468" y="154"/>
                    </a:cubicBezTo>
                    <a:close/>
                    <a:moveTo>
                      <a:pt x="363" y="154"/>
                    </a:moveTo>
                    <a:cubicBezTo>
                      <a:pt x="356" y="154"/>
                      <a:pt x="351" y="159"/>
                      <a:pt x="351" y="166"/>
                    </a:cubicBezTo>
                    <a:cubicBezTo>
                      <a:pt x="351" y="173"/>
                      <a:pt x="356" y="178"/>
                      <a:pt x="363" y="178"/>
                    </a:cubicBezTo>
                    <a:cubicBezTo>
                      <a:pt x="370" y="178"/>
                      <a:pt x="375" y="173"/>
                      <a:pt x="375" y="166"/>
                    </a:cubicBezTo>
                    <a:cubicBezTo>
                      <a:pt x="375" y="159"/>
                      <a:pt x="370" y="154"/>
                      <a:pt x="363" y="154"/>
                    </a:cubicBezTo>
                    <a:close/>
                    <a:moveTo>
                      <a:pt x="468" y="246"/>
                    </a:moveTo>
                    <a:cubicBezTo>
                      <a:pt x="461" y="246"/>
                      <a:pt x="456" y="251"/>
                      <a:pt x="456" y="258"/>
                    </a:cubicBezTo>
                    <a:cubicBezTo>
                      <a:pt x="456" y="265"/>
                      <a:pt x="461" y="270"/>
                      <a:pt x="468" y="270"/>
                    </a:cubicBezTo>
                    <a:cubicBezTo>
                      <a:pt x="475" y="270"/>
                      <a:pt x="480" y="265"/>
                      <a:pt x="480" y="258"/>
                    </a:cubicBezTo>
                    <a:cubicBezTo>
                      <a:pt x="480" y="251"/>
                      <a:pt x="475" y="246"/>
                      <a:pt x="468" y="246"/>
                    </a:cubicBezTo>
                    <a:close/>
                    <a:moveTo>
                      <a:pt x="433" y="61"/>
                    </a:moveTo>
                    <a:cubicBezTo>
                      <a:pt x="426" y="61"/>
                      <a:pt x="421" y="67"/>
                      <a:pt x="421" y="74"/>
                    </a:cubicBezTo>
                    <a:cubicBezTo>
                      <a:pt x="421" y="80"/>
                      <a:pt x="426" y="86"/>
                      <a:pt x="433" y="86"/>
                    </a:cubicBezTo>
                    <a:cubicBezTo>
                      <a:pt x="440" y="86"/>
                      <a:pt x="445" y="80"/>
                      <a:pt x="445" y="74"/>
                    </a:cubicBezTo>
                    <a:cubicBezTo>
                      <a:pt x="445" y="67"/>
                      <a:pt x="440" y="61"/>
                      <a:pt x="433" y="61"/>
                    </a:cubicBezTo>
                    <a:close/>
                    <a:moveTo>
                      <a:pt x="398" y="307"/>
                    </a:moveTo>
                    <a:cubicBezTo>
                      <a:pt x="391" y="307"/>
                      <a:pt x="386" y="313"/>
                      <a:pt x="386" y="320"/>
                    </a:cubicBezTo>
                    <a:cubicBezTo>
                      <a:pt x="386" y="326"/>
                      <a:pt x="391" y="332"/>
                      <a:pt x="398" y="332"/>
                    </a:cubicBezTo>
                    <a:cubicBezTo>
                      <a:pt x="405" y="332"/>
                      <a:pt x="410" y="326"/>
                      <a:pt x="410" y="320"/>
                    </a:cubicBezTo>
                    <a:cubicBezTo>
                      <a:pt x="410" y="313"/>
                      <a:pt x="405" y="307"/>
                      <a:pt x="398" y="307"/>
                    </a:cubicBezTo>
                    <a:close/>
                    <a:moveTo>
                      <a:pt x="363" y="61"/>
                    </a:moveTo>
                    <a:cubicBezTo>
                      <a:pt x="356" y="61"/>
                      <a:pt x="351" y="67"/>
                      <a:pt x="351" y="74"/>
                    </a:cubicBezTo>
                    <a:cubicBezTo>
                      <a:pt x="351" y="80"/>
                      <a:pt x="356" y="86"/>
                      <a:pt x="363" y="86"/>
                    </a:cubicBezTo>
                    <a:cubicBezTo>
                      <a:pt x="370" y="86"/>
                      <a:pt x="375" y="80"/>
                      <a:pt x="375" y="74"/>
                    </a:cubicBezTo>
                    <a:cubicBezTo>
                      <a:pt x="375" y="67"/>
                      <a:pt x="370" y="61"/>
                      <a:pt x="363" y="61"/>
                    </a:cubicBezTo>
                    <a:close/>
                    <a:moveTo>
                      <a:pt x="398" y="277"/>
                    </a:moveTo>
                    <a:cubicBezTo>
                      <a:pt x="391" y="277"/>
                      <a:pt x="386" y="282"/>
                      <a:pt x="386" y="289"/>
                    </a:cubicBezTo>
                    <a:cubicBezTo>
                      <a:pt x="386" y="296"/>
                      <a:pt x="391" y="301"/>
                      <a:pt x="398" y="301"/>
                    </a:cubicBezTo>
                    <a:cubicBezTo>
                      <a:pt x="405" y="301"/>
                      <a:pt x="410" y="296"/>
                      <a:pt x="410" y="289"/>
                    </a:cubicBezTo>
                    <a:cubicBezTo>
                      <a:pt x="410" y="282"/>
                      <a:pt x="405" y="277"/>
                      <a:pt x="398" y="277"/>
                    </a:cubicBezTo>
                    <a:close/>
                    <a:moveTo>
                      <a:pt x="363" y="123"/>
                    </a:moveTo>
                    <a:cubicBezTo>
                      <a:pt x="356" y="123"/>
                      <a:pt x="351" y="128"/>
                      <a:pt x="351" y="135"/>
                    </a:cubicBezTo>
                    <a:cubicBezTo>
                      <a:pt x="351" y="142"/>
                      <a:pt x="356" y="147"/>
                      <a:pt x="363" y="147"/>
                    </a:cubicBezTo>
                    <a:cubicBezTo>
                      <a:pt x="370" y="147"/>
                      <a:pt x="375" y="142"/>
                      <a:pt x="375" y="135"/>
                    </a:cubicBezTo>
                    <a:cubicBezTo>
                      <a:pt x="375" y="128"/>
                      <a:pt x="370" y="123"/>
                      <a:pt x="363" y="123"/>
                    </a:cubicBezTo>
                    <a:close/>
                    <a:moveTo>
                      <a:pt x="363" y="92"/>
                    </a:moveTo>
                    <a:cubicBezTo>
                      <a:pt x="356" y="92"/>
                      <a:pt x="351" y="98"/>
                      <a:pt x="351" y="104"/>
                    </a:cubicBezTo>
                    <a:cubicBezTo>
                      <a:pt x="351" y="111"/>
                      <a:pt x="356" y="117"/>
                      <a:pt x="363" y="117"/>
                    </a:cubicBezTo>
                    <a:cubicBezTo>
                      <a:pt x="370" y="117"/>
                      <a:pt x="375" y="111"/>
                      <a:pt x="375" y="104"/>
                    </a:cubicBezTo>
                    <a:cubicBezTo>
                      <a:pt x="375" y="98"/>
                      <a:pt x="370" y="92"/>
                      <a:pt x="363" y="92"/>
                    </a:cubicBezTo>
                    <a:close/>
                    <a:moveTo>
                      <a:pt x="398" y="61"/>
                    </a:moveTo>
                    <a:cubicBezTo>
                      <a:pt x="391" y="61"/>
                      <a:pt x="386" y="67"/>
                      <a:pt x="386" y="74"/>
                    </a:cubicBezTo>
                    <a:cubicBezTo>
                      <a:pt x="386" y="80"/>
                      <a:pt x="391" y="86"/>
                      <a:pt x="398" y="86"/>
                    </a:cubicBezTo>
                    <a:cubicBezTo>
                      <a:pt x="405" y="86"/>
                      <a:pt x="410" y="80"/>
                      <a:pt x="410" y="74"/>
                    </a:cubicBezTo>
                    <a:cubicBezTo>
                      <a:pt x="410" y="67"/>
                      <a:pt x="405" y="61"/>
                      <a:pt x="398" y="61"/>
                    </a:cubicBezTo>
                    <a:close/>
                    <a:moveTo>
                      <a:pt x="398" y="246"/>
                    </a:moveTo>
                    <a:cubicBezTo>
                      <a:pt x="391" y="246"/>
                      <a:pt x="386" y="251"/>
                      <a:pt x="386" y="258"/>
                    </a:cubicBezTo>
                    <a:cubicBezTo>
                      <a:pt x="386" y="265"/>
                      <a:pt x="391" y="270"/>
                      <a:pt x="398" y="270"/>
                    </a:cubicBezTo>
                    <a:cubicBezTo>
                      <a:pt x="405" y="270"/>
                      <a:pt x="410" y="265"/>
                      <a:pt x="410" y="258"/>
                    </a:cubicBezTo>
                    <a:cubicBezTo>
                      <a:pt x="410" y="251"/>
                      <a:pt x="405" y="246"/>
                      <a:pt x="398" y="246"/>
                    </a:cubicBezTo>
                    <a:close/>
                    <a:moveTo>
                      <a:pt x="398" y="123"/>
                    </a:moveTo>
                    <a:cubicBezTo>
                      <a:pt x="391" y="123"/>
                      <a:pt x="386" y="128"/>
                      <a:pt x="386" y="135"/>
                    </a:cubicBezTo>
                    <a:cubicBezTo>
                      <a:pt x="386" y="142"/>
                      <a:pt x="391" y="147"/>
                      <a:pt x="398" y="147"/>
                    </a:cubicBezTo>
                    <a:cubicBezTo>
                      <a:pt x="405" y="147"/>
                      <a:pt x="410" y="142"/>
                      <a:pt x="410" y="135"/>
                    </a:cubicBezTo>
                    <a:cubicBezTo>
                      <a:pt x="410" y="128"/>
                      <a:pt x="405" y="123"/>
                      <a:pt x="398" y="123"/>
                    </a:cubicBezTo>
                    <a:close/>
                    <a:moveTo>
                      <a:pt x="398" y="92"/>
                    </a:moveTo>
                    <a:cubicBezTo>
                      <a:pt x="391" y="92"/>
                      <a:pt x="386" y="98"/>
                      <a:pt x="386" y="104"/>
                    </a:cubicBezTo>
                    <a:cubicBezTo>
                      <a:pt x="386" y="111"/>
                      <a:pt x="391" y="117"/>
                      <a:pt x="398" y="117"/>
                    </a:cubicBezTo>
                    <a:cubicBezTo>
                      <a:pt x="405" y="117"/>
                      <a:pt x="410" y="111"/>
                      <a:pt x="410" y="104"/>
                    </a:cubicBezTo>
                    <a:cubicBezTo>
                      <a:pt x="410" y="98"/>
                      <a:pt x="405" y="92"/>
                      <a:pt x="398" y="92"/>
                    </a:cubicBezTo>
                    <a:close/>
                    <a:moveTo>
                      <a:pt x="398" y="154"/>
                    </a:moveTo>
                    <a:cubicBezTo>
                      <a:pt x="391" y="154"/>
                      <a:pt x="386" y="159"/>
                      <a:pt x="386" y="166"/>
                    </a:cubicBezTo>
                    <a:cubicBezTo>
                      <a:pt x="386" y="173"/>
                      <a:pt x="391" y="178"/>
                      <a:pt x="398" y="178"/>
                    </a:cubicBezTo>
                    <a:cubicBezTo>
                      <a:pt x="405" y="178"/>
                      <a:pt x="410" y="173"/>
                      <a:pt x="410" y="166"/>
                    </a:cubicBezTo>
                    <a:cubicBezTo>
                      <a:pt x="410" y="159"/>
                      <a:pt x="405" y="154"/>
                      <a:pt x="398" y="154"/>
                    </a:cubicBezTo>
                    <a:close/>
                    <a:moveTo>
                      <a:pt x="398" y="184"/>
                    </a:moveTo>
                    <a:cubicBezTo>
                      <a:pt x="391" y="184"/>
                      <a:pt x="386" y="190"/>
                      <a:pt x="386" y="197"/>
                    </a:cubicBezTo>
                    <a:cubicBezTo>
                      <a:pt x="386" y="203"/>
                      <a:pt x="391" y="209"/>
                      <a:pt x="398" y="209"/>
                    </a:cubicBezTo>
                    <a:cubicBezTo>
                      <a:pt x="405" y="209"/>
                      <a:pt x="410" y="203"/>
                      <a:pt x="410" y="197"/>
                    </a:cubicBezTo>
                    <a:cubicBezTo>
                      <a:pt x="410" y="190"/>
                      <a:pt x="405" y="184"/>
                      <a:pt x="398" y="184"/>
                    </a:cubicBezTo>
                    <a:close/>
                    <a:moveTo>
                      <a:pt x="398" y="215"/>
                    </a:moveTo>
                    <a:cubicBezTo>
                      <a:pt x="391" y="215"/>
                      <a:pt x="386" y="221"/>
                      <a:pt x="386" y="227"/>
                    </a:cubicBezTo>
                    <a:cubicBezTo>
                      <a:pt x="386" y="234"/>
                      <a:pt x="391" y="240"/>
                      <a:pt x="398" y="240"/>
                    </a:cubicBezTo>
                    <a:cubicBezTo>
                      <a:pt x="405" y="240"/>
                      <a:pt x="410" y="234"/>
                      <a:pt x="410" y="227"/>
                    </a:cubicBezTo>
                    <a:cubicBezTo>
                      <a:pt x="410" y="221"/>
                      <a:pt x="405" y="215"/>
                      <a:pt x="398" y="215"/>
                    </a:cubicBezTo>
                    <a:close/>
                    <a:moveTo>
                      <a:pt x="363" y="184"/>
                    </a:moveTo>
                    <a:cubicBezTo>
                      <a:pt x="356" y="184"/>
                      <a:pt x="351" y="190"/>
                      <a:pt x="351" y="197"/>
                    </a:cubicBezTo>
                    <a:cubicBezTo>
                      <a:pt x="351" y="203"/>
                      <a:pt x="356" y="209"/>
                      <a:pt x="363" y="209"/>
                    </a:cubicBezTo>
                    <a:cubicBezTo>
                      <a:pt x="370" y="209"/>
                      <a:pt x="375" y="203"/>
                      <a:pt x="375" y="197"/>
                    </a:cubicBezTo>
                    <a:cubicBezTo>
                      <a:pt x="375" y="190"/>
                      <a:pt x="370" y="184"/>
                      <a:pt x="363" y="184"/>
                    </a:cubicBezTo>
                    <a:close/>
                    <a:moveTo>
                      <a:pt x="188" y="215"/>
                    </a:moveTo>
                    <a:cubicBezTo>
                      <a:pt x="181" y="215"/>
                      <a:pt x="175" y="221"/>
                      <a:pt x="175" y="227"/>
                    </a:cubicBezTo>
                    <a:cubicBezTo>
                      <a:pt x="175" y="234"/>
                      <a:pt x="181" y="240"/>
                      <a:pt x="188" y="240"/>
                    </a:cubicBezTo>
                    <a:cubicBezTo>
                      <a:pt x="194" y="240"/>
                      <a:pt x="200" y="234"/>
                      <a:pt x="200" y="227"/>
                    </a:cubicBezTo>
                    <a:cubicBezTo>
                      <a:pt x="200" y="221"/>
                      <a:pt x="194" y="215"/>
                      <a:pt x="188" y="215"/>
                    </a:cubicBezTo>
                    <a:close/>
                    <a:moveTo>
                      <a:pt x="223" y="338"/>
                    </a:moveTo>
                    <a:cubicBezTo>
                      <a:pt x="216" y="338"/>
                      <a:pt x="210" y="344"/>
                      <a:pt x="210" y="350"/>
                    </a:cubicBezTo>
                    <a:cubicBezTo>
                      <a:pt x="210" y="357"/>
                      <a:pt x="216" y="363"/>
                      <a:pt x="223" y="363"/>
                    </a:cubicBezTo>
                    <a:cubicBezTo>
                      <a:pt x="229" y="363"/>
                      <a:pt x="235" y="357"/>
                      <a:pt x="235" y="350"/>
                    </a:cubicBezTo>
                    <a:cubicBezTo>
                      <a:pt x="235" y="344"/>
                      <a:pt x="229" y="338"/>
                      <a:pt x="223" y="338"/>
                    </a:cubicBezTo>
                    <a:close/>
                    <a:moveTo>
                      <a:pt x="153" y="184"/>
                    </a:moveTo>
                    <a:cubicBezTo>
                      <a:pt x="146" y="184"/>
                      <a:pt x="140" y="190"/>
                      <a:pt x="140" y="197"/>
                    </a:cubicBezTo>
                    <a:cubicBezTo>
                      <a:pt x="140" y="203"/>
                      <a:pt x="146" y="209"/>
                      <a:pt x="153" y="209"/>
                    </a:cubicBezTo>
                    <a:cubicBezTo>
                      <a:pt x="159" y="209"/>
                      <a:pt x="165" y="203"/>
                      <a:pt x="165" y="197"/>
                    </a:cubicBezTo>
                    <a:cubicBezTo>
                      <a:pt x="165" y="190"/>
                      <a:pt x="159" y="184"/>
                      <a:pt x="153" y="184"/>
                    </a:cubicBezTo>
                    <a:close/>
                    <a:moveTo>
                      <a:pt x="188" y="338"/>
                    </a:moveTo>
                    <a:cubicBezTo>
                      <a:pt x="181" y="338"/>
                      <a:pt x="175" y="344"/>
                      <a:pt x="175" y="350"/>
                    </a:cubicBezTo>
                    <a:cubicBezTo>
                      <a:pt x="175" y="357"/>
                      <a:pt x="181" y="363"/>
                      <a:pt x="188" y="363"/>
                    </a:cubicBezTo>
                    <a:cubicBezTo>
                      <a:pt x="194" y="363"/>
                      <a:pt x="200" y="357"/>
                      <a:pt x="200" y="350"/>
                    </a:cubicBezTo>
                    <a:cubicBezTo>
                      <a:pt x="200" y="344"/>
                      <a:pt x="194" y="338"/>
                      <a:pt x="188" y="338"/>
                    </a:cubicBezTo>
                    <a:close/>
                    <a:moveTo>
                      <a:pt x="153" y="154"/>
                    </a:moveTo>
                    <a:cubicBezTo>
                      <a:pt x="146" y="154"/>
                      <a:pt x="140" y="159"/>
                      <a:pt x="140" y="166"/>
                    </a:cubicBezTo>
                    <a:cubicBezTo>
                      <a:pt x="140" y="173"/>
                      <a:pt x="146" y="178"/>
                      <a:pt x="153" y="178"/>
                    </a:cubicBezTo>
                    <a:cubicBezTo>
                      <a:pt x="159" y="178"/>
                      <a:pt x="165" y="173"/>
                      <a:pt x="165" y="166"/>
                    </a:cubicBezTo>
                    <a:cubicBezTo>
                      <a:pt x="165" y="159"/>
                      <a:pt x="159" y="154"/>
                      <a:pt x="153" y="154"/>
                    </a:cubicBezTo>
                    <a:close/>
                    <a:moveTo>
                      <a:pt x="153" y="123"/>
                    </a:moveTo>
                    <a:cubicBezTo>
                      <a:pt x="146" y="123"/>
                      <a:pt x="140" y="128"/>
                      <a:pt x="140" y="135"/>
                    </a:cubicBezTo>
                    <a:cubicBezTo>
                      <a:pt x="140" y="142"/>
                      <a:pt x="146" y="147"/>
                      <a:pt x="153" y="147"/>
                    </a:cubicBezTo>
                    <a:cubicBezTo>
                      <a:pt x="159" y="147"/>
                      <a:pt x="165" y="142"/>
                      <a:pt x="165" y="135"/>
                    </a:cubicBezTo>
                    <a:cubicBezTo>
                      <a:pt x="165" y="128"/>
                      <a:pt x="159" y="123"/>
                      <a:pt x="153" y="123"/>
                    </a:cubicBezTo>
                    <a:close/>
                    <a:moveTo>
                      <a:pt x="153" y="92"/>
                    </a:moveTo>
                    <a:cubicBezTo>
                      <a:pt x="146" y="92"/>
                      <a:pt x="140" y="98"/>
                      <a:pt x="140" y="104"/>
                    </a:cubicBezTo>
                    <a:cubicBezTo>
                      <a:pt x="140" y="111"/>
                      <a:pt x="146" y="117"/>
                      <a:pt x="153" y="117"/>
                    </a:cubicBezTo>
                    <a:cubicBezTo>
                      <a:pt x="159" y="117"/>
                      <a:pt x="165" y="111"/>
                      <a:pt x="165" y="104"/>
                    </a:cubicBezTo>
                    <a:cubicBezTo>
                      <a:pt x="165" y="98"/>
                      <a:pt x="159" y="92"/>
                      <a:pt x="153" y="92"/>
                    </a:cubicBezTo>
                    <a:close/>
                    <a:moveTo>
                      <a:pt x="188" y="92"/>
                    </a:moveTo>
                    <a:cubicBezTo>
                      <a:pt x="181" y="92"/>
                      <a:pt x="175" y="98"/>
                      <a:pt x="175" y="104"/>
                    </a:cubicBezTo>
                    <a:cubicBezTo>
                      <a:pt x="175" y="111"/>
                      <a:pt x="181" y="117"/>
                      <a:pt x="188" y="117"/>
                    </a:cubicBezTo>
                    <a:cubicBezTo>
                      <a:pt x="194" y="117"/>
                      <a:pt x="200" y="111"/>
                      <a:pt x="200" y="104"/>
                    </a:cubicBezTo>
                    <a:cubicBezTo>
                      <a:pt x="200" y="98"/>
                      <a:pt x="194" y="92"/>
                      <a:pt x="188" y="92"/>
                    </a:cubicBezTo>
                    <a:close/>
                    <a:moveTo>
                      <a:pt x="223" y="400"/>
                    </a:moveTo>
                    <a:cubicBezTo>
                      <a:pt x="216" y="400"/>
                      <a:pt x="210" y="405"/>
                      <a:pt x="210" y="412"/>
                    </a:cubicBezTo>
                    <a:cubicBezTo>
                      <a:pt x="210" y="419"/>
                      <a:pt x="216" y="424"/>
                      <a:pt x="223" y="424"/>
                    </a:cubicBezTo>
                    <a:cubicBezTo>
                      <a:pt x="229" y="424"/>
                      <a:pt x="235" y="419"/>
                      <a:pt x="235" y="412"/>
                    </a:cubicBezTo>
                    <a:cubicBezTo>
                      <a:pt x="235" y="405"/>
                      <a:pt x="229" y="400"/>
                      <a:pt x="223" y="400"/>
                    </a:cubicBezTo>
                    <a:close/>
                    <a:moveTo>
                      <a:pt x="188" y="184"/>
                    </a:moveTo>
                    <a:cubicBezTo>
                      <a:pt x="181" y="184"/>
                      <a:pt x="175" y="190"/>
                      <a:pt x="175" y="197"/>
                    </a:cubicBezTo>
                    <a:cubicBezTo>
                      <a:pt x="175" y="203"/>
                      <a:pt x="181" y="209"/>
                      <a:pt x="188" y="209"/>
                    </a:cubicBezTo>
                    <a:cubicBezTo>
                      <a:pt x="194" y="209"/>
                      <a:pt x="200" y="203"/>
                      <a:pt x="200" y="197"/>
                    </a:cubicBezTo>
                    <a:cubicBezTo>
                      <a:pt x="200" y="190"/>
                      <a:pt x="194" y="184"/>
                      <a:pt x="188" y="184"/>
                    </a:cubicBezTo>
                    <a:close/>
                    <a:moveTo>
                      <a:pt x="223" y="369"/>
                    </a:moveTo>
                    <a:cubicBezTo>
                      <a:pt x="216" y="369"/>
                      <a:pt x="210" y="374"/>
                      <a:pt x="210" y="381"/>
                    </a:cubicBezTo>
                    <a:cubicBezTo>
                      <a:pt x="210" y="388"/>
                      <a:pt x="216" y="393"/>
                      <a:pt x="223" y="393"/>
                    </a:cubicBezTo>
                    <a:cubicBezTo>
                      <a:pt x="229" y="393"/>
                      <a:pt x="235" y="388"/>
                      <a:pt x="235" y="381"/>
                    </a:cubicBezTo>
                    <a:cubicBezTo>
                      <a:pt x="235" y="374"/>
                      <a:pt x="229" y="369"/>
                      <a:pt x="223" y="369"/>
                    </a:cubicBezTo>
                    <a:close/>
                    <a:moveTo>
                      <a:pt x="188" y="123"/>
                    </a:moveTo>
                    <a:cubicBezTo>
                      <a:pt x="181" y="123"/>
                      <a:pt x="175" y="128"/>
                      <a:pt x="175" y="135"/>
                    </a:cubicBezTo>
                    <a:cubicBezTo>
                      <a:pt x="175" y="142"/>
                      <a:pt x="181" y="147"/>
                      <a:pt x="188" y="147"/>
                    </a:cubicBezTo>
                    <a:cubicBezTo>
                      <a:pt x="194" y="147"/>
                      <a:pt x="200" y="142"/>
                      <a:pt x="200" y="135"/>
                    </a:cubicBezTo>
                    <a:cubicBezTo>
                      <a:pt x="200" y="128"/>
                      <a:pt x="194" y="123"/>
                      <a:pt x="188" y="123"/>
                    </a:cubicBezTo>
                    <a:close/>
                    <a:moveTo>
                      <a:pt x="188" y="154"/>
                    </a:moveTo>
                    <a:cubicBezTo>
                      <a:pt x="181" y="154"/>
                      <a:pt x="175" y="159"/>
                      <a:pt x="175" y="166"/>
                    </a:cubicBezTo>
                    <a:cubicBezTo>
                      <a:pt x="175" y="173"/>
                      <a:pt x="181" y="178"/>
                      <a:pt x="188" y="178"/>
                    </a:cubicBezTo>
                    <a:cubicBezTo>
                      <a:pt x="194" y="178"/>
                      <a:pt x="200" y="173"/>
                      <a:pt x="200" y="166"/>
                    </a:cubicBezTo>
                    <a:cubicBezTo>
                      <a:pt x="200" y="159"/>
                      <a:pt x="194" y="154"/>
                      <a:pt x="188" y="154"/>
                    </a:cubicBezTo>
                    <a:close/>
                    <a:moveTo>
                      <a:pt x="188" y="307"/>
                    </a:moveTo>
                    <a:cubicBezTo>
                      <a:pt x="181" y="307"/>
                      <a:pt x="175" y="313"/>
                      <a:pt x="175" y="320"/>
                    </a:cubicBezTo>
                    <a:cubicBezTo>
                      <a:pt x="175" y="326"/>
                      <a:pt x="181" y="332"/>
                      <a:pt x="188" y="332"/>
                    </a:cubicBezTo>
                    <a:cubicBezTo>
                      <a:pt x="194" y="332"/>
                      <a:pt x="200" y="326"/>
                      <a:pt x="200" y="320"/>
                    </a:cubicBezTo>
                    <a:cubicBezTo>
                      <a:pt x="200" y="313"/>
                      <a:pt x="194" y="307"/>
                      <a:pt x="188" y="307"/>
                    </a:cubicBezTo>
                    <a:close/>
                    <a:moveTo>
                      <a:pt x="47" y="123"/>
                    </a:moveTo>
                    <a:cubicBezTo>
                      <a:pt x="41" y="123"/>
                      <a:pt x="35" y="128"/>
                      <a:pt x="35" y="135"/>
                    </a:cubicBezTo>
                    <a:cubicBezTo>
                      <a:pt x="35" y="142"/>
                      <a:pt x="41" y="147"/>
                      <a:pt x="47" y="147"/>
                    </a:cubicBezTo>
                    <a:cubicBezTo>
                      <a:pt x="54" y="147"/>
                      <a:pt x="60" y="142"/>
                      <a:pt x="60" y="135"/>
                    </a:cubicBezTo>
                    <a:cubicBezTo>
                      <a:pt x="60" y="128"/>
                      <a:pt x="54" y="123"/>
                      <a:pt x="47" y="123"/>
                    </a:cubicBezTo>
                    <a:close/>
                    <a:moveTo>
                      <a:pt x="47" y="154"/>
                    </a:moveTo>
                    <a:cubicBezTo>
                      <a:pt x="41" y="154"/>
                      <a:pt x="35" y="159"/>
                      <a:pt x="35" y="166"/>
                    </a:cubicBezTo>
                    <a:cubicBezTo>
                      <a:pt x="35" y="173"/>
                      <a:pt x="41" y="178"/>
                      <a:pt x="47" y="178"/>
                    </a:cubicBezTo>
                    <a:cubicBezTo>
                      <a:pt x="54" y="178"/>
                      <a:pt x="60" y="173"/>
                      <a:pt x="60" y="166"/>
                    </a:cubicBezTo>
                    <a:cubicBezTo>
                      <a:pt x="60" y="159"/>
                      <a:pt x="54" y="154"/>
                      <a:pt x="47" y="154"/>
                    </a:cubicBezTo>
                    <a:close/>
                    <a:moveTo>
                      <a:pt x="82" y="154"/>
                    </a:moveTo>
                    <a:cubicBezTo>
                      <a:pt x="76" y="154"/>
                      <a:pt x="70" y="159"/>
                      <a:pt x="70" y="166"/>
                    </a:cubicBezTo>
                    <a:cubicBezTo>
                      <a:pt x="70" y="173"/>
                      <a:pt x="76" y="178"/>
                      <a:pt x="82" y="178"/>
                    </a:cubicBezTo>
                    <a:cubicBezTo>
                      <a:pt x="89" y="178"/>
                      <a:pt x="95" y="173"/>
                      <a:pt x="95" y="166"/>
                    </a:cubicBezTo>
                    <a:cubicBezTo>
                      <a:pt x="95" y="159"/>
                      <a:pt x="89" y="154"/>
                      <a:pt x="82" y="154"/>
                    </a:cubicBezTo>
                    <a:close/>
                    <a:moveTo>
                      <a:pt x="3131" y="332"/>
                    </a:moveTo>
                    <a:cubicBezTo>
                      <a:pt x="3138" y="332"/>
                      <a:pt x="3143" y="326"/>
                      <a:pt x="3143" y="320"/>
                    </a:cubicBezTo>
                    <a:cubicBezTo>
                      <a:pt x="3143" y="313"/>
                      <a:pt x="3138" y="307"/>
                      <a:pt x="3131" y="307"/>
                    </a:cubicBezTo>
                    <a:cubicBezTo>
                      <a:pt x="3124" y="307"/>
                      <a:pt x="3119" y="313"/>
                      <a:pt x="3119" y="320"/>
                    </a:cubicBezTo>
                    <a:cubicBezTo>
                      <a:pt x="3119" y="326"/>
                      <a:pt x="3124" y="332"/>
                      <a:pt x="3131" y="332"/>
                    </a:cubicBezTo>
                    <a:close/>
                    <a:moveTo>
                      <a:pt x="82" y="123"/>
                    </a:moveTo>
                    <a:cubicBezTo>
                      <a:pt x="76" y="123"/>
                      <a:pt x="70" y="128"/>
                      <a:pt x="70" y="135"/>
                    </a:cubicBezTo>
                    <a:cubicBezTo>
                      <a:pt x="70" y="142"/>
                      <a:pt x="76" y="147"/>
                      <a:pt x="82" y="147"/>
                    </a:cubicBezTo>
                    <a:cubicBezTo>
                      <a:pt x="89" y="147"/>
                      <a:pt x="95" y="142"/>
                      <a:pt x="95" y="135"/>
                    </a:cubicBezTo>
                    <a:cubicBezTo>
                      <a:pt x="95" y="128"/>
                      <a:pt x="89" y="123"/>
                      <a:pt x="82" y="123"/>
                    </a:cubicBezTo>
                    <a:close/>
                    <a:moveTo>
                      <a:pt x="12" y="154"/>
                    </a:moveTo>
                    <a:cubicBezTo>
                      <a:pt x="6" y="154"/>
                      <a:pt x="0" y="159"/>
                      <a:pt x="0" y="166"/>
                    </a:cubicBezTo>
                    <a:cubicBezTo>
                      <a:pt x="0" y="173"/>
                      <a:pt x="6" y="178"/>
                      <a:pt x="12" y="178"/>
                    </a:cubicBezTo>
                    <a:cubicBezTo>
                      <a:pt x="19" y="178"/>
                      <a:pt x="25" y="173"/>
                      <a:pt x="25" y="166"/>
                    </a:cubicBezTo>
                    <a:cubicBezTo>
                      <a:pt x="25" y="159"/>
                      <a:pt x="19" y="154"/>
                      <a:pt x="12" y="154"/>
                    </a:cubicBezTo>
                    <a:close/>
                    <a:moveTo>
                      <a:pt x="118" y="184"/>
                    </a:moveTo>
                    <a:cubicBezTo>
                      <a:pt x="111" y="184"/>
                      <a:pt x="105" y="190"/>
                      <a:pt x="105" y="197"/>
                    </a:cubicBezTo>
                    <a:cubicBezTo>
                      <a:pt x="105" y="203"/>
                      <a:pt x="111" y="209"/>
                      <a:pt x="118" y="209"/>
                    </a:cubicBezTo>
                    <a:cubicBezTo>
                      <a:pt x="124" y="209"/>
                      <a:pt x="130" y="203"/>
                      <a:pt x="130" y="197"/>
                    </a:cubicBezTo>
                    <a:cubicBezTo>
                      <a:pt x="130" y="190"/>
                      <a:pt x="124" y="184"/>
                      <a:pt x="118" y="184"/>
                    </a:cubicBezTo>
                    <a:close/>
                    <a:moveTo>
                      <a:pt x="118" y="123"/>
                    </a:moveTo>
                    <a:cubicBezTo>
                      <a:pt x="111" y="123"/>
                      <a:pt x="105" y="128"/>
                      <a:pt x="105" y="135"/>
                    </a:cubicBezTo>
                    <a:cubicBezTo>
                      <a:pt x="105" y="142"/>
                      <a:pt x="111" y="147"/>
                      <a:pt x="118" y="147"/>
                    </a:cubicBezTo>
                    <a:cubicBezTo>
                      <a:pt x="124" y="147"/>
                      <a:pt x="130" y="142"/>
                      <a:pt x="130" y="135"/>
                    </a:cubicBezTo>
                    <a:cubicBezTo>
                      <a:pt x="130" y="128"/>
                      <a:pt x="124" y="123"/>
                      <a:pt x="118" y="123"/>
                    </a:cubicBezTo>
                    <a:close/>
                    <a:moveTo>
                      <a:pt x="118" y="92"/>
                    </a:moveTo>
                    <a:cubicBezTo>
                      <a:pt x="111" y="92"/>
                      <a:pt x="105" y="98"/>
                      <a:pt x="105" y="104"/>
                    </a:cubicBezTo>
                    <a:cubicBezTo>
                      <a:pt x="105" y="111"/>
                      <a:pt x="111" y="117"/>
                      <a:pt x="118" y="117"/>
                    </a:cubicBezTo>
                    <a:cubicBezTo>
                      <a:pt x="124" y="117"/>
                      <a:pt x="130" y="111"/>
                      <a:pt x="130" y="104"/>
                    </a:cubicBezTo>
                    <a:cubicBezTo>
                      <a:pt x="130" y="98"/>
                      <a:pt x="124" y="92"/>
                      <a:pt x="118" y="92"/>
                    </a:cubicBezTo>
                    <a:close/>
                    <a:moveTo>
                      <a:pt x="153" y="215"/>
                    </a:moveTo>
                    <a:cubicBezTo>
                      <a:pt x="146" y="215"/>
                      <a:pt x="140" y="221"/>
                      <a:pt x="140" y="227"/>
                    </a:cubicBezTo>
                    <a:cubicBezTo>
                      <a:pt x="140" y="234"/>
                      <a:pt x="146" y="240"/>
                      <a:pt x="153" y="240"/>
                    </a:cubicBezTo>
                    <a:cubicBezTo>
                      <a:pt x="159" y="240"/>
                      <a:pt x="165" y="234"/>
                      <a:pt x="165" y="227"/>
                    </a:cubicBezTo>
                    <a:cubicBezTo>
                      <a:pt x="165" y="221"/>
                      <a:pt x="159" y="215"/>
                      <a:pt x="153" y="215"/>
                    </a:cubicBezTo>
                    <a:close/>
                    <a:moveTo>
                      <a:pt x="1309" y="400"/>
                    </a:moveTo>
                    <a:cubicBezTo>
                      <a:pt x="1302" y="400"/>
                      <a:pt x="1297" y="405"/>
                      <a:pt x="1297" y="412"/>
                    </a:cubicBezTo>
                    <a:cubicBezTo>
                      <a:pt x="1297" y="419"/>
                      <a:pt x="1302" y="424"/>
                      <a:pt x="1309" y="424"/>
                    </a:cubicBezTo>
                    <a:cubicBezTo>
                      <a:pt x="1316" y="424"/>
                      <a:pt x="1321" y="419"/>
                      <a:pt x="1321" y="412"/>
                    </a:cubicBezTo>
                    <a:cubicBezTo>
                      <a:pt x="1321" y="405"/>
                      <a:pt x="1316" y="400"/>
                      <a:pt x="1309" y="400"/>
                    </a:cubicBezTo>
                    <a:close/>
                    <a:moveTo>
                      <a:pt x="82" y="92"/>
                    </a:moveTo>
                    <a:cubicBezTo>
                      <a:pt x="76" y="92"/>
                      <a:pt x="70" y="98"/>
                      <a:pt x="70" y="104"/>
                    </a:cubicBezTo>
                    <a:cubicBezTo>
                      <a:pt x="70" y="111"/>
                      <a:pt x="76" y="117"/>
                      <a:pt x="82" y="117"/>
                    </a:cubicBezTo>
                    <a:cubicBezTo>
                      <a:pt x="89" y="117"/>
                      <a:pt x="95" y="111"/>
                      <a:pt x="95" y="104"/>
                    </a:cubicBezTo>
                    <a:cubicBezTo>
                      <a:pt x="95" y="98"/>
                      <a:pt x="89" y="92"/>
                      <a:pt x="82" y="92"/>
                    </a:cubicBezTo>
                    <a:close/>
                    <a:moveTo>
                      <a:pt x="293" y="307"/>
                    </a:moveTo>
                    <a:cubicBezTo>
                      <a:pt x="286" y="307"/>
                      <a:pt x="281" y="313"/>
                      <a:pt x="281" y="320"/>
                    </a:cubicBezTo>
                    <a:cubicBezTo>
                      <a:pt x="281" y="326"/>
                      <a:pt x="286" y="332"/>
                      <a:pt x="293" y="332"/>
                    </a:cubicBezTo>
                    <a:cubicBezTo>
                      <a:pt x="299" y="332"/>
                      <a:pt x="305" y="326"/>
                      <a:pt x="305" y="320"/>
                    </a:cubicBezTo>
                    <a:cubicBezTo>
                      <a:pt x="305" y="313"/>
                      <a:pt x="299" y="307"/>
                      <a:pt x="293" y="307"/>
                    </a:cubicBezTo>
                    <a:close/>
                    <a:moveTo>
                      <a:pt x="258" y="154"/>
                    </a:moveTo>
                    <a:cubicBezTo>
                      <a:pt x="251" y="154"/>
                      <a:pt x="246" y="159"/>
                      <a:pt x="246" y="166"/>
                    </a:cubicBezTo>
                    <a:cubicBezTo>
                      <a:pt x="246" y="173"/>
                      <a:pt x="251" y="178"/>
                      <a:pt x="258" y="178"/>
                    </a:cubicBezTo>
                    <a:cubicBezTo>
                      <a:pt x="264" y="178"/>
                      <a:pt x="270" y="173"/>
                      <a:pt x="270" y="166"/>
                    </a:cubicBezTo>
                    <a:cubicBezTo>
                      <a:pt x="270" y="159"/>
                      <a:pt x="264" y="154"/>
                      <a:pt x="258" y="154"/>
                    </a:cubicBezTo>
                    <a:close/>
                    <a:moveTo>
                      <a:pt x="258" y="123"/>
                    </a:moveTo>
                    <a:cubicBezTo>
                      <a:pt x="251" y="123"/>
                      <a:pt x="246" y="128"/>
                      <a:pt x="246" y="135"/>
                    </a:cubicBezTo>
                    <a:cubicBezTo>
                      <a:pt x="246" y="142"/>
                      <a:pt x="251" y="147"/>
                      <a:pt x="258" y="147"/>
                    </a:cubicBezTo>
                    <a:cubicBezTo>
                      <a:pt x="264" y="147"/>
                      <a:pt x="270" y="142"/>
                      <a:pt x="270" y="135"/>
                    </a:cubicBezTo>
                    <a:cubicBezTo>
                      <a:pt x="270" y="128"/>
                      <a:pt x="264" y="123"/>
                      <a:pt x="258" y="123"/>
                    </a:cubicBezTo>
                    <a:close/>
                    <a:moveTo>
                      <a:pt x="258" y="92"/>
                    </a:moveTo>
                    <a:cubicBezTo>
                      <a:pt x="251" y="92"/>
                      <a:pt x="246" y="98"/>
                      <a:pt x="246" y="104"/>
                    </a:cubicBezTo>
                    <a:cubicBezTo>
                      <a:pt x="246" y="111"/>
                      <a:pt x="251" y="117"/>
                      <a:pt x="258" y="117"/>
                    </a:cubicBezTo>
                    <a:cubicBezTo>
                      <a:pt x="264" y="117"/>
                      <a:pt x="270" y="111"/>
                      <a:pt x="270" y="104"/>
                    </a:cubicBezTo>
                    <a:cubicBezTo>
                      <a:pt x="270" y="98"/>
                      <a:pt x="264" y="92"/>
                      <a:pt x="258" y="92"/>
                    </a:cubicBezTo>
                    <a:close/>
                    <a:moveTo>
                      <a:pt x="258" y="184"/>
                    </a:moveTo>
                    <a:cubicBezTo>
                      <a:pt x="251" y="184"/>
                      <a:pt x="246" y="190"/>
                      <a:pt x="246" y="197"/>
                    </a:cubicBezTo>
                    <a:cubicBezTo>
                      <a:pt x="246" y="203"/>
                      <a:pt x="251" y="209"/>
                      <a:pt x="258" y="209"/>
                    </a:cubicBezTo>
                    <a:cubicBezTo>
                      <a:pt x="264" y="209"/>
                      <a:pt x="270" y="203"/>
                      <a:pt x="270" y="197"/>
                    </a:cubicBezTo>
                    <a:cubicBezTo>
                      <a:pt x="270" y="190"/>
                      <a:pt x="264" y="184"/>
                      <a:pt x="258" y="184"/>
                    </a:cubicBezTo>
                    <a:close/>
                    <a:moveTo>
                      <a:pt x="258" y="215"/>
                    </a:moveTo>
                    <a:cubicBezTo>
                      <a:pt x="251" y="215"/>
                      <a:pt x="246" y="221"/>
                      <a:pt x="246" y="227"/>
                    </a:cubicBezTo>
                    <a:cubicBezTo>
                      <a:pt x="246" y="234"/>
                      <a:pt x="251" y="240"/>
                      <a:pt x="258" y="240"/>
                    </a:cubicBezTo>
                    <a:cubicBezTo>
                      <a:pt x="264" y="240"/>
                      <a:pt x="270" y="234"/>
                      <a:pt x="270" y="227"/>
                    </a:cubicBezTo>
                    <a:cubicBezTo>
                      <a:pt x="270" y="221"/>
                      <a:pt x="264" y="215"/>
                      <a:pt x="258" y="215"/>
                    </a:cubicBezTo>
                    <a:close/>
                    <a:moveTo>
                      <a:pt x="258" y="277"/>
                    </a:moveTo>
                    <a:cubicBezTo>
                      <a:pt x="251" y="277"/>
                      <a:pt x="246" y="282"/>
                      <a:pt x="246" y="289"/>
                    </a:cubicBezTo>
                    <a:cubicBezTo>
                      <a:pt x="246" y="296"/>
                      <a:pt x="251" y="301"/>
                      <a:pt x="258" y="301"/>
                    </a:cubicBezTo>
                    <a:cubicBezTo>
                      <a:pt x="264" y="301"/>
                      <a:pt x="270" y="296"/>
                      <a:pt x="270" y="289"/>
                    </a:cubicBezTo>
                    <a:cubicBezTo>
                      <a:pt x="270" y="282"/>
                      <a:pt x="264" y="277"/>
                      <a:pt x="258" y="277"/>
                    </a:cubicBezTo>
                    <a:close/>
                    <a:moveTo>
                      <a:pt x="258" y="246"/>
                    </a:moveTo>
                    <a:cubicBezTo>
                      <a:pt x="251" y="246"/>
                      <a:pt x="246" y="251"/>
                      <a:pt x="246" y="258"/>
                    </a:cubicBezTo>
                    <a:cubicBezTo>
                      <a:pt x="246" y="265"/>
                      <a:pt x="251" y="270"/>
                      <a:pt x="258" y="270"/>
                    </a:cubicBezTo>
                    <a:cubicBezTo>
                      <a:pt x="264" y="270"/>
                      <a:pt x="270" y="265"/>
                      <a:pt x="270" y="258"/>
                    </a:cubicBezTo>
                    <a:cubicBezTo>
                      <a:pt x="270" y="251"/>
                      <a:pt x="264" y="246"/>
                      <a:pt x="258" y="246"/>
                    </a:cubicBezTo>
                    <a:close/>
                    <a:moveTo>
                      <a:pt x="293" y="277"/>
                    </a:moveTo>
                    <a:cubicBezTo>
                      <a:pt x="286" y="277"/>
                      <a:pt x="281" y="282"/>
                      <a:pt x="281" y="289"/>
                    </a:cubicBezTo>
                    <a:cubicBezTo>
                      <a:pt x="281" y="296"/>
                      <a:pt x="286" y="301"/>
                      <a:pt x="293" y="301"/>
                    </a:cubicBezTo>
                    <a:cubicBezTo>
                      <a:pt x="299" y="301"/>
                      <a:pt x="305" y="296"/>
                      <a:pt x="305" y="289"/>
                    </a:cubicBezTo>
                    <a:cubicBezTo>
                      <a:pt x="305" y="282"/>
                      <a:pt x="299" y="277"/>
                      <a:pt x="293" y="277"/>
                    </a:cubicBezTo>
                    <a:close/>
                    <a:moveTo>
                      <a:pt x="293" y="338"/>
                    </a:moveTo>
                    <a:cubicBezTo>
                      <a:pt x="286" y="338"/>
                      <a:pt x="281" y="344"/>
                      <a:pt x="281" y="350"/>
                    </a:cubicBezTo>
                    <a:cubicBezTo>
                      <a:pt x="281" y="357"/>
                      <a:pt x="286" y="363"/>
                      <a:pt x="293" y="363"/>
                    </a:cubicBezTo>
                    <a:cubicBezTo>
                      <a:pt x="299" y="363"/>
                      <a:pt x="305" y="357"/>
                      <a:pt x="305" y="350"/>
                    </a:cubicBezTo>
                    <a:cubicBezTo>
                      <a:pt x="305" y="344"/>
                      <a:pt x="299" y="338"/>
                      <a:pt x="293" y="338"/>
                    </a:cubicBezTo>
                    <a:close/>
                    <a:moveTo>
                      <a:pt x="258" y="61"/>
                    </a:moveTo>
                    <a:cubicBezTo>
                      <a:pt x="251" y="61"/>
                      <a:pt x="246" y="67"/>
                      <a:pt x="246" y="74"/>
                    </a:cubicBezTo>
                    <a:cubicBezTo>
                      <a:pt x="246" y="80"/>
                      <a:pt x="251" y="86"/>
                      <a:pt x="258" y="86"/>
                    </a:cubicBezTo>
                    <a:cubicBezTo>
                      <a:pt x="264" y="86"/>
                      <a:pt x="270" y="80"/>
                      <a:pt x="270" y="74"/>
                    </a:cubicBezTo>
                    <a:cubicBezTo>
                      <a:pt x="270" y="67"/>
                      <a:pt x="264" y="61"/>
                      <a:pt x="258" y="61"/>
                    </a:cubicBezTo>
                    <a:close/>
                    <a:moveTo>
                      <a:pt x="258" y="0"/>
                    </a:moveTo>
                    <a:cubicBezTo>
                      <a:pt x="251" y="0"/>
                      <a:pt x="246" y="5"/>
                      <a:pt x="246" y="12"/>
                    </a:cubicBezTo>
                    <a:cubicBezTo>
                      <a:pt x="246" y="19"/>
                      <a:pt x="251" y="24"/>
                      <a:pt x="258" y="24"/>
                    </a:cubicBezTo>
                    <a:cubicBezTo>
                      <a:pt x="264" y="24"/>
                      <a:pt x="270" y="19"/>
                      <a:pt x="270" y="12"/>
                    </a:cubicBezTo>
                    <a:cubicBezTo>
                      <a:pt x="270" y="5"/>
                      <a:pt x="264" y="0"/>
                      <a:pt x="258" y="0"/>
                    </a:cubicBezTo>
                    <a:close/>
                    <a:moveTo>
                      <a:pt x="258" y="31"/>
                    </a:moveTo>
                    <a:cubicBezTo>
                      <a:pt x="251" y="31"/>
                      <a:pt x="246" y="36"/>
                      <a:pt x="246" y="43"/>
                    </a:cubicBezTo>
                    <a:cubicBezTo>
                      <a:pt x="246" y="50"/>
                      <a:pt x="251" y="55"/>
                      <a:pt x="258" y="55"/>
                    </a:cubicBezTo>
                    <a:cubicBezTo>
                      <a:pt x="264" y="55"/>
                      <a:pt x="270" y="50"/>
                      <a:pt x="270" y="43"/>
                    </a:cubicBezTo>
                    <a:cubicBezTo>
                      <a:pt x="270" y="36"/>
                      <a:pt x="264" y="31"/>
                      <a:pt x="258" y="31"/>
                    </a:cubicBezTo>
                    <a:close/>
                    <a:moveTo>
                      <a:pt x="258" y="369"/>
                    </a:moveTo>
                    <a:cubicBezTo>
                      <a:pt x="251" y="369"/>
                      <a:pt x="246" y="374"/>
                      <a:pt x="246" y="381"/>
                    </a:cubicBezTo>
                    <a:cubicBezTo>
                      <a:pt x="246" y="388"/>
                      <a:pt x="251" y="393"/>
                      <a:pt x="258" y="393"/>
                    </a:cubicBezTo>
                    <a:cubicBezTo>
                      <a:pt x="264" y="393"/>
                      <a:pt x="270" y="388"/>
                      <a:pt x="270" y="381"/>
                    </a:cubicBezTo>
                    <a:cubicBezTo>
                      <a:pt x="270" y="374"/>
                      <a:pt x="264" y="369"/>
                      <a:pt x="258" y="369"/>
                    </a:cubicBezTo>
                    <a:close/>
                    <a:moveTo>
                      <a:pt x="223" y="123"/>
                    </a:moveTo>
                    <a:cubicBezTo>
                      <a:pt x="216" y="123"/>
                      <a:pt x="210" y="128"/>
                      <a:pt x="210" y="135"/>
                    </a:cubicBezTo>
                    <a:cubicBezTo>
                      <a:pt x="210" y="142"/>
                      <a:pt x="216" y="147"/>
                      <a:pt x="223" y="147"/>
                    </a:cubicBezTo>
                    <a:cubicBezTo>
                      <a:pt x="229" y="147"/>
                      <a:pt x="235" y="142"/>
                      <a:pt x="235" y="135"/>
                    </a:cubicBezTo>
                    <a:cubicBezTo>
                      <a:pt x="235" y="128"/>
                      <a:pt x="229" y="123"/>
                      <a:pt x="223" y="123"/>
                    </a:cubicBezTo>
                    <a:close/>
                    <a:moveTo>
                      <a:pt x="223" y="184"/>
                    </a:moveTo>
                    <a:cubicBezTo>
                      <a:pt x="216" y="184"/>
                      <a:pt x="210" y="190"/>
                      <a:pt x="210" y="197"/>
                    </a:cubicBezTo>
                    <a:cubicBezTo>
                      <a:pt x="210" y="203"/>
                      <a:pt x="216" y="209"/>
                      <a:pt x="223" y="209"/>
                    </a:cubicBezTo>
                    <a:cubicBezTo>
                      <a:pt x="229" y="209"/>
                      <a:pt x="235" y="203"/>
                      <a:pt x="235" y="197"/>
                    </a:cubicBezTo>
                    <a:cubicBezTo>
                      <a:pt x="235" y="190"/>
                      <a:pt x="229" y="184"/>
                      <a:pt x="223" y="184"/>
                    </a:cubicBezTo>
                    <a:close/>
                    <a:moveTo>
                      <a:pt x="223" y="154"/>
                    </a:moveTo>
                    <a:cubicBezTo>
                      <a:pt x="216" y="154"/>
                      <a:pt x="210" y="159"/>
                      <a:pt x="210" y="166"/>
                    </a:cubicBezTo>
                    <a:cubicBezTo>
                      <a:pt x="210" y="173"/>
                      <a:pt x="216" y="178"/>
                      <a:pt x="223" y="178"/>
                    </a:cubicBezTo>
                    <a:cubicBezTo>
                      <a:pt x="229" y="178"/>
                      <a:pt x="235" y="173"/>
                      <a:pt x="235" y="166"/>
                    </a:cubicBezTo>
                    <a:cubicBezTo>
                      <a:pt x="235" y="159"/>
                      <a:pt x="229" y="154"/>
                      <a:pt x="223" y="154"/>
                    </a:cubicBezTo>
                    <a:close/>
                    <a:moveTo>
                      <a:pt x="223" y="215"/>
                    </a:moveTo>
                    <a:cubicBezTo>
                      <a:pt x="216" y="215"/>
                      <a:pt x="210" y="221"/>
                      <a:pt x="210" y="227"/>
                    </a:cubicBezTo>
                    <a:cubicBezTo>
                      <a:pt x="210" y="234"/>
                      <a:pt x="216" y="240"/>
                      <a:pt x="223" y="240"/>
                    </a:cubicBezTo>
                    <a:cubicBezTo>
                      <a:pt x="229" y="240"/>
                      <a:pt x="235" y="234"/>
                      <a:pt x="235" y="227"/>
                    </a:cubicBezTo>
                    <a:cubicBezTo>
                      <a:pt x="235" y="221"/>
                      <a:pt x="229" y="215"/>
                      <a:pt x="223" y="215"/>
                    </a:cubicBezTo>
                    <a:close/>
                    <a:moveTo>
                      <a:pt x="223" y="277"/>
                    </a:moveTo>
                    <a:cubicBezTo>
                      <a:pt x="216" y="277"/>
                      <a:pt x="210" y="282"/>
                      <a:pt x="210" y="289"/>
                    </a:cubicBezTo>
                    <a:cubicBezTo>
                      <a:pt x="210" y="296"/>
                      <a:pt x="216" y="301"/>
                      <a:pt x="223" y="301"/>
                    </a:cubicBezTo>
                    <a:cubicBezTo>
                      <a:pt x="229" y="301"/>
                      <a:pt x="235" y="296"/>
                      <a:pt x="235" y="289"/>
                    </a:cubicBezTo>
                    <a:cubicBezTo>
                      <a:pt x="235" y="282"/>
                      <a:pt x="229" y="277"/>
                      <a:pt x="223" y="277"/>
                    </a:cubicBezTo>
                    <a:close/>
                    <a:moveTo>
                      <a:pt x="223" y="246"/>
                    </a:moveTo>
                    <a:cubicBezTo>
                      <a:pt x="216" y="246"/>
                      <a:pt x="210" y="251"/>
                      <a:pt x="210" y="258"/>
                    </a:cubicBezTo>
                    <a:cubicBezTo>
                      <a:pt x="210" y="265"/>
                      <a:pt x="216" y="270"/>
                      <a:pt x="223" y="270"/>
                    </a:cubicBezTo>
                    <a:cubicBezTo>
                      <a:pt x="229" y="270"/>
                      <a:pt x="235" y="265"/>
                      <a:pt x="235" y="258"/>
                    </a:cubicBezTo>
                    <a:cubicBezTo>
                      <a:pt x="235" y="251"/>
                      <a:pt x="229" y="246"/>
                      <a:pt x="223" y="246"/>
                    </a:cubicBezTo>
                    <a:close/>
                    <a:moveTo>
                      <a:pt x="258" y="338"/>
                    </a:moveTo>
                    <a:cubicBezTo>
                      <a:pt x="251" y="338"/>
                      <a:pt x="246" y="344"/>
                      <a:pt x="246" y="350"/>
                    </a:cubicBezTo>
                    <a:cubicBezTo>
                      <a:pt x="246" y="357"/>
                      <a:pt x="251" y="363"/>
                      <a:pt x="258" y="363"/>
                    </a:cubicBezTo>
                    <a:cubicBezTo>
                      <a:pt x="264" y="363"/>
                      <a:pt x="270" y="357"/>
                      <a:pt x="270" y="350"/>
                    </a:cubicBezTo>
                    <a:cubicBezTo>
                      <a:pt x="270" y="344"/>
                      <a:pt x="264" y="338"/>
                      <a:pt x="258" y="338"/>
                    </a:cubicBezTo>
                    <a:close/>
                    <a:moveTo>
                      <a:pt x="258" y="307"/>
                    </a:moveTo>
                    <a:cubicBezTo>
                      <a:pt x="251" y="307"/>
                      <a:pt x="246" y="313"/>
                      <a:pt x="246" y="320"/>
                    </a:cubicBezTo>
                    <a:cubicBezTo>
                      <a:pt x="246" y="326"/>
                      <a:pt x="251" y="332"/>
                      <a:pt x="258" y="332"/>
                    </a:cubicBezTo>
                    <a:cubicBezTo>
                      <a:pt x="264" y="332"/>
                      <a:pt x="270" y="326"/>
                      <a:pt x="270" y="320"/>
                    </a:cubicBezTo>
                    <a:cubicBezTo>
                      <a:pt x="270" y="313"/>
                      <a:pt x="264" y="307"/>
                      <a:pt x="258" y="307"/>
                    </a:cubicBezTo>
                    <a:close/>
                    <a:moveTo>
                      <a:pt x="223" y="92"/>
                    </a:moveTo>
                    <a:cubicBezTo>
                      <a:pt x="216" y="92"/>
                      <a:pt x="210" y="98"/>
                      <a:pt x="210" y="104"/>
                    </a:cubicBezTo>
                    <a:cubicBezTo>
                      <a:pt x="210" y="111"/>
                      <a:pt x="216" y="117"/>
                      <a:pt x="223" y="117"/>
                    </a:cubicBezTo>
                    <a:cubicBezTo>
                      <a:pt x="229" y="117"/>
                      <a:pt x="235" y="111"/>
                      <a:pt x="235" y="104"/>
                    </a:cubicBezTo>
                    <a:cubicBezTo>
                      <a:pt x="235" y="98"/>
                      <a:pt x="229" y="92"/>
                      <a:pt x="223" y="92"/>
                    </a:cubicBezTo>
                    <a:close/>
                    <a:moveTo>
                      <a:pt x="223" y="307"/>
                    </a:moveTo>
                    <a:cubicBezTo>
                      <a:pt x="216" y="307"/>
                      <a:pt x="210" y="313"/>
                      <a:pt x="210" y="320"/>
                    </a:cubicBezTo>
                    <a:cubicBezTo>
                      <a:pt x="210" y="326"/>
                      <a:pt x="216" y="332"/>
                      <a:pt x="223" y="332"/>
                    </a:cubicBezTo>
                    <a:cubicBezTo>
                      <a:pt x="229" y="332"/>
                      <a:pt x="235" y="326"/>
                      <a:pt x="235" y="320"/>
                    </a:cubicBezTo>
                    <a:cubicBezTo>
                      <a:pt x="235" y="313"/>
                      <a:pt x="229" y="307"/>
                      <a:pt x="223" y="307"/>
                    </a:cubicBezTo>
                    <a:close/>
                    <a:moveTo>
                      <a:pt x="223" y="61"/>
                    </a:moveTo>
                    <a:cubicBezTo>
                      <a:pt x="216" y="61"/>
                      <a:pt x="210" y="67"/>
                      <a:pt x="210" y="74"/>
                    </a:cubicBezTo>
                    <a:cubicBezTo>
                      <a:pt x="210" y="80"/>
                      <a:pt x="216" y="86"/>
                      <a:pt x="223" y="86"/>
                    </a:cubicBezTo>
                    <a:cubicBezTo>
                      <a:pt x="229" y="86"/>
                      <a:pt x="235" y="80"/>
                      <a:pt x="235" y="74"/>
                    </a:cubicBezTo>
                    <a:cubicBezTo>
                      <a:pt x="235" y="67"/>
                      <a:pt x="229" y="61"/>
                      <a:pt x="223" y="61"/>
                    </a:cubicBezTo>
                    <a:close/>
                    <a:moveTo>
                      <a:pt x="258" y="400"/>
                    </a:moveTo>
                    <a:cubicBezTo>
                      <a:pt x="251" y="400"/>
                      <a:pt x="246" y="405"/>
                      <a:pt x="246" y="412"/>
                    </a:cubicBezTo>
                    <a:cubicBezTo>
                      <a:pt x="246" y="419"/>
                      <a:pt x="251" y="424"/>
                      <a:pt x="258" y="424"/>
                    </a:cubicBezTo>
                    <a:cubicBezTo>
                      <a:pt x="264" y="424"/>
                      <a:pt x="270" y="419"/>
                      <a:pt x="270" y="412"/>
                    </a:cubicBezTo>
                    <a:cubicBezTo>
                      <a:pt x="270" y="405"/>
                      <a:pt x="264" y="400"/>
                      <a:pt x="258" y="400"/>
                    </a:cubicBezTo>
                    <a:close/>
                    <a:moveTo>
                      <a:pt x="118" y="154"/>
                    </a:moveTo>
                    <a:cubicBezTo>
                      <a:pt x="111" y="154"/>
                      <a:pt x="105" y="159"/>
                      <a:pt x="105" y="166"/>
                    </a:cubicBezTo>
                    <a:cubicBezTo>
                      <a:pt x="105" y="173"/>
                      <a:pt x="111" y="178"/>
                      <a:pt x="118" y="178"/>
                    </a:cubicBezTo>
                    <a:cubicBezTo>
                      <a:pt x="124" y="178"/>
                      <a:pt x="130" y="173"/>
                      <a:pt x="130" y="166"/>
                    </a:cubicBezTo>
                    <a:cubicBezTo>
                      <a:pt x="130" y="159"/>
                      <a:pt x="124" y="154"/>
                      <a:pt x="118" y="154"/>
                    </a:cubicBezTo>
                    <a:close/>
                    <a:moveTo>
                      <a:pt x="1204" y="553"/>
                    </a:moveTo>
                    <a:cubicBezTo>
                      <a:pt x="1197" y="553"/>
                      <a:pt x="1192" y="559"/>
                      <a:pt x="1192" y="566"/>
                    </a:cubicBezTo>
                    <a:cubicBezTo>
                      <a:pt x="1192" y="572"/>
                      <a:pt x="1197" y="578"/>
                      <a:pt x="1204" y="578"/>
                    </a:cubicBezTo>
                    <a:cubicBezTo>
                      <a:pt x="1211" y="578"/>
                      <a:pt x="1216" y="572"/>
                      <a:pt x="1216" y="566"/>
                    </a:cubicBezTo>
                    <a:cubicBezTo>
                      <a:pt x="1216" y="559"/>
                      <a:pt x="1211" y="553"/>
                      <a:pt x="1204" y="553"/>
                    </a:cubicBezTo>
                    <a:close/>
                    <a:moveTo>
                      <a:pt x="1204" y="338"/>
                    </a:moveTo>
                    <a:cubicBezTo>
                      <a:pt x="1197" y="338"/>
                      <a:pt x="1192" y="344"/>
                      <a:pt x="1192" y="350"/>
                    </a:cubicBezTo>
                    <a:cubicBezTo>
                      <a:pt x="1192" y="357"/>
                      <a:pt x="1197" y="363"/>
                      <a:pt x="1204" y="363"/>
                    </a:cubicBezTo>
                    <a:cubicBezTo>
                      <a:pt x="1211" y="363"/>
                      <a:pt x="1216" y="357"/>
                      <a:pt x="1216" y="350"/>
                    </a:cubicBezTo>
                    <a:cubicBezTo>
                      <a:pt x="1216" y="344"/>
                      <a:pt x="1211" y="338"/>
                      <a:pt x="1204" y="338"/>
                    </a:cubicBezTo>
                    <a:close/>
                    <a:moveTo>
                      <a:pt x="1204" y="369"/>
                    </a:moveTo>
                    <a:cubicBezTo>
                      <a:pt x="1197" y="369"/>
                      <a:pt x="1192" y="374"/>
                      <a:pt x="1192" y="381"/>
                    </a:cubicBezTo>
                    <a:cubicBezTo>
                      <a:pt x="1192" y="388"/>
                      <a:pt x="1197" y="393"/>
                      <a:pt x="1204" y="393"/>
                    </a:cubicBezTo>
                    <a:cubicBezTo>
                      <a:pt x="1211" y="393"/>
                      <a:pt x="1216" y="388"/>
                      <a:pt x="1216" y="381"/>
                    </a:cubicBezTo>
                    <a:cubicBezTo>
                      <a:pt x="1216" y="374"/>
                      <a:pt x="1211" y="369"/>
                      <a:pt x="1204" y="369"/>
                    </a:cubicBezTo>
                    <a:close/>
                    <a:moveTo>
                      <a:pt x="1204" y="461"/>
                    </a:moveTo>
                    <a:cubicBezTo>
                      <a:pt x="1197" y="461"/>
                      <a:pt x="1192" y="467"/>
                      <a:pt x="1192" y="473"/>
                    </a:cubicBezTo>
                    <a:cubicBezTo>
                      <a:pt x="1192" y="480"/>
                      <a:pt x="1197" y="485"/>
                      <a:pt x="1204" y="485"/>
                    </a:cubicBezTo>
                    <a:cubicBezTo>
                      <a:pt x="1211" y="485"/>
                      <a:pt x="1216" y="480"/>
                      <a:pt x="1216" y="473"/>
                    </a:cubicBezTo>
                    <a:cubicBezTo>
                      <a:pt x="1216" y="467"/>
                      <a:pt x="1211" y="461"/>
                      <a:pt x="1204" y="461"/>
                    </a:cubicBezTo>
                    <a:close/>
                    <a:moveTo>
                      <a:pt x="1204" y="523"/>
                    </a:moveTo>
                    <a:cubicBezTo>
                      <a:pt x="1197" y="523"/>
                      <a:pt x="1192" y="528"/>
                      <a:pt x="1192" y="535"/>
                    </a:cubicBezTo>
                    <a:cubicBezTo>
                      <a:pt x="1192" y="542"/>
                      <a:pt x="1197" y="547"/>
                      <a:pt x="1204" y="547"/>
                    </a:cubicBezTo>
                    <a:cubicBezTo>
                      <a:pt x="1211" y="547"/>
                      <a:pt x="1216" y="542"/>
                      <a:pt x="1216" y="535"/>
                    </a:cubicBezTo>
                    <a:cubicBezTo>
                      <a:pt x="1216" y="528"/>
                      <a:pt x="1211" y="523"/>
                      <a:pt x="1204" y="523"/>
                    </a:cubicBezTo>
                    <a:close/>
                    <a:moveTo>
                      <a:pt x="1134" y="307"/>
                    </a:moveTo>
                    <a:cubicBezTo>
                      <a:pt x="1127" y="307"/>
                      <a:pt x="1122" y="313"/>
                      <a:pt x="1122" y="320"/>
                    </a:cubicBezTo>
                    <a:cubicBezTo>
                      <a:pt x="1122" y="326"/>
                      <a:pt x="1127" y="332"/>
                      <a:pt x="1134" y="332"/>
                    </a:cubicBezTo>
                    <a:cubicBezTo>
                      <a:pt x="1140" y="332"/>
                      <a:pt x="1146" y="326"/>
                      <a:pt x="1146" y="320"/>
                    </a:cubicBezTo>
                    <a:cubicBezTo>
                      <a:pt x="1146" y="313"/>
                      <a:pt x="1140" y="307"/>
                      <a:pt x="1134" y="307"/>
                    </a:cubicBezTo>
                    <a:close/>
                    <a:moveTo>
                      <a:pt x="1204" y="400"/>
                    </a:moveTo>
                    <a:cubicBezTo>
                      <a:pt x="1197" y="400"/>
                      <a:pt x="1192" y="405"/>
                      <a:pt x="1192" y="412"/>
                    </a:cubicBezTo>
                    <a:cubicBezTo>
                      <a:pt x="1192" y="419"/>
                      <a:pt x="1197" y="424"/>
                      <a:pt x="1204" y="424"/>
                    </a:cubicBezTo>
                    <a:cubicBezTo>
                      <a:pt x="1211" y="424"/>
                      <a:pt x="1216" y="419"/>
                      <a:pt x="1216" y="412"/>
                    </a:cubicBezTo>
                    <a:cubicBezTo>
                      <a:pt x="1216" y="405"/>
                      <a:pt x="1211" y="400"/>
                      <a:pt x="1204" y="400"/>
                    </a:cubicBezTo>
                    <a:close/>
                    <a:moveTo>
                      <a:pt x="1204" y="307"/>
                    </a:moveTo>
                    <a:cubicBezTo>
                      <a:pt x="1197" y="307"/>
                      <a:pt x="1192" y="313"/>
                      <a:pt x="1192" y="320"/>
                    </a:cubicBezTo>
                    <a:cubicBezTo>
                      <a:pt x="1192" y="326"/>
                      <a:pt x="1197" y="332"/>
                      <a:pt x="1204" y="332"/>
                    </a:cubicBezTo>
                    <a:cubicBezTo>
                      <a:pt x="1211" y="332"/>
                      <a:pt x="1216" y="326"/>
                      <a:pt x="1216" y="320"/>
                    </a:cubicBezTo>
                    <a:cubicBezTo>
                      <a:pt x="1216" y="313"/>
                      <a:pt x="1211" y="307"/>
                      <a:pt x="1204" y="307"/>
                    </a:cubicBezTo>
                    <a:close/>
                    <a:moveTo>
                      <a:pt x="1239" y="553"/>
                    </a:moveTo>
                    <a:cubicBezTo>
                      <a:pt x="1232" y="553"/>
                      <a:pt x="1227" y="559"/>
                      <a:pt x="1227" y="566"/>
                    </a:cubicBezTo>
                    <a:cubicBezTo>
                      <a:pt x="1227" y="572"/>
                      <a:pt x="1232" y="578"/>
                      <a:pt x="1239" y="578"/>
                    </a:cubicBezTo>
                    <a:cubicBezTo>
                      <a:pt x="1246" y="578"/>
                      <a:pt x="1251" y="572"/>
                      <a:pt x="1251" y="566"/>
                    </a:cubicBezTo>
                    <a:cubicBezTo>
                      <a:pt x="1251" y="559"/>
                      <a:pt x="1246" y="553"/>
                      <a:pt x="1239" y="553"/>
                    </a:cubicBezTo>
                    <a:close/>
                    <a:moveTo>
                      <a:pt x="1239" y="492"/>
                    </a:moveTo>
                    <a:cubicBezTo>
                      <a:pt x="1232" y="492"/>
                      <a:pt x="1227" y="497"/>
                      <a:pt x="1227" y="504"/>
                    </a:cubicBezTo>
                    <a:cubicBezTo>
                      <a:pt x="1227" y="511"/>
                      <a:pt x="1232" y="516"/>
                      <a:pt x="1239" y="516"/>
                    </a:cubicBezTo>
                    <a:cubicBezTo>
                      <a:pt x="1246" y="516"/>
                      <a:pt x="1251" y="511"/>
                      <a:pt x="1251" y="504"/>
                    </a:cubicBezTo>
                    <a:cubicBezTo>
                      <a:pt x="1251" y="497"/>
                      <a:pt x="1246" y="492"/>
                      <a:pt x="1239" y="492"/>
                    </a:cubicBezTo>
                    <a:close/>
                    <a:moveTo>
                      <a:pt x="1239" y="584"/>
                    </a:moveTo>
                    <a:cubicBezTo>
                      <a:pt x="1232" y="584"/>
                      <a:pt x="1227" y="590"/>
                      <a:pt x="1227" y="596"/>
                    </a:cubicBezTo>
                    <a:cubicBezTo>
                      <a:pt x="1227" y="603"/>
                      <a:pt x="1232" y="608"/>
                      <a:pt x="1239" y="608"/>
                    </a:cubicBezTo>
                    <a:cubicBezTo>
                      <a:pt x="1246" y="608"/>
                      <a:pt x="1251" y="603"/>
                      <a:pt x="1251" y="596"/>
                    </a:cubicBezTo>
                    <a:cubicBezTo>
                      <a:pt x="1251" y="590"/>
                      <a:pt x="1246" y="584"/>
                      <a:pt x="1239" y="584"/>
                    </a:cubicBezTo>
                    <a:close/>
                    <a:moveTo>
                      <a:pt x="1239" y="615"/>
                    </a:moveTo>
                    <a:cubicBezTo>
                      <a:pt x="1232" y="615"/>
                      <a:pt x="1227" y="620"/>
                      <a:pt x="1227" y="627"/>
                    </a:cubicBezTo>
                    <a:cubicBezTo>
                      <a:pt x="1227" y="634"/>
                      <a:pt x="1232" y="639"/>
                      <a:pt x="1239" y="639"/>
                    </a:cubicBezTo>
                    <a:cubicBezTo>
                      <a:pt x="1246" y="639"/>
                      <a:pt x="1251" y="634"/>
                      <a:pt x="1251" y="627"/>
                    </a:cubicBezTo>
                    <a:cubicBezTo>
                      <a:pt x="1251" y="620"/>
                      <a:pt x="1246" y="615"/>
                      <a:pt x="1239" y="615"/>
                    </a:cubicBezTo>
                    <a:close/>
                    <a:moveTo>
                      <a:pt x="1204" y="277"/>
                    </a:moveTo>
                    <a:cubicBezTo>
                      <a:pt x="1197" y="277"/>
                      <a:pt x="1192" y="282"/>
                      <a:pt x="1192" y="289"/>
                    </a:cubicBezTo>
                    <a:cubicBezTo>
                      <a:pt x="1192" y="296"/>
                      <a:pt x="1197" y="301"/>
                      <a:pt x="1204" y="301"/>
                    </a:cubicBezTo>
                    <a:cubicBezTo>
                      <a:pt x="1211" y="301"/>
                      <a:pt x="1216" y="296"/>
                      <a:pt x="1216" y="289"/>
                    </a:cubicBezTo>
                    <a:cubicBezTo>
                      <a:pt x="1216" y="282"/>
                      <a:pt x="1211" y="277"/>
                      <a:pt x="1204" y="277"/>
                    </a:cubicBezTo>
                    <a:close/>
                    <a:moveTo>
                      <a:pt x="1239" y="523"/>
                    </a:moveTo>
                    <a:cubicBezTo>
                      <a:pt x="1232" y="523"/>
                      <a:pt x="1227" y="528"/>
                      <a:pt x="1227" y="535"/>
                    </a:cubicBezTo>
                    <a:cubicBezTo>
                      <a:pt x="1227" y="542"/>
                      <a:pt x="1232" y="547"/>
                      <a:pt x="1239" y="547"/>
                    </a:cubicBezTo>
                    <a:cubicBezTo>
                      <a:pt x="1246" y="547"/>
                      <a:pt x="1251" y="542"/>
                      <a:pt x="1251" y="535"/>
                    </a:cubicBezTo>
                    <a:cubicBezTo>
                      <a:pt x="1251" y="528"/>
                      <a:pt x="1246" y="523"/>
                      <a:pt x="1239" y="523"/>
                    </a:cubicBezTo>
                    <a:close/>
                    <a:moveTo>
                      <a:pt x="1169" y="553"/>
                    </a:moveTo>
                    <a:cubicBezTo>
                      <a:pt x="1162" y="553"/>
                      <a:pt x="1157" y="559"/>
                      <a:pt x="1157" y="566"/>
                    </a:cubicBezTo>
                    <a:cubicBezTo>
                      <a:pt x="1157" y="572"/>
                      <a:pt x="1162" y="578"/>
                      <a:pt x="1169" y="578"/>
                    </a:cubicBezTo>
                    <a:cubicBezTo>
                      <a:pt x="1175" y="578"/>
                      <a:pt x="1181" y="572"/>
                      <a:pt x="1181" y="566"/>
                    </a:cubicBezTo>
                    <a:cubicBezTo>
                      <a:pt x="1181" y="559"/>
                      <a:pt x="1175" y="553"/>
                      <a:pt x="1169" y="553"/>
                    </a:cubicBezTo>
                    <a:close/>
                    <a:moveTo>
                      <a:pt x="1169" y="461"/>
                    </a:moveTo>
                    <a:cubicBezTo>
                      <a:pt x="1162" y="461"/>
                      <a:pt x="1157" y="467"/>
                      <a:pt x="1157" y="473"/>
                    </a:cubicBezTo>
                    <a:cubicBezTo>
                      <a:pt x="1157" y="480"/>
                      <a:pt x="1162" y="485"/>
                      <a:pt x="1169" y="485"/>
                    </a:cubicBezTo>
                    <a:cubicBezTo>
                      <a:pt x="1175" y="485"/>
                      <a:pt x="1181" y="480"/>
                      <a:pt x="1181" y="473"/>
                    </a:cubicBezTo>
                    <a:cubicBezTo>
                      <a:pt x="1181" y="467"/>
                      <a:pt x="1175" y="461"/>
                      <a:pt x="1169" y="461"/>
                    </a:cubicBezTo>
                    <a:close/>
                    <a:moveTo>
                      <a:pt x="1169" y="492"/>
                    </a:moveTo>
                    <a:cubicBezTo>
                      <a:pt x="1162" y="492"/>
                      <a:pt x="1157" y="497"/>
                      <a:pt x="1157" y="504"/>
                    </a:cubicBezTo>
                    <a:cubicBezTo>
                      <a:pt x="1157" y="511"/>
                      <a:pt x="1162" y="516"/>
                      <a:pt x="1169" y="516"/>
                    </a:cubicBezTo>
                    <a:cubicBezTo>
                      <a:pt x="1175" y="516"/>
                      <a:pt x="1181" y="511"/>
                      <a:pt x="1181" y="504"/>
                    </a:cubicBezTo>
                    <a:cubicBezTo>
                      <a:pt x="1181" y="497"/>
                      <a:pt x="1175" y="492"/>
                      <a:pt x="1169" y="492"/>
                    </a:cubicBezTo>
                    <a:close/>
                    <a:moveTo>
                      <a:pt x="1169" y="523"/>
                    </a:moveTo>
                    <a:cubicBezTo>
                      <a:pt x="1162" y="523"/>
                      <a:pt x="1157" y="528"/>
                      <a:pt x="1157" y="535"/>
                    </a:cubicBezTo>
                    <a:cubicBezTo>
                      <a:pt x="1157" y="542"/>
                      <a:pt x="1162" y="547"/>
                      <a:pt x="1169" y="547"/>
                    </a:cubicBezTo>
                    <a:cubicBezTo>
                      <a:pt x="1175" y="547"/>
                      <a:pt x="1181" y="542"/>
                      <a:pt x="1181" y="535"/>
                    </a:cubicBezTo>
                    <a:cubicBezTo>
                      <a:pt x="1181" y="528"/>
                      <a:pt x="1175" y="523"/>
                      <a:pt x="1169" y="523"/>
                    </a:cubicBezTo>
                    <a:close/>
                    <a:moveTo>
                      <a:pt x="1169" y="584"/>
                    </a:moveTo>
                    <a:cubicBezTo>
                      <a:pt x="1162" y="584"/>
                      <a:pt x="1157" y="590"/>
                      <a:pt x="1157" y="596"/>
                    </a:cubicBezTo>
                    <a:cubicBezTo>
                      <a:pt x="1157" y="603"/>
                      <a:pt x="1162" y="608"/>
                      <a:pt x="1169" y="608"/>
                    </a:cubicBezTo>
                    <a:cubicBezTo>
                      <a:pt x="1175" y="608"/>
                      <a:pt x="1181" y="603"/>
                      <a:pt x="1181" y="596"/>
                    </a:cubicBezTo>
                    <a:cubicBezTo>
                      <a:pt x="1181" y="590"/>
                      <a:pt x="1175" y="584"/>
                      <a:pt x="1169" y="584"/>
                    </a:cubicBezTo>
                    <a:close/>
                    <a:moveTo>
                      <a:pt x="1169" y="615"/>
                    </a:moveTo>
                    <a:cubicBezTo>
                      <a:pt x="1162" y="615"/>
                      <a:pt x="1157" y="620"/>
                      <a:pt x="1157" y="627"/>
                    </a:cubicBezTo>
                    <a:cubicBezTo>
                      <a:pt x="1157" y="634"/>
                      <a:pt x="1162" y="639"/>
                      <a:pt x="1169" y="639"/>
                    </a:cubicBezTo>
                    <a:cubicBezTo>
                      <a:pt x="1175" y="639"/>
                      <a:pt x="1181" y="634"/>
                      <a:pt x="1181" y="627"/>
                    </a:cubicBezTo>
                    <a:cubicBezTo>
                      <a:pt x="1181" y="620"/>
                      <a:pt x="1175" y="615"/>
                      <a:pt x="1169" y="615"/>
                    </a:cubicBezTo>
                    <a:close/>
                    <a:moveTo>
                      <a:pt x="1169" y="338"/>
                    </a:moveTo>
                    <a:cubicBezTo>
                      <a:pt x="1162" y="338"/>
                      <a:pt x="1157" y="344"/>
                      <a:pt x="1157" y="350"/>
                    </a:cubicBezTo>
                    <a:cubicBezTo>
                      <a:pt x="1157" y="357"/>
                      <a:pt x="1162" y="363"/>
                      <a:pt x="1169" y="363"/>
                    </a:cubicBezTo>
                    <a:cubicBezTo>
                      <a:pt x="1175" y="363"/>
                      <a:pt x="1181" y="357"/>
                      <a:pt x="1181" y="350"/>
                    </a:cubicBezTo>
                    <a:cubicBezTo>
                      <a:pt x="1181" y="344"/>
                      <a:pt x="1175" y="338"/>
                      <a:pt x="1169" y="338"/>
                    </a:cubicBezTo>
                    <a:close/>
                    <a:moveTo>
                      <a:pt x="1169" y="307"/>
                    </a:moveTo>
                    <a:cubicBezTo>
                      <a:pt x="1162" y="307"/>
                      <a:pt x="1157" y="313"/>
                      <a:pt x="1157" y="320"/>
                    </a:cubicBezTo>
                    <a:cubicBezTo>
                      <a:pt x="1157" y="326"/>
                      <a:pt x="1162" y="332"/>
                      <a:pt x="1169" y="332"/>
                    </a:cubicBezTo>
                    <a:cubicBezTo>
                      <a:pt x="1175" y="332"/>
                      <a:pt x="1181" y="326"/>
                      <a:pt x="1181" y="320"/>
                    </a:cubicBezTo>
                    <a:cubicBezTo>
                      <a:pt x="1181" y="313"/>
                      <a:pt x="1175" y="307"/>
                      <a:pt x="1169" y="307"/>
                    </a:cubicBezTo>
                    <a:close/>
                    <a:moveTo>
                      <a:pt x="1169" y="277"/>
                    </a:moveTo>
                    <a:cubicBezTo>
                      <a:pt x="1162" y="277"/>
                      <a:pt x="1157" y="282"/>
                      <a:pt x="1157" y="289"/>
                    </a:cubicBezTo>
                    <a:cubicBezTo>
                      <a:pt x="1157" y="296"/>
                      <a:pt x="1162" y="301"/>
                      <a:pt x="1169" y="301"/>
                    </a:cubicBezTo>
                    <a:cubicBezTo>
                      <a:pt x="1175" y="301"/>
                      <a:pt x="1181" y="296"/>
                      <a:pt x="1181" y="289"/>
                    </a:cubicBezTo>
                    <a:cubicBezTo>
                      <a:pt x="1181" y="282"/>
                      <a:pt x="1175" y="277"/>
                      <a:pt x="1169" y="277"/>
                    </a:cubicBezTo>
                    <a:close/>
                    <a:moveTo>
                      <a:pt x="1169" y="369"/>
                    </a:moveTo>
                    <a:cubicBezTo>
                      <a:pt x="1162" y="369"/>
                      <a:pt x="1157" y="374"/>
                      <a:pt x="1157" y="381"/>
                    </a:cubicBezTo>
                    <a:cubicBezTo>
                      <a:pt x="1157" y="388"/>
                      <a:pt x="1162" y="393"/>
                      <a:pt x="1169" y="393"/>
                    </a:cubicBezTo>
                    <a:cubicBezTo>
                      <a:pt x="1175" y="393"/>
                      <a:pt x="1181" y="388"/>
                      <a:pt x="1181" y="381"/>
                    </a:cubicBezTo>
                    <a:cubicBezTo>
                      <a:pt x="1181" y="374"/>
                      <a:pt x="1175" y="369"/>
                      <a:pt x="1169" y="369"/>
                    </a:cubicBezTo>
                    <a:close/>
                    <a:moveTo>
                      <a:pt x="1169" y="400"/>
                    </a:moveTo>
                    <a:cubicBezTo>
                      <a:pt x="1162" y="400"/>
                      <a:pt x="1157" y="405"/>
                      <a:pt x="1157" y="412"/>
                    </a:cubicBezTo>
                    <a:cubicBezTo>
                      <a:pt x="1157" y="419"/>
                      <a:pt x="1162" y="424"/>
                      <a:pt x="1169" y="424"/>
                    </a:cubicBezTo>
                    <a:cubicBezTo>
                      <a:pt x="1175" y="424"/>
                      <a:pt x="1181" y="419"/>
                      <a:pt x="1181" y="412"/>
                    </a:cubicBezTo>
                    <a:cubicBezTo>
                      <a:pt x="1181" y="405"/>
                      <a:pt x="1175" y="400"/>
                      <a:pt x="1169" y="400"/>
                    </a:cubicBezTo>
                    <a:close/>
                    <a:moveTo>
                      <a:pt x="1204" y="584"/>
                    </a:moveTo>
                    <a:cubicBezTo>
                      <a:pt x="1197" y="584"/>
                      <a:pt x="1192" y="590"/>
                      <a:pt x="1192" y="596"/>
                    </a:cubicBezTo>
                    <a:cubicBezTo>
                      <a:pt x="1192" y="603"/>
                      <a:pt x="1197" y="608"/>
                      <a:pt x="1204" y="608"/>
                    </a:cubicBezTo>
                    <a:cubicBezTo>
                      <a:pt x="1211" y="608"/>
                      <a:pt x="1216" y="603"/>
                      <a:pt x="1216" y="596"/>
                    </a:cubicBezTo>
                    <a:cubicBezTo>
                      <a:pt x="1216" y="590"/>
                      <a:pt x="1211" y="584"/>
                      <a:pt x="1204" y="584"/>
                    </a:cubicBezTo>
                    <a:close/>
                    <a:moveTo>
                      <a:pt x="1204" y="492"/>
                    </a:moveTo>
                    <a:cubicBezTo>
                      <a:pt x="1197" y="492"/>
                      <a:pt x="1192" y="497"/>
                      <a:pt x="1192" y="504"/>
                    </a:cubicBezTo>
                    <a:cubicBezTo>
                      <a:pt x="1192" y="511"/>
                      <a:pt x="1197" y="516"/>
                      <a:pt x="1204" y="516"/>
                    </a:cubicBezTo>
                    <a:cubicBezTo>
                      <a:pt x="1211" y="516"/>
                      <a:pt x="1216" y="511"/>
                      <a:pt x="1216" y="504"/>
                    </a:cubicBezTo>
                    <a:cubicBezTo>
                      <a:pt x="1216" y="497"/>
                      <a:pt x="1211" y="492"/>
                      <a:pt x="1204" y="492"/>
                    </a:cubicBezTo>
                    <a:close/>
                    <a:moveTo>
                      <a:pt x="1274" y="338"/>
                    </a:moveTo>
                    <a:cubicBezTo>
                      <a:pt x="1267" y="338"/>
                      <a:pt x="1262" y="344"/>
                      <a:pt x="1262" y="350"/>
                    </a:cubicBezTo>
                    <a:cubicBezTo>
                      <a:pt x="1262" y="357"/>
                      <a:pt x="1267" y="363"/>
                      <a:pt x="1274" y="363"/>
                    </a:cubicBezTo>
                    <a:cubicBezTo>
                      <a:pt x="1281" y="363"/>
                      <a:pt x="1286" y="357"/>
                      <a:pt x="1286" y="350"/>
                    </a:cubicBezTo>
                    <a:cubicBezTo>
                      <a:pt x="1286" y="344"/>
                      <a:pt x="1281" y="338"/>
                      <a:pt x="1274" y="338"/>
                    </a:cubicBezTo>
                    <a:close/>
                    <a:moveTo>
                      <a:pt x="1274" y="307"/>
                    </a:moveTo>
                    <a:cubicBezTo>
                      <a:pt x="1267" y="307"/>
                      <a:pt x="1262" y="313"/>
                      <a:pt x="1262" y="320"/>
                    </a:cubicBezTo>
                    <a:cubicBezTo>
                      <a:pt x="1262" y="326"/>
                      <a:pt x="1267" y="332"/>
                      <a:pt x="1274" y="332"/>
                    </a:cubicBezTo>
                    <a:cubicBezTo>
                      <a:pt x="1281" y="332"/>
                      <a:pt x="1286" y="326"/>
                      <a:pt x="1286" y="320"/>
                    </a:cubicBezTo>
                    <a:cubicBezTo>
                      <a:pt x="1286" y="313"/>
                      <a:pt x="1281" y="307"/>
                      <a:pt x="1274" y="307"/>
                    </a:cubicBezTo>
                    <a:close/>
                    <a:moveTo>
                      <a:pt x="1309" y="615"/>
                    </a:moveTo>
                    <a:cubicBezTo>
                      <a:pt x="1302" y="615"/>
                      <a:pt x="1297" y="620"/>
                      <a:pt x="1297" y="627"/>
                    </a:cubicBezTo>
                    <a:cubicBezTo>
                      <a:pt x="1297" y="634"/>
                      <a:pt x="1302" y="639"/>
                      <a:pt x="1309" y="639"/>
                    </a:cubicBezTo>
                    <a:cubicBezTo>
                      <a:pt x="1316" y="639"/>
                      <a:pt x="1321" y="634"/>
                      <a:pt x="1321" y="627"/>
                    </a:cubicBezTo>
                    <a:cubicBezTo>
                      <a:pt x="1321" y="620"/>
                      <a:pt x="1316" y="615"/>
                      <a:pt x="1309" y="615"/>
                    </a:cubicBezTo>
                    <a:close/>
                    <a:moveTo>
                      <a:pt x="1274" y="369"/>
                    </a:moveTo>
                    <a:cubicBezTo>
                      <a:pt x="1267" y="369"/>
                      <a:pt x="1262" y="374"/>
                      <a:pt x="1262" y="381"/>
                    </a:cubicBezTo>
                    <a:cubicBezTo>
                      <a:pt x="1262" y="388"/>
                      <a:pt x="1267" y="393"/>
                      <a:pt x="1274" y="393"/>
                    </a:cubicBezTo>
                    <a:cubicBezTo>
                      <a:pt x="1281" y="393"/>
                      <a:pt x="1286" y="388"/>
                      <a:pt x="1286" y="381"/>
                    </a:cubicBezTo>
                    <a:cubicBezTo>
                      <a:pt x="1286" y="374"/>
                      <a:pt x="1281" y="369"/>
                      <a:pt x="1274" y="369"/>
                    </a:cubicBezTo>
                    <a:close/>
                    <a:moveTo>
                      <a:pt x="1274" y="400"/>
                    </a:moveTo>
                    <a:cubicBezTo>
                      <a:pt x="1267" y="400"/>
                      <a:pt x="1262" y="405"/>
                      <a:pt x="1262" y="412"/>
                    </a:cubicBezTo>
                    <a:cubicBezTo>
                      <a:pt x="1262" y="419"/>
                      <a:pt x="1267" y="424"/>
                      <a:pt x="1274" y="424"/>
                    </a:cubicBezTo>
                    <a:cubicBezTo>
                      <a:pt x="1281" y="424"/>
                      <a:pt x="1286" y="419"/>
                      <a:pt x="1286" y="412"/>
                    </a:cubicBezTo>
                    <a:cubicBezTo>
                      <a:pt x="1286" y="405"/>
                      <a:pt x="1281" y="400"/>
                      <a:pt x="1274" y="400"/>
                    </a:cubicBezTo>
                    <a:close/>
                    <a:moveTo>
                      <a:pt x="1274" y="430"/>
                    </a:moveTo>
                    <a:cubicBezTo>
                      <a:pt x="1267" y="430"/>
                      <a:pt x="1262" y="436"/>
                      <a:pt x="1262" y="443"/>
                    </a:cubicBezTo>
                    <a:cubicBezTo>
                      <a:pt x="1262" y="449"/>
                      <a:pt x="1267" y="455"/>
                      <a:pt x="1274" y="455"/>
                    </a:cubicBezTo>
                    <a:cubicBezTo>
                      <a:pt x="1281" y="455"/>
                      <a:pt x="1286" y="449"/>
                      <a:pt x="1286" y="443"/>
                    </a:cubicBezTo>
                    <a:cubicBezTo>
                      <a:pt x="1286" y="436"/>
                      <a:pt x="1281" y="430"/>
                      <a:pt x="1274" y="430"/>
                    </a:cubicBezTo>
                    <a:close/>
                    <a:moveTo>
                      <a:pt x="1239" y="461"/>
                    </a:moveTo>
                    <a:cubicBezTo>
                      <a:pt x="1232" y="461"/>
                      <a:pt x="1227" y="467"/>
                      <a:pt x="1227" y="473"/>
                    </a:cubicBezTo>
                    <a:cubicBezTo>
                      <a:pt x="1227" y="480"/>
                      <a:pt x="1232" y="485"/>
                      <a:pt x="1239" y="485"/>
                    </a:cubicBezTo>
                    <a:cubicBezTo>
                      <a:pt x="1246" y="485"/>
                      <a:pt x="1251" y="480"/>
                      <a:pt x="1251" y="473"/>
                    </a:cubicBezTo>
                    <a:cubicBezTo>
                      <a:pt x="1251" y="467"/>
                      <a:pt x="1246" y="461"/>
                      <a:pt x="1239" y="461"/>
                    </a:cubicBezTo>
                    <a:close/>
                    <a:moveTo>
                      <a:pt x="1309" y="492"/>
                    </a:moveTo>
                    <a:cubicBezTo>
                      <a:pt x="1302" y="492"/>
                      <a:pt x="1297" y="497"/>
                      <a:pt x="1297" y="504"/>
                    </a:cubicBezTo>
                    <a:cubicBezTo>
                      <a:pt x="1297" y="511"/>
                      <a:pt x="1302" y="516"/>
                      <a:pt x="1309" y="516"/>
                    </a:cubicBezTo>
                    <a:cubicBezTo>
                      <a:pt x="1316" y="516"/>
                      <a:pt x="1321" y="511"/>
                      <a:pt x="1321" y="504"/>
                    </a:cubicBezTo>
                    <a:cubicBezTo>
                      <a:pt x="1321" y="497"/>
                      <a:pt x="1316" y="492"/>
                      <a:pt x="1309" y="492"/>
                    </a:cubicBezTo>
                    <a:close/>
                    <a:moveTo>
                      <a:pt x="1309" y="461"/>
                    </a:moveTo>
                    <a:cubicBezTo>
                      <a:pt x="1302" y="461"/>
                      <a:pt x="1297" y="467"/>
                      <a:pt x="1297" y="473"/>
                    </a:cubicBezTo>
                    <a:cubicBezTo>
                      <a:pt x="1297" y="480"/>
                      <a:pt x="1302" y="485"/>
                      <a:pt x="1309" y="485"/>
                    </a:cubicBezTo>
                    <a:cubicBezTo>
                      <a:pt x="1316" y="485"/>
                      <a:pt x="1321" y="480"/>
                      <a:pt x="1321" y="473"/>
                    </a:cubicBezTo>
                    <a:cubicBezTo>
                      <a:pt x="1321" y="467"/>
                      <a:pt x="1316" y="461"/>
                      <a:pt x="1309" y="461"/>
                    </a:cubicBezTo>
                    <a:close/>
                    <a:moveTo>
                      <a:pt x="1274" y="461"/>
                    </a:moveTo>
                    <a:cubicBezTo>
                      <a:pt x="1267" y="461"/>
                      <a:pt x="1262" y="467"/>
                      <a:pt x="1262" y="473"/>
                    </a:cubicBezTo>
                    <a:cubicBezTo>
                      <a:pt x="1262" y="480"/>
                      <a:pt x="1267" y="485"/>
                      <a:pt x="1274" y="485"/>
                    </a:cubicBezTo>
                    <a:cubicBezTo>
                      <a:pt x="1281" y="485"/>
                      <a:pt x="1286" y="480"/>
                      <a:pt x="1286" y="473"/>
                    </a:cubicBezTo>
                    <a:cubicBezTo>
                      <a:pt x="1286" y="467"/>
                      <a:pt x="1281" y="461"/>
                      <a:pt x="1274" y="461"/>
                    </a:cubicBezTo>
                    <a:close/>
                    <a:moveTo>
                      <a:pt x="1309" y="523"/>
                    </a:moveTo>
                    <a:cubicBezTo>
                      <a:pt x="1302" y="523"/>
                      <a:pt x="1297" y="528"/>
                      <a:pt x="1297" y="535"/>
                    </a:cubicBezTo>
                    <a:cubicBezTo>
                      <a:pt x="1297" y="542"/>
                      <a:pt x="1302" y="547"/>
                      <a:pt x="1309" y="547"/>
                    </a:cubicBezTo>
                    <a:cubicBezTo>
                      <a:pt x="1316" y="547"/>
                      <a:pt x="1321" y="542"/>
                      <a:pt x="1321" y="535"/>
                    </a:cubicBezTo>
                    <a:cubicBezTo>
                      <a:pt x="1321" y="528"/>
                      <a:pt x="1316" y="523"/>
                      <a:pt x="1309" y="523"/>
                    </a:cubicBezTo>
                    <a:close/>
                    <a:moveTo>
                      <a:pt x="1309" y="584"/>
                    </a:moveTo>
                    <a:cubicBezTo>
                      <a:pt x="1302" y="584"/>
                      <a:pt x="1297" y="590"/>
                      <a:pt x="1297" y="596"/>
                    </a:cubicBezTo>
                    <a:cubicBezTo>
                      <a:pt x="1297" y="603"/>
                      <a:pt x="1302" y="608"/>
                      <a:pt x="1309" y="608"/>
                    </a:cubicBezTo>
                    <a:cubicBezTo>
                      <a:pt x="1316" y="608"/>
                      <a:pt x="1321" y="603"/>
                      <a:pt x="1321" y="596"/>
                    </a:cubicBezTo>
                    <a:cubicBezTo>
                      <a:pt x="1321" y="590"/>
                      <a:pt x="1316" y="584"/>
                      <a:pt x="1309" y="584"/>
                    </a:cubicBezTo>
                    <a:close/>
                    <a:moveTo>
                      <a:pt x="1309" y="553"/>
                    </a:moveTo>
                    <a:cubicBezTo>
                      <a:pt x="1302" y="553"/>
                      <a:pt x="1297" y="559"/>
                      <a:pt x="1297" y="566"/>
                    </a:cubicBezTo>
                    <a:cubicBezTo>
                      <a:pt x="1297" y="572"/>
                      <a:pt x="1302" y="578"/>
                      <a:pt x="1309" y="578"/>
                    </a:cubicBezTo>
                    <a:cubicBezTo>
                      <a:pt x="1316" y="578"/>
                      <a:pt x="1321" y="572"/>
                      <a:pt x="1321" y="566"/>
                    </a:cubicBezTo>
                    <a:cubicBezTo>
                      <a:pt x="1321" y="559"/>
                      <a:pt x="1316" y="553"/>
                      <a:pt x="1309" y="553"/>
                    </a:cubicBezTo>
                    <a:close/>
                    <a:moveTo>
                      <a:pt x="1309" y="430"/>
                    </a:moveTo>
                    <a:cubicBezTo>
                      <a:pt x="1302" y="430"/>
                      <a:pt x="1297" y="436"/>
                      <a:pt x="1297" y="443"/>
                    </a:cubicBezTo>
                    <a:cubicBezTo>
                      <a:pt x="1297" y="449"/>
                      <a:pt x="1302" y="455"/>
                      <a:pt x="1309" y="455"/>
                    </a:cubicBezTo>
                    <a:cubicBezTo>
                      <a:pt x="1316" y="455"/>
                      <a:pt x="1321" y="449"/>
                      <a:pt x="1321" y="443"/>
                    </a:cubicBezTo>
                    <a:cubicBezTo>
                      <a:pt x="1321" y="436"/>
                      <a:pt x="1316" y="430"/>
                      <a:pt x="1309" y="430"/>
                    </a:cubicBezTo>
                    <a:close/>
                    <a:moveTo>
                      <a:pt x="1239" y="338"/>
                    </a:moveTo>
                    <a:cubicBezTo>
                      <a:pt x="1232" y="338"/>
                      <a:pt x="1227" y="344"/>
                      <a:pt x="1227" y="350"/>
                    </a:cubicBezTo>
                    <a:cubicBezTo>
                      <a:pt x="1227" y="357"/>
                      <a:pt x="1232" y="363"/>
                      <a:pt x="1239" y="363"/>
                    </a:cubicBezTo>
                    <a:cubicBezTo>
                      <a:pt x="1246" y="363"/>
                      <a:pt x="1251" y="357"/>
                      <a:pt x="1251" y="350"/>
                    </a:cubicBezTo>
                    <a:cubicBezTo>
                      <a:pt x="1251" y="344"/>
                      <a:pt x="1246" y="338"/>
                      <a:pt x="1239" y="338"/>
                    </a:cubicBezTo>
                    <a:close/>
                    <a:moveTo>
                      <a:pt x="1239" y="277"/>
                    </a:moveTo>
                    <a:cubicBezTo>
                      <a:pt x="1232" y="277"/>
                      <a:pt x="1227" y="282"/>
                      <a:pt x="1227" y="289"/>
                    </a:cubicBezTo>
                    <a:cubicBezTo>
                      <a:pt x="1227" y="296"/>
                      <a:pt x="1232" y="301"/>
                      <a:pt x="1239" y="301"/>
                    </a:cubicBezTo>
                    <a:cubicBezTo>
                      <a:pt x="1246" y="301"/>
                      <a:pt x="1251" y="296"/>
                      <a:pt x="1251" y="289"/>
                    </a:cubicBezTo>
                    <a:cubicBezTo>
                      <a:pt x="1251" y="282"/>
                      <a:pt x="1246" y="277"/>
                      <a:pt x="1239" y="277"/>
                    </a:cubicBezTo>
                    <a:close/>
                    <a:moveTo>
                      <a:pt x="1239" y="369"/>
                    </a:moveTo>
                    <a:cubicBezTo>
                      <a:pt x="1232" y="369"/>
                      <a:pt x="1227" y="374"/>
                      <a:pt x="1227" y="381"/>
                    </a:cubicBezTo>
                    <a:cubicBezTo>
                      <a:pt x="1227" y="388"/>
                      <a:pt x="1232" y="393"/>
                      <a:pt x="1239" y="393"/>
                    </a:cubicBezTo>
                    <a:cubicBezTo>
                      <a:pt x="1246" y="393"/>
                      <a:pt x="1251" y="388"/>
                      <a:pt x="1251" y="381"/>
                    </a:cubicBezTo>
                    <a:cubicBezTo>
                      <a:pt x="1251" y="374"/>
                      <a:pt x="1246" y="369"/>
                      <a:pt x="1239" y="369"/>
                    </a:cubicBezTo>
                    <a:close/>
                    <a:moveTo>
                      <a:pt x="1239" y="307"/>
                    </a:moveTo>
                    <a:cubicBezTo>
                      <a:pt x="1232" y="307"/>
                      <a:pt x="1227" y="313"/>
                      <a:pt x="1227" y="320"/>
                    </a:cubicBezTo>
                    <a:cubicBezTo>
                      <a:pt x="1227" y="326"/>
                      <a:pt x="1232" y="332"/>
                      <a:pt x="1239" y="332"/>
                    </a:cubicBezTo>
                    <a:cubicBezTo>
                      <a:pt x="1246" y="332"/>
                      <a:pt x="1251" y="326"/>
                      <a:pt x="1251" y="320"/>
                    </a:cubicBezTo>
                    <a:cubicBezTo>
                      <a:pt x="1251" y="313"/>
                      <a:pt x="1246" y="307"/>
                      <a:pt x="1239" y="307"/>
                    </a:cubicBezTo>
                    <a:close/>
                    <a:moveTo>
                      <a:pt x="1239" y="400"/>
                    </a:moveTo>
                    <a:cubicBezTo>
                      <a:pt x="1232" y="400"/>
                      <a:pt x="1227" y="405"/>
                      <a:pt x="1227" y="412"/>
                    </a:cubicBezTo>
                    <a:cubicBezTo>
                      <a:pt x="1227" y="419"/>
                      <a:pt x="1232" y="424"/>
                      <a:pt x="1239" y="424"/>
                    </a:cubicBezTo>
                    <a:cubicBezTo>
                      <a:pt x="1246" y="424"/>
                      <a:pt x="1251" y="419"/>
                      <a:pt x="1251" y="412"/>
                    </a:cubicBezTo>
                    <a:cubicBezTo>
                      <a:pt x="1251" y="405"/>
                      <a:pt x="1246" y="400"/>
                      <a:pt x="1239" y="400"/>
                    </a:cubicBezTo>
                    <a:close/>
                    <a:moveTo>
                      <a:pt x="1239" y="430"/>
                    </a:moveTo>
                    <a:cubicBezTo>
                      <a:pt x="1232" y="430"/>
                      <a:pt x="1227" y="436"/>
                      <a:pt x="1227" y="443"/>
                    </a:cubicBezTo>
                    <a:cubicBezTo>
                      <a:pt x="1227" y="449"/>
                      <a:pt x="1232" y="455"/>
                      <a:pt x="1239" y="455"/>
                    </a:cubicBezTo>
                    <a:cubicBezTo>
                      <a:pt x="1246" y="455"/>
                      <a:pt x="1251" y="449"/>
                      <a:pt x="1251" y="443"/>
                    </a:cubicBezTo>
                    <a:cubicBezTo>
                      <a:pt x="1251" y="436"/>
                      <a:pt x="1246" y="430"/>
                      <a:pt x="1239" y="430"/>
                    </a:cubicBezTo>
                    <a:close/>
                    <a:moveTo>
                      <a:pt x="1274" y="553"/>
                    </a:moveTo>
                    <a:cubicBezTo>
                      <a:pt x="1267" y="553"/>
                      <a:pt x="1262" y="559"/>
                      <a:pt x="1262" y="566"/>
                    </a:cubicBezTo>
                    <a:cubicBezTo>
                      <a:pt x="1262" y="572"/>
                      <a:pt x="1267" y="578"/>
                      <a:pt x="1274" y="578"/>
                    </a:cubicBezTo>
                    <a:cubicBezTo>
                      <a:pt x="1281" y="578"/>
                      <a:pt x="1286" y="572"/>
                      <a:pt x="1286" y="566"/>
                    </a:cubicBezTo>
                    <a:cubicBezTo>
                      <a:pt x="1286" y="559"/>
                      <a:pt x="1281" y="553"/>
                      <a:pt x="1274" y="553"/>
                    </a:cubicBezTo>
                    <a:close/>
                    <a:moveTo>
                      <a:pt x="1274" y="492"/>
                    </a:moveTo>
                    <a:cubicBezTo>
                      <a:pt x="1267" y="492"/>
                      <a:pt x="1262" y="497"/>
                      <a:pt x="1262" y="504"/>
                    </a:cubicBezTo>
                    <a:cubicBezTo>
                      <a:pt x="1262" y="511"/>
                      <a:pt x="1267" y="516"/>
                      <a:pt x="1274" y="516"/>
                    </a:cubicBezTo>
                    <a:cubicBezTo>
                      <a:pt x="1281" y="516"/>
                      <a:pt x="1286" y="511"/>
                      <a:pt x="1286" y="504"/>
                    </a:cubicBezTo>
                    <a:cubicBezTo>
                      <a:pt x="1286" y="497"/>
                      <a:pt x="1281" y="492"/>
                      <a:pt x="1274" y="492"/>
                    </a:cubicBezTo>
                    <a:close/>
                    <a:moveTo>
                      <a:pt x="1274" y="523"/>
                    </a:moveTo>
                    <a:cubicBezTo>
                      <a:pt x="1267" y="523"/>
                      <a:pt x="1262" y="528"/>
                      <a:pt x="1262" y="535"/>
                    </a:cubicBezTo>
                    <a:cubicBezTo>
                      <a:pt x="1262" y="542"/>
                      <a:pt x="1267" y="547"/>
                      <a:pt x="1274" y="547"/>
                    </a:cubicBezTo>
                    <a:cubicBezTo>
                      <a:pt x="1281" y="547"/>
                      <a:pt x="1286" y="542"/>
                      <a:pt x="1286" y="535"/>
                    </a:cubicBezTo>
                    <a:cubicBezTo>
                      <a:pt x="1286" y="528"/>
                      <a:pt x="1281" y="523"/>
                      <a:pt x="1274" y="523"/>
                    </a:cubicBezTo>
                    <a:close/>
                    <a:moveTo>
                      <a:pt x="1274" y="646"/>
                    </a:moveTo>
                    <a:cubicBezTo>
                      <a:pt x="1267" y="646"/>
                      <a:pt x="1262" y="651"/>
                      <a:pt x="1262" y="658"/>
                    </a:cubicBezTo>
                    <a:cubicBezTo>
                      <a:pt x="1262" y="664"/>
                      <a:pt x="1267" y="670"/>
                      <a:pt x="1274" y="670"/>
                    </a:cubicBezTo>
                    <a:cubicBezTo>
                      <a:pt x="1281" y="670"/>
                      <a:pt x="1286" y="664"/>
                      <a:pt x="1286" y="658"/>
                    </a:cubicBezTo>
                    <a:cubicBezTo>
                      <a:pt x="1286" y="651"/>
                      <a:pt x="1281" y="646"/>
                      <a:pt x="1274" y="646"/>
                    </a:cubicBezTo>
                    <a:close/>
                    <a:moveTo>
                      <a:pt x="1274" y="615"/>
                    </a:moveTo>
                    <a:cubicBezTo>
                      <a:pt x="1267" y="615"/>
                      <a:pt x="1262" y="620"/>
                      <a:pt x="1262" y="627"/>
                    </a:cubicBezTo>
                    <a:cubicBezTo>
                      <a:pt x="1262" y="634"/>
                      <a:pt x="1267" y="639"/>
                      <a:pt x="1274" y="639"/>
                    </a:cubicBezTo>
                    <a:cubicBezTo>
                      <a:pt x="1281" y="639"/>
                      <a:pt x="1286" y="634"/>
                      <a:pt x="1286" y="627"/>
                    </a:cubicBezTo>
                    <a:cubicBezTo>
                      <a:pt x="1286" y="620"/>
                      <a:pt x="1281" y="615"/>
                      <a:pt x="1274" y="615"/>
                    </a:cubicBezTo>
                    <a:close/>
                    <a:moveTo>
                      <a:pt x="1274" y="584"/>
                    </a:moveTo>
                    <a:cubicBezTo>
                      <a:pt x="1267" y="584"/>
                      <a:pt x="1262" y="590"/>
                      <a:pt x="1262" y="596"/>
                    </a:cubicBezTo>
                    <a:cubicBezTo>
                      <a:pt x="1262" y="603"/>
                      <a:pt x="1267" y="608"/>
                      <a:pt x="1274" y="608"/>
                    </a:cubicBezTo>
                    <a:cubicBezTo>
                      <a:pt x="1281" y="608"/>
                      <a:pt x="1286" y="603"/>
                      <a:pt x="1286" y="596"/>
                    </a:cubicBezTo>
                    <a:cubicBezTo>
                      <a:pt x="1286" y="590"/>
                      <a:pt x="1281" y="584"/>
                      <a:pt x="1274" y="584"/>
                    </a:cubicBezTo>
                    <a:close/>
                    <a:moveTo>
                      <a:pt x="573" y="92"/>
                    </a:moveTo>
                    <a:cubicBezTo>
                      <a:pt x="566" y="92"/>
                      <a:pt x="561" y="98"/>
                      <a:pt x="561" y="104"/>
                    </a:cubicBezTo>
                    <a:cubicBezTo>
                      <a:pt x="561" y="111"/>
                      <a:pt x="566" y="117"/>
                      <a:pt x="573" y="117"/>
                    </a:cubicBezTo>
                    <a:cubicBezTo>
                      <a:pt x="580" y="117"/>
                      <a:pt x="585" y="111"/>
                      <a:pt x="585" y="104"/>
                    </a:cubicBezTo>
                    <a:cubicBezTo>
                      <a:pt x="585" y="98"/>
                      <a:pt x="580" y="92"/>
                      <a:pt x="573" y="92"/>
                    </a:cubicBezTo>
                    <a:close/>
                    <a:moveTo>
                      <a:pt x="573" y="369"/>
                    </a:moveTo>
                    <a:cubicBezTo>
                      <a:pt x="566" y="369"/>
                      <a:pt x="561" y="374"/>
                      <a:pt x="561" y="381"/>
                    </a:cubicBezTo>
                    <a:cubicBezTo>
                      <a:pt x="561" y="388"/>
                      <a:pt x="566" y="393"/>
                      <a:pt x="573" y="393"/>
                    </a:cubicBezTo>
                    <a:cubicBezTo>
                      <a:pt x="580" y="393"/>
                      <a:pt x="585" y="388"/>
                      <a:pt x="585" y="381"/>
                    </a:cubicBezTo>
                    <a:cubicBezTo>
                      <a:pt x="585" y="374"/>
                      <a:pt x="580" y="369"/>
                      <a:pt x="573" y="369"/>
                    </a:cubicBezTo>
                    <a:close/>
                    <a:moveTo>
                      <a:pt x="573" y="338"/>
                    </a:moveTo>
                    <a:cubicBezTo>
                      <a:pt x="566" y="338"/>
                      <a:pt x="561" y="344"/>
                      <a:pt x="561" y="350"/>
                    </a:cubicBezTo>
                    <a:cubicBezTo>
                      <a:pt x="561" y="357"/>
                      <a:pt x="566" y="363"/>
                      <a:pt x="573" y="363"/>
                    </a:cubicBezTo>
                    <a:cubicBezTo>
                      <a:pt x="580" y="363"/>
                      <a:pt x="585" y="357"/>
                      <a:pt x="585" y="350"/>
                    </a:cubicBezTo>
                    <a:cubicBezTo>
                      <a:pt x="585" y="344"/>
                      <a:pt x="580" y="338"/>
                      <a:pt x="573" y="338"/>
                    </a:cubicBezTo>
                    <a:close/>
                    <a:moveTo>
                      <a:pt x="538" y="92"/>
                    </a:moveTo>
                    <a:cubicBezTo>
                      <a:pt x="531" y="92"/>
                      <a:pt x="526" y="98"/>
                      <a:pt x="526" y="104"/>
                    </a:cubicBezTo>
                    <a:cubicBezTo>
                      <a:pt x="526" y="111"/>
                      <a:pt x="531" y="117"/>
                      <a:pt x="538" y="117"/>
                    </a:cubicBezTo>
                    <a:cubicBezTo>
                      <a:pt x="545" y="117"/>
                      <a:pt x="550" y="111"/>
                      <a:pt x="550" y="104"/>
                    </a:cubicBezTo>
                    <a:cubicBezTo>
                      <a:pt x="550" y="98"/>
                      <a:pt x="545" y="92"/>
                      <a:pt x="538" y="92"/>
                    </a:cubicBezTo>
                    <a:close/>
                    <a:moveTo>
                      <a:pt x="573" y="123"/>
                    </a:moveTo>
                    <a:cubicBezTo>
                      <a:pt x="566" y="123"/>
                      <a:pt x="561" y="128"/>
                      <a:pt x="561" y="135"/>
                    </a:cubicBezTo>
                    <a:cubicBezTo>
                      <a:pt x="561" y="142"/>
                      <a:pt x="566" y="147"/>
                      <a:pt x="573" y="147"/>
                    </a:cubicBezTo>
                    <a:cubicBezTo>
                      <a:pt x="580" y="147"/>
                      <a:pt x="585" y="142"/>
                      <a:pt x="585" y="135"/>
                    </a:cubicBezTo>
                    <a:cubicBezTo>
                      <a:pt x="585" y="128"/>
                      <a:pt x="580" y="123"/>
                      <a:pt x="573" y="123"/>
                    </a:cubicBezTo>
                    <a:close/>
                    <a:moveTo>
                      <a:pt x="538" y="154"/>
                    </a:moveTo>
                    <a:cubicBezTo>
                      <a:pt x="531" y="154"/>
                      <a:pt x="526" y="159"/>
                      <a:pt x="526" y="166"/>
                    </a:cubicBezTo>
                    <a:cubicBezTo>
                      <a:pt x="526" y="173"/>
                      <a:pt x="531" y="178"/>
                      <a:pt x="538" y="178"/>
                    </a:cubicBezTo>
                    <a:cubicBezTo>
                      <a:pt x="545" y="178"/>
                      <a:pt x="550" y="173"/>
                      <a:pt x="550" y="166"/>
                    </a:cubicBezTo>
                    <a:cubicBezTo>
                      <a:pt x="550" y="159"/>
                      <a:pt x="545" y="154"/>
                      <a:pt x="538" y="154"/>
                    </a:cubicBezTo>
                    <a:close/>
                    <a:moveTo>
                      <a:pt x="538" y="123"/>
                    </a:moveTo>
                    <a:cubicBezTo>
                      <a:pt x="531" y="123"/>
                      <a:pt x="526" y="128"/>
                      <a:pt x="526" y="135"/>
                    </a:cubicBezTo>
                    <a:cubicBezTo>
                      <a:pt x="526" y="142"/>
                      <a:pt x="531" y="147"/>
                      <a:pt x="538" y="147"/>
                    </a:cubicBezTo>
                    <a:cubicBezTo>
                      <a:pt x="545" y="147"/>
                      <a:pt x="550" y="142"/>
                      <a:pt x="550" y="135"/>
                    </a:cubicBezTo>
                    <a:cubicBezTo>
                      <a:pt x="550" y="128"/>
                      <a:pt x="545" y="123"/>
                      <a:pt x="538" y="123"/>
                    </a:cubicBezTo>
                    <a:close/>
                    <a:moveTo>
                      <a:pt x="608" y="338"/>
                    </a:moveTo>
                    <a:cubicBezTo>
                      <a:pt x="601" y="338"/>
                      <a:pt x="596" y="344"/>
                      <a:pt x="596" y="350"/>
                    </a:cubicBezTo>
                    <a:cubicBezTo>
                      <a:pt x="596" y="357"/>
                      <a:pt x="601" y="363"/>
                      <a:pt x="608" y="363"/>
                    </a:cubicBezTo>
                    <a:cubicBezTo>
                      <a:pt x="615" y="363"/>
                      <a:pt x="620" y="357"/>
                      <a:pt x="620" y="350"/>
                    </a:cubicBezTo>
                    <a:cubicBezTo>
                      <a:pt x="620" y="344"/>
                      <a:pt x="615" y="338"/>
                      <a:pt x="608" y="338"/>
                    </a:cubicBezTo>
                    <a:close/>
                    <a:moveTo>
                      <a:pt x="959" y="461"/>
                    </a:moveTo>
                    <a:cubicBezTo>
                      <a:pt x="952" y="461"/>
                      <a:pt x="946" y="467"/>
                      <a:pt x="946" y="473"/>
                    </a:cubicBezTo>
                    <a:cubicBezTo>
                      <a:pt x="946" y="480"/>
                      <a:pt x="952" y="485"/>
                      <a:pt x="959" y="485"/>
                    </a:cubicBezTo>
                    <a:cubicBezTo>
                      <a:pt x="965" y="485"/>
                      <a:pt x="971" y="480"/>
                      <a:pt x="971" y="473"/>
                    </a:cubicBezTo>
                    <a:cubicBezTo>
                      <a:pt x="971" y="467"/>
                      <a:pt x="965" y="461"/>
                      <a:pt x="959" y="461"/>
                    </a:cubicBezTo>
                    <a:close/>
                    <a:moveTo>
                      <a:pt x="468" y="92"/>
                    </a:moveTo>
                    <a:cubicBezTo>
                      <a:pt x="461" y="92"/>
                      <a:pt x="456" y="98"/>
                      <a:pt x="456" y="104"/>
                    </a:cubicBezTo>
                    <a:cubicBezTo>
                      <a:pt x="456" y="111"/>
                      <a:pt x="461" y="117"/>
                      <a:pt x="468" y="117"/>
                    </a:cubicBezTo>
                    <a:cubicBezTo>
                      <a:pt x="475" y="117"/>
                      <a:pt x="480" y="111"/>
                      <a:pt x="480" y="104"/>
                    </a:cubicBezTo>
                    <a:cubicBezTo>
                      <a:pt x="480" y="98"/>
                      <a:pt x="475" y="92"/>
                      <a:pt x="468" y="92"/>
                    </a:cubicBezTo>
                    <a:close/>
                    <a:moveTo>
                      <a:pt x="923" y="430"/>
                    </a:moveTo>
                    <a:cubicBezTo>
                      <a:pt x="917" y="430"/>
                      <a:pt x="911" y="436"/>
                      <a:pt x="911" y="443"/>
                    </a:cubicBezTo>
                    <a:cubicBezTo>
                      <a:pt x="911" y="449"/>
                      <a:pt x="917" y="455"/>
                      <a:pt x="923" y="455"/>
                    </a:cubicBezTo>
                    <a:cubicBezTo>
                      <a:pt x="930" y="455"/>
                      <a:pt x="936" y="449"/>
                      <a:pt x="936" y="443"/>
                    </a:cubicBezTo>
                    <a:cubicBezTo>
                      <a:pt x="936" y="436"/>
                      <a:pt x="930" y="430"/>
                      <a:pt x="923" y="430"/>
                    </a:cubicBezTo>
                    <a:close/>
                    <a:moveTo>
                      <a:pt x="959" y="430"/>
                    </a:moveTo>
                    <a:cubicBezTo>
                      <a:pt x="952" y="430"/>
                      <a:pt x="946" y="436"/>
                      <a:pt x="946" y="443"/>
                    </a:cubicBezTo>
                    <a:cubicBezTo>
                      <a:pt x="946" y="449"/>
                      <a:pt x="952" y="455"/>
                      <a:pt x="959" y="455"/>
                    </a:cubicBezTo>
                    <a:cubicBezTo>
                      <a:pt x="965" y="455"/>
                      <a:pt x="971" y="449"/>
                      <a:pt x="971" y="443"/>
                    </a:cubicBezTo>
                    <a:cubicBezTo>
                      <a:pt x="971" y="436"/>
                      <a:pt x="965" y="430"/>
                      <a:pt x="959" y="430"/>
                    </a:cubicBezTo>
                    <a:close/>
                    <a:moveTo>
                      <a:pt x="538" y="184"/>
                    </a:moveTo>
                    <a:cubicBezTo>
                      <a:pt x="531" y="184"/>
                      <a:pt x="526" y="190"/>
                      <a:pt x="526" y="197"/>
                    </a:cubicBezTo>
                    <a:cubicBezTo>
                      <a:pt x="526" y="203"/>
                      <a:pt x="531" y="209"/>
                      <a:pt x="538" y="209"/>
                    </a:cubicBezTo>
                    <a:cubicBezTo>
                      <a:pt x="545" y="209"/>
                      <a:pt x="550" y="203"/>
                      <a:pt x="550" y="197"/>
                    </a:cubicBezTo>
                    <a:cubicBezTo>
                      <a:pt x="550" y="190"/>
                      <a:pt x="545" y="184"/>
                      <a:pt x="538" y="184"/>
                    </a:cubicBezTo>
                    <a:close/>
                    <a:moveTo>
                      <a:pt x="608" y="369"/>
                    </a:moveTo>
                    <a:cubicBezTo>
                      <a:pt x="601" y="369"/>
                      <a:pt x="596" y="374"/>
                      <a:pt x="596" y="381"/>
                    </a:cubicBezTo>
                    <a:cubicBezTo>
                      <a:pt x="596" y="388"/>
                      <a:pt x="601" y="393"/>
                      <a:pt x="608" y="393"/>
                    </a:cubicBezTo>
                    <a:cubicBezTo>
                      <a:pt x="615" y="393"/>
                      <a:pt x="620" y="388"/>
                      <a:pt x="620" y="381"/>
                    </a:cubicBezTo>
                    <a:cubicBezTo>
                      <a:pt x="620" y="374"/>
                      <a:pt x="615" y="369"/>
                      <a:pt x="608" y="369"/>
                    </a:cubicBezTo>
                    <a:close/>
                    <a:moveTo>
                      <a:pt x="538" y="215"/>
                    </a:moveTo>
                    <a:cubicBezTo>
                      <a:pt x="531" y="215"/>
                      <a:pt x="526" y="221"/>
                      <a:pt x="526" y="227"/>
                    </a:cubicBezTo>
                    <a:cubicBezTo>
                      <a:pt x="526" y="234"/>
                      <a:pt x="531" y="240"/>
                      <a:pt x="538" y="240"/>
                    </a:cubicBezTo>
                    <a:cubicBezTo>
                      <a:pt x="545" y="240"/>
                      <a:pt x="550" y="234"/>
                      <a:pt x="550" y="227"/>
                    </a:cubicBezTo>
                    <a:cubicBezTo>
                      <a:pt x="550" y="221"/>
                      <a:pt x="545" y="215"/>
                      <a:pt x="538" y="215"/>
                    </a:cubicBezTo>
                    <a:close/>
                    <a:moveTo>
                      <a:pt x="503" y="184"/>
                    </a:moveTo>
                    <a:cubicBezTo>
                      <a:pt x="496" y="184"/>
                      <a:pt x="491" y="190"/>
                      <a:pt x="491" y="197"/>
                    </a:cubicBezTo>
                    <a:cubicBezTo>
                      <a:pt x="491" y="203"/>
                      <a:pt x="496" y="209"/>
                      <a:pt x="503" y="209"/>
                    </a:cubicBezTo>
                    <a:cubicBezTo>
                      <a:pt x="510" y="209"/>
                      <a:pt x="515" y="203"/>
                      <a:pt x="515" y="197"/>
                    </a:cubicBezTo>
                    <a:cubicBezTo>
                      <a:pt x="515" y="190"/>
                      <a:pt x="510" y="184"/>
                      <a:pt x="503" y="184"/>
                    </a:cubicBezTo>
                    <a:close/>
                    <a:moveTo>
                      <a:pt x="503" y="154"/>
                    </a:moveTo>
                    <a:cubicBezTo>
                      <a:pt x="496" y="154"/>
                      <a:pt x="491" y="159"/>
                      <a:pt x="491" y="166"/>
                    </a:cubicBezTo>
                    <a:cubicBezTo>
                      <a:pt x="491" y="173"/>
                      <a:pt x="496" y="178"/>
                      <a:pt x="503" y="178"/>
                    </a:cubicBezTo>
                    <a:cubicBezTo>
                      <a:pt x="510" y="178"/>
                      <a:pt x="515" y="173"/>
                      <a:pt x="515" y="166"/>
                    </a:cubicBezTo>
                    <a:cubicBezTo>
                      <a:pt x="515" y="159"/>
                      <a:pt x="510" y="154"/>
                      <a:pt x="503" y="154"/>
                    </a:cubicBezTo>
                    <a:close/>
                    <a:moveTo>
                      <a:pt x="503" y="215"/>
                    </a:moveTo>
                    <a:cubicBezTo>
                      <a:pt x="496" y="215"/>
                      <a:pt x="491" y="221"/>
                      <a:pt x="491" y="227"/>
                    </a:cubicBezTo>
                    <a:cubicBezTo>
                      <a:pt x="491" y="234"/>
                      <a:pt x="496" y="240"/>
                      <a:pt x="503" y="240"/>
                    </a:cubicBezTo>
                    <a:cubicBezTo>
                      <a:pt x="510" y="240"/>
                      <a:pt x="515" y="234"/>
                      <a:pt x="515" y="227"/>
                    </a:cubicBezTo>
                    <a:cubicBezTo>
                      <a:pt x="515" y="221"/>
                      <a:pt x="510" y="215"/>
                      <a:pt x="503" y="215"/>
                    </a:cubicBezTo>
                    <a:close/>
                    <a:moveTo>
                      <a:pt x="468" y="61"/>
                    </a:moveTo>
                    <a:cubicBezTo>
                      <a:pt x="461" y="61"/>
                      <a:pt x="456" y="67"/>
                      <a:pt x="456" y="74"/>
                    </a:cubicBezTo>
                    <a:cubicBezTo>
                      <a:pt x="456" y="80"/>
                      <a:pt x="461" y="86"/>
                      <a:pt x="468" y="86"/>
                    </a:cubicBezTo>
                    <a:cubicBezTo>
                      <a:pt x="475" y="86"/>
                      <a:pt x="480" y="80"/>
                      <a:pt x="480" y="74"/>
                    </a:cubicBezTo>
                    <a:cubicBezTo>
                      <a:pt x="480" y="67"/>
                      <a:pt x="475" y="61"/>
                      <a:pt x="468" y="61"/>
                    </a:cubicBezTo>
                    <a:close/>
                    <a:moveTo>
                      <a:pt x="503" y="246"/>
                    </a:moveTo>
                    <a:cubicBezTo>
                      <a:pt x="496" y="246"/>
                      <a:pt x="491" y="251"/>
                      <a:pt x="491" y="258"/>
                    </a:cubicBezTo>
                    <a:cubicBezTo>
                      <a:pt x="491" y="265"/>
                      <a:pt x="496" y="270"/>
                      <a:pt x="503" y="270"/>
                    </a:cubicBezTo>
                    <a:cubicBezTo>
                      <a:pt x="510" y="270"/>
                      <a:pt x="515" y="265"/>
                      <a:pt x="515" y="258"/>
                    </a:cubicBezTo>
                    <a:cubicBezTo>
                      <a:pt x="515" y="251"/>
                      <a:pt x="510" y="246"/>
                      <a:pt x="503" y="246"/>
                    </a:cubicBezTo>
                    <a:close/>
                    <a:moveTo>
                      <a:pt x="503" y="123"/>
                    </a:moveTo>
                    <a:cubicBezTo>
                      <a:pt x="496" y="123"/>
                      <a:pt x="491" y="128"/>
                      <a:pt x="491" y="135"/>
                    </a:cubicBezTo>
                    <a:cubicBezTo>
                      <a:pt x="491" y="142"/>
                      <a:pt x="496" y="147"/>
                      <a:pt x="503" y="147"/>
                    </a:cubicBezTo>
                    <a:cubicBezTo>
                      <a:pt x="510" y="147"/>
                      <a:pt x="515" y="142"/>
                      <a:pt x="515" y="135"/>
                    </a:cubicBezTo>
                    <a:cubicBezTo>
                      <a:pt x="515" y="128"/>
                      <a:pt x="510" y="123"/>
                      <a:pt x="503" y="123"/>
                    </a:cubicBezTo>
                    <a:close/>
                    <a:moveTo>
                      <a:pt x="538" y="369"/>
                    </a:moveTo>
                    <a:cubicBezTo>
                      <a:pt x="531" y="369"/>
                      <a:pt x="526" y="374"/>
                      <a:pt x="526" y="381"/>
                    </a:cubicBezTo>
                    <a:cubicBezTo>
                      <a:pt x="526" y="388"/>
                      <a:pt x="531" y="393"/>
                      <a:pt x="538" y="393"/>
                    </a:cubicBezTo>
                    <a:cubicBezTo>
                      <a:pt x="545" y="393"/>
                      <a:pt x="550" y="388"/>
                      <a:pt x="550" y="381"/>
                    </a:cubicBezTo>
                    <a:cubicBezTo>
                      <a:pt x="550" y="374"/>
                      <a:pt x="545" y="369"/>
                      <a:pt x="538" y="369"/>
                    </a:cubicBezTo>
                    <a:close/>
                    <a:moveTo>
                      <a:pt x="503" y="0"/>
                    </a:moveTo>
                    <a:cubicBezTo>
                      <a:pt x="496" y="0"/>
                      <a:pt x="491" y="5"/>
                      <a:pt x="491" y="12"/>
                    </a:cubicBezTo>
                    <a:cubicBezTo>
                      <a:pt x="491" y="19"/>
                      <a:pt x="496" y="24"/>
                      <a:pt x="503" y="24"/>
                    </a:cubicBezTo>
                    <a:cubicBezTo>
                      <a:pt x="510" y="24"/>
                      <a:pt x="515" y="19"/>
                      <a:pt x="515" y="12"/>
                    </a:cubicBezTo>
                    <a:cubicBezTo>
                      <a:pt x="515" y="5"/>
                      <a:pt x="510" y="0"/>
                      <a:pt x="503" y="0"/>
                    </a:cubicBezTo>
                    <a:close/>
                    <a:moveTo>
                      <a:pt x="959" y="400"/>
                    </a:moveTo>
                    <a:cubicBezTo>
                      <a:pt x="952" y="400"/>
                      <a:pt x="946" y="405"/>
                      <a:pt x="946" y="412"/>
                    </a:cubicBezTo>
                    <a:cubicBezTo>
                      <a:pt x="946" y="419"/>
                      <a:pt x="952" y="424"/>
                      <a:pt x="959" y="424"/>
                    </a:cubicBezTo>
                    <a:cubicBezTo>
                      <a:pt x="965" y="424"/>
                      <a:pt x="971" y="419"/>
                      <a:pt x="971" y="412"/>
                    </a:cubicBezTo>
                    <a:cubicBezTo>
                      <a:pt x="971" y="405"/>
                      <a:pt x="965" y="400"/>
                      <a:pt x="959" y="400"/>
                    </a:cubicBezTo>
                    <a:close/>
                    <a:moveTo>
                      <a:pt x="503" y="92"/>
                    </a:moveTo>
                    <a:cubicBezTo>
                      <a:pt x="496" y="92"/>
                      <a:pt x="491" y="98"/>
                      <a:pt x="491" y="104"/>
                    </a:cubicBezTo>
                    <a:cubicBezTo>
                      <a:pt x="491" y="111"/>
                      <a:pt x="496" y="117"/>
                      <a:pt x="503" y="117"/>
                    </a:cubicBezTo>
                    <a:cubicBezTo>
                      <a:pt x="510" y="117"/>
                      <a:pt x="515" y="111"/>
                      <a:pt x="515" y="104"/>
                    </a:cubicBezTo>
                    <a:cubicBezTo>
                      <a:pt x="515" y="98"/>
                      <a:pt x="510" y="92"/>
                      <a:pt x="503" y="92"/>
                    </a:cubicBezTo>
                    <a:close/>
                    <a:moveTo>
                      <a:pt x="503" y="61"/>
                    </a:moveTo>
                    <a:cubicBezTo>
                      <a:pt x="496" y="61"/>
                      <a:pt x="491" y="67"/>
                      <a:pt x="491" y="74"/>
                    </a:cubicBezTo>
                    <a:cubicBezTo>
                      <a:pt x="491" y="80"/>
                      <a:pt x="496" y="86"/>
                      <a:pt x="503" y="86"/>
                    </a:cubicBezTo>
                    <a:cubicBezTo>
                      <a:pt x="510" y="86"/>
                      <a:pt x="515" y="80"/>
                      <a:pt x="515" y="74"/>
                    </a:cubicBezTo>
                    <a:cubicBezTo>
                      <a:pt x="515" y="67"/>
                      <a:pt x="510" y="61"/>
                      <a:pt x="503" y="61"/>
                    </a:cubicBezTo>
                    <a:close/>
                    <a:moveTo>
                      <a:pt x="503" y="31"/>
                    </a:moveTo>
                    <a:cubicBezTo>
                      <a:pt x="496" y="31"/>
                      <a:pt x="491" y="36"/>
                      <a:pt x="491" y="43"/>
                    </a:cubicBezTo>
                    <a:cubicBezTo>
                      <a:pt x="491" y="50"/>
                      <a:pt x="496" y="55"/>
                      <a:pt x="503" y="55"/>
                    </a:cubicBezTo>
                    <a:cubicBezTo>
                      <a:pt x="510" y="55"/>
                      <a:pt x="515" y="50"/>
                      <a:pt x="515" y="43"/>
                    </a:cubicBezTo>
                    <a:cubicBezTo>
                      <a:pt x="515" y="36"/>
                      <a:pt x="510" y="31"/>
                      <a:pt x="503" y="31"/>
                    </a:cubicBezTo>
                    <a:close/>
                    <a:moveTo>
                      <a:pt x="1134" y="492"/>
                    </a:moveTo>
                    <a:cubicBezTo>
                      <a:pt x="1127" y="492"/>
                      <a:pt x="1122" y="497"/>
                      <a:pt x="1122" y="504"/>
                    </a:cubicBezTo>
                    <a:cubicBezTo>
                      <a:pt x="1122" y="511"/>
                      <a:pt x="1127" y="516"/>
                      <a:pt x="1134" y="516"/>
                    </a:cubicBezTo>
                    <a:cubicBezTo>
                      <a:pt x="1140" y="516"/>
                      <a:pt x="1146" y="511"/>
                      <a:pt x="1146" y="504"/>
                    </a:cubicBezTo>
                    <a:cubicBezTo>
                      <a:pt x="1146" y="497"/>
                      <a:pt x="1140" y="492"/>
                      <a:pt x="1134" y="492"/>
                    </a:cubicBezTo>
                    <a:close/>
                    <a:moveTo>
                      <a:pt x="1099" y="338"/>
                    </a:moveTo>
                    <a:cubicBezTo>
                      <a:pt x="1092" y="338"/>
                      <a:pt x="1087" y="344"/>
                      <a:pt x="1087" y="350"/>
                    </a:cubicBezTo>
                    <a:cubicBezTo>
                      <a:pt x="1087" y="357"/>
                      <a:pt x="1092" y="363"/>
                      <a:pt x="1099" y="363"/>
                    </a:cubicBezTo>
                    <a:cubicBezTo>
                      <a:pt x="1105" y="363"/>
                      <a:pt x="1111" y="357"/>
                      <a:pt x="1111" y="350"/>
                    </a:cubicBezTo>
                    <a:cubicBezTo>
                      <a:pt x="1111" y="344"/>
                      <a:pt x="1105" y="338"/>
                      <a:pt x="1099" y="338"/>
                    </a:cubicBezTo>
                    <a:close/>
                    <a:moveTo>
                      <a:pt x="1099" y="369"/>
                    </a:moveTo>
                    <a:cubicBezTo>
                      <a:pt x="1092" y="369"/>
                      <a:pt x="1087" y="374"/>
                      <a:pt x="1087" y="381"/>
                    </a:cubicBezTo>
                    <a:cubicBezTo>
                      <a:pt x="1087" y="388"/>
                      <a:pt x="1092" y="393"/>
                      <a:pt x="1099" y="393"/>
                    </a:cubicBezTo>
                    <a:cubicBezTo>
                      <a:pt x="1105" y="393"/>
                      <a:pt x="1111" y="388"/>
                      <a:pt x="1111" y="381"/>
                    </a:cubicBezTo>
                    <a:cubicBezTo>
                      <a:pt x="1111" y="374"/>
                      <a:pt x="1105" y="369"/>
                      <a:pt x="1099" y="369"/>
                    </a:cubicBezTo>
                    <a:close/>
                    <a:moveTo>
                      <a:pt x="1064" y="369"/>
                    </a:moveTo>
                    <a:cubicBezTo>
                      <a:pt x="1057" y="369"/>
                      <a:pt x="1051" y="374"/>
                      <a:pt x="1051" y="381"/>
                    </a:cubicBezTo>
                    <a:cubicBezTo>
                      <a:pt x="1051" y="388"/>
                      <a:pt x="1057" y="393"/>
                      <a:pt x="1064" y="393"/>
                    </a:cubicBezTo>
                    <a:cubicBezTo>
                      <a:pt x="1070" y="393"/>
                      <a:pt x="1076" y="388"/>
                      <a:pt x="1076" y="381"/>
                    </a:cubicBezTo>
                    <a:cubicBezTo>
                      <a:pt x="1076" y="374"/>
                      <a:pt x="1070" y="369"/>
                      <a:pt x="1064" y="369"/>
                    </a:cubicBezTo>
                    <a:close/>
                    <a:moveTo>
                      <a:pt x="1134" y="615"/>
                    </a:moveTo>
                    <a:cubicBezTo>
                      <a:pt x="1127" y="615"/>
                      <a:pt x="1122" y="620"/>
                      <a:pt x="1122" y="627"/>
                    </a:cubicBezTo>
                    <a:cubicBezTo>
                      <a:pt x="1122" y="634"/>
                      <a:pt x="1127" y="639"/>
                      <a:pt x="1134" y="639"/>
                    </a:cubicBezTo>
                    <a:cubicBezTo>
                      <a:pt x="1140" y="639"/>
                      <a:pt x="1146" y="634"/>
                      <a:pt x="1146" y="627"/>
                    </a:cubicBezTo>
                    <a:cubicBezTo>
                      <a:pt x="1146" y="620"/>
                      <a:pt x="1140" y="615"/>
                      <a:pt x="1134" y="615"/>
                    </a:cubicBezTo>
                    <a:close/>
                    <a:moveTo>
                      <a:pt x="1064" y="338"/>
                    </a:moveTo>
                    <a:cubicBezTo>
                      <a:pt x="1057" y="338"/>
                      <a:pt x="1051" y="344"/>
                      <a:pt x="1051" y="350"/>
                    </a:cubicBezTo>
                    <a:cubicBezTo>
                      <a:pt x="1051" y="357"/>
                      <a:pt x="1057" y="363"/>
                      <a:pt x="1064" y="363"/>
                    </a:cubicBezTo>
                    <a:cubicBezTo>
                      <a:pt x="1070" y="363"/>
                      <a:pt x="1076" y="357"/>
                      <a:pt x="1076" y="350"/>
                    </a:cubicBezTo>
                    <a:cubicBezTo>
                      <a:pt x="1076" y="344"/>
                      <a:pt x="1070" y="338"/>
                      <a:pt x="1064" y="338"/>
                    </a:cubicBezTo>
                    <a:close/>
                    <a:moveTo>
                      <a:pt x="1099" y="523"/>
                    </a:moveTo>
                    <a:cubicBezTo>
                      <a:pt x="1092" y="523"/>
                      <a:pt x="1087" y="528"/>
                      <a:pt x="1087" y="535"/>
                    </a:cubicBezTo>
                    <a:cubicBezTo>
                      <a:pt x="1087" y="542"/>
                      <a:pt x="1092" y="547"/>
                      <a:pt x="1099" y="547"/>
                    </a:cubicBezTo>
                    <a:cubicBezTo>
                      <a:pt x="1105" y="547"/>
                      <a:pt x="1111" y="542"/>
                      <a:pt x="1111" y="535"/>
                    </a:cubicBezTo>
                    <a:cubicBezTo>
                      <a:pt x="1111" y="528"/>
                      <a:pt x="1105" y="523"/>
                      <a:pt x="1099" y="523"/>
                    </a:cubicBezTo>
                    <a:close/>
                    <a:moveTo>
                      <a:pt x="1099" y="307"/>
                    </a:moveTo>
                    <a:cubicBezTo>
                      <a:pt x="1092" y="307"/>
                      <a:pt x="1087" y="313"/>
                      <a:pt x="1087" y="320"/>
                    </a:cubicBezTo>
                    <a:cubicBezTo>
                      <a:pt x="1087" y="326"/>
                      <a:pt x="1092" y="332"/>
                      <a:pt x="1099" y="332"/>
                    </a:cubicBezTo>
                    <a:cubicBezTo>
                      <a:pt x="1105" y="332"/>
                      <a:pt x="1111" y="326"/>
                      <a:pt x="1111" y="320"/>
                    </a:cubicBezTo>
                    <a:cubicBezTo>
                      <a:pt x="1111" y="313"/>
                      <a:pt x="1105" y="307"/>
                      <a:pt x="1099" y="307"/>
                    </a:cubicBezTo>
                    <a:close/>
                    <a:moveTo>
                      <a:pt x="1134" y="400"/>
                    </a:moveTo>
                    <a:cubicBezTo>
                      <a:pt x="1127" y="400"/>
                      <a:pt x="1122" y="405"/>
                      <a:pt x="1122" y="412"/>
                    </a:cubicBezTo>
                    <a:cubicBezTo>
                      <a:pt x="1122" y="419"/>
                      <a:pt x="1127" y="424"/>
                      <a:pt x="1134" y="424"/>
                    </a:cubicBezTo>
                    <a:cubicBezTo>
                      <a:pt x="1140" y="424"/>
                      <a:pt x="1146" y="419"/>
                      <a:pt x="1146" y="412"/>
                    </a:cubicBezTo>
                    <a:cubicBezTo>
                      <a:pt x="1146" y="405"/>
                      <a:pt x="1140" y="400"/>
                      <a:pt x="1134" y="400"/>
                    </a:cubicBezTo>
                    <a:close/>
                    <a:moveTo>
                      <a:pt x="1134" y="338"/>
                    </a:moveTo>
                    <a:cubicBezTo>
                      <a:pt x="1127" y="338"/>
                      <a:pt x="1122" y="344"/>
                      <a:pt x="1122" y="350"/>
                    </a:cubicBezTo>
                    <a:cubicBezTo>
                      <a:pt x="1122" y="357"/>
                      <a:pt x="1127" y="363"/>
                      <a:pt x="1134" y="363"/>
                    </a:cubicBezTo>
                    <a:cubicBezTo>
                      <a:pt x="1140" y="363"/>
                      <a:pt x="1146" y="357"/>
                      <a:pt x="1146" y="350"/>
                    </a:cubicBezTo>
                    <a:cubicBezTo>
                      <a:pt x="1146" y="344"/>
                      <a:pt x="1140" y="338"/>
                      <a:pt x="1134" y="338"/>
                    </a:cubicBezTo>
                    <a:close/>
                    <a:moveTo>
                      <a:pt x="1134" y="523"/>
                    </a:moveTo>
                    <a:cubicBezTo>
                      <a:pt x="1127" y="523"/>
                      <a:pt x="1122" y="528"/>
                      <a:pt x="1122" y="535"/>
                    </a:cubicBezTo>
                    <a:cubicBezTo>
                      <a:pt x="1122" y="542"/>
                      <a:pt x="1127" y="547"/>
                      <a:pt x="1134" y="547"/>
                    </a:cubicBezTo>
                    <a:cubicBezTo>
                      <a:pt x="1140" y="547"/>
                      <a:pt x="1146" y="542"/>
                      <a:pt x="1146" y="535"/>
                    </a:cubicBezTo>
                    <a:cubicBezTo>
                      <a:pt x="1146" y="528"/>
                      <a:pt x="1140" y="523"/>
                      <a:pt x="1134" y="523"/>
                    </a:cubicBezTo>
                    <a:close/>
                    <a:moveTo>
                      <a:pt x="1134" y="553"/>
                    </a:moveTo>
                    <a:cubicBezTo>
                      <a:pt x="1127" y="553"/>
                      <a:pt x="1122" y="559"/>
                      <a:pt x="1122" y="566"/>
                    </a:cubicBezTo>
                    <a:cubicBezTo>
                      <a:pt x="1122" y="572"/>
                      <a:pt x="1127" y="578"/>
                      <a:pt x="1134" y="578"/>
                    </a:cubicBezTo>
                    <a:cubicBezTo>
                      <a:pt x="1140" y="578"/>
                      <a:pt x="1146" y="572"/>
                      <a:pt x="1146" y="566"/>
                    </a:cubicBezTo>
                    <a:cubicBezTo>
                      <a:pt x="1146" y="559"/>
                      <a:pt x="1140" y="553"/>
                      <a:pt x="1134" y="553"/>
                    </a:cubicBezTo>
                    <a:close/>
                    <a:moveTo>
                      <a:pt x="1134" y="584"/>
                    </a:moveTo>
                    <a:cubicBezTo>
                      <a:pt x="1127" y="584"/>
                      <a:pt x="1122" y="590"/>
                      <a:pt x="1122" y="596"/>
                    </a:cubicBezTo>
                    <a:cubicBezTo>
                      <a:pt x="1122" y="603"/>
                      <a:pt x="1127" y="608"/>
                      <a:pt x="1134" y="608"/>
                    </a:cubicBezTo>
                    <a:cubicBezTo>
                      <a:pt x="1140" y="608"/>
                      <a:pt x="1146" y="603"/>
                      <a:pt x="1146" y="596"/>
                    </a:cubicBezTo>
                    <a:cubicBezTo>
                      <a:pt x="1146" y="590"/>
                      <a:pt x="1140" y="584"/>
                      <a:pt x="1134" y="584"/>
                    </a:cubicBezTo>
                    <a:close/>
                    <a:moveTo>
                      <a:pt x="1064" y="430"/>
                    </a:moveTo>
                    <a:cubicBezTo>
                      <a:pt x="1057" y="430"/>
                      <a:pt x="1051" y="436"/>
                      <a:pt x="1051" y="443"/>
                    </a:cubicBezTo>
                    <a:cubicBezTo>
                      <a:pt x="1051" y="449"/>
                      <a:pt x="1057" y="455"/>
                      <a:pt x="1064" y="455"/>
                    </a:cubicBezTo>
                    <a:cubicBezTo>
                      <a:pt x="1070" y="455"/>
                      <a:pt x="1076" y="449"/>
                      <a:pt x="1076" y="443"/>
                    </a:cubicBezTo>
                    <a:cubicBezTo>
                      <a:pt x="1076" y="436"/>
                      <a:pt x="1070" y="430"/>
                      <a:pt x="1064" y="430"/>
                    </a:cubicBezTo>
                    <a:close/>
                    <a:moveTo>
                      <a:pt x="1064" y="400"/>
                    </a:moveTo>
                    <a:cubicBezTo>
                      <a:pt x="1057" y="400"/>
                      <a:pt x="1051" y="405"/>
                      <a:pt x="1051" y="412"/>
                    </a:cubicBezTo>
                    <a:cubicBezTo>
                      <a:pt x="1051" y="419"/>
                      <a:pt x="1057" y="424"/>
                      <a:pt x="1064" y="424"/>
                    </a:cubicBezTo>
                    <a:cubicBezTo>
                      <a:pt x="1070" y="424"/>
                      <a:pt x="1076" y="419"/>
                      <a:pt x="1076" y="412"/>
                    </a:cubicBezTo>
                    <a:cubicBezTo>
                      <a:pt x="1076" y="405"/>
                      <a:pt x="1070" y="400"/>
                      <a:pt x="1064" y="400"/>
                    </a:cubicBezTo>
                    <a:close/>
                    <a:moveTo>
                      <a:pt x="1029" y="492"/>
                    </a:moveTo>
                    <a:cubicBezTo>
                      <a:pt x="1022" y="492"/>
                      <a:pt x="1016" y="497"/>
                      <a:pt x="1016" y="504"/>
                    </a:cubicBezTo>
                    <a:cubicBezTo>
                      <a:pt x="1016" y="511"/>
                      <a:pt x="1022" y="516"/>
                      <a:pt x="1029" y="516"/>
                    </a:cubicBezTo>
                    <a:cubicBezTo>
                      <a:pt x="1035" y="516"/>
                      <a:pt x="1041" y="511"/>
                      <a:pt x="1041" y="504"/>
                    </a:cubicBezTo>
                    <a:cubicBezTo>
                      <a:pt x="1041" y="497"/>
                      <a:pt x="1035" y="492"/>
                      <a:pt x="1029" y="492"/>
                    </a:cubicBezTo>
                    <a:close/>
                    <a:moveTo>
                      <a:pt x="994" y="430"/>
                    </a:moveTo>
                    <a:cubicBezTo>
                      <a:pt x="987" y="430"/>
                      <a:pt x="981" y="436"/>
                      <a:pt x="981" y="443"/>
                    </a:cubicBezTo>
                    <a:cubicBezTo>
                      <a:pt x="981" y="449"/>
                      <a:pt x="987" y="455"/>
                      <a:pt x="994" y="455"/>
                    </a:cubicBezTo>
                    <a:cubicBezTo>
                      <a:pt x="1000" y="455"/>
                      <a:pt x="1006" y="449"/>
                      <a:pt x="1006" y="443"/>
                    </a:cubicBezTo>
                    <a:cubicBezTo>
                      <a:pt x="1006" y="436"/>
                      <a:pt x="1000" y="430"/>
                      <a:pt x="994" y="430"/>
                    </a:cubicBezTo>
                    <a:close/>
                    <a:moveTo>
                      <a:pt x="994" y="400"/>
                    </a:moveTo>
                    <a:cubicBezTo>
                      <a:pt x="987" y="400"/>
                      <a:pt x="981" y="405"/>
                      <a:pt x="981" y="412"/>
                    </a:cubicBezTo>
                    <a:cubicBezTo>
                      <a:pt x="981" y="419"/>
                      <a:pt x="987" y="424"/>
                      <a:pt x="994" y="424"/>
                    </a:cubicBezTo>
                    <a:cubicBezTo>
                      <a:pt x="1000" y="424"/>
                      <a:pt x="1006" y="419"/>
                      <a:pt x="1006" y="412"/>
                    </a:cubicBezTo>
                    <a:cubicBezTo>
                      <a:pt x="1006" y="405"/>
                      <a:pt x="1000" y="400"/>
                      <a:pt x="994" y="400"/>
                    </a:cubicBezTo>
                    <a:close/>
                    <a:moveTo>
                      <a:pt x="994" y="492"/>
                    </a:moveTo>
                    <a:cubicBezTo>
                      <a:pt x="987" y="492"/>
                      <a:pt x="981" y="497"/>
                      <a:pt x="981" y="504"/>
                    </a:cubicBezTo>
                    <a:cubicBezTo>
                      <a:pt x="981" y="511"/>
                      <a:pt x="987" y="516"/>
                      <a:pt x="994" y="516"/>
                    </a:cubicBezTo>
                    <a:cubicBezTo>
                      <a:pt x="1000" y="516"/>
                      <a:pt x="1006" y="511"/>
                      <a:pt x="1006" y="504"/>
                    </a:cubicBezTo>
                    <a:cubicBezTo>
                      <a:pt x="1006" y="497"/>
                      <a:pt x="1000" y="492"/>
                      <a:pt x="994" y="492"/>
                    </a:cubicBezTo>
                    <a:close/>
                    <a:moveTo>
                      <a:pt x="994" y="461"/>
                    </a:moveTo>
                    <a:cubicBezTo>
                      <a:pt x="987" y="461"/>
                      <a:pt x="981" y="467"/>
                      <a:pt x="981" y="473"/>
                    </a:cubicBezTo>
                    <a:cubicBezTo>
                      <a:pt x="981" y="480"/>
                      <a:pt x="987" y="485"/>
                      <a:pt x="994" y="485"/>
                    </a:cubicBezTo>
                    <a:cubicBezTo>
                      <a:pt x="1000" y="485"/>
                      <a:pt x="1006" y="480"/>
                      <a:pt x="1006" y="473"/>
                    </a:cubicBezTo>
                    <a:cubicBezTo>
                      <a:pt x="1006" y="467"/>
                      <a:pt x="1000" y="461"/>
                      <a:pt x="994" y="461"/>
                    </a:cubicBezTo>
                    <a:close/>
                    <a:moveTo>
                      <a:pt x="1029" y="461"/>
                    </a:moveTo>
                    <a:cubicBezTo>
                      <a:pt x="1022" y="461"/>
                      <a:pt x="1016" y="467"/>
                      <a:pt x="1016" y="473"/>
                    </a:cubicBezTo>
                    <a:cubicBezTo>
                      <a:pt x="1016" y="480"/>
                      <a:pt x="1022" y="485"/>
                      <a:pt x="1029" y="485"/>
                    </a:cubicBezTo>
                    <a:cubicBezTo>
                      <a:pt x="1035" y="485"/>
                      <a:pt x="1041" y="480"/>
                      <a:pt x="1041" y="473"/>
                    </a:cubicBezTo>
                    <a:cubicBezTo>
                      <a:pt x="1041" y="467"/>
                      <a:pt x="1035" y="461"/>
                      <a:pt x="1029" y="461"/>
                    </a:cubicBezTo>
                    <a:close/>
                    <a:moveTo>
                      <a:pt x="1029" y="430"/>
                    </a:moveTo>
                    <a:cubicBezTo>
                      <a:pt x="1022" y="430"/>
                      <a:pt x="1016" y="436"/>
                      <a:pt x="1016" y="443"/>
                    </a:cubicBezTo>
                    <a:cubicBezTo>
                      <a:pt x="1016" y="449"/>
                      <a:pt x="1022" y="455"/>
                      <a:pt x="1029" y="455"/>
                    </a:cubicBezTo>
                    <a:cubicBezTo>
                      <a:pt x="1035" y="455"/>
                      <a:pt x="1041" y="449"/>
                      <a:pt x="1041" y="443"/>
                    </a:cubicBezTo>
                    <a:cubicBezTo>
                      <a:pt x="1041" y="436"/>
                      <a:pt x="1035" y="430"/>
                      <a:pt x="1029" y="430"/>
                    </a:cubicBezTo>
                    <a:close/>
                    <a:moveTo>
                      <a:pt x="994" y="523"/>
                    </a:moveTo>
                    <a:cubicBezTo>
                      <a:pt x="987" y="523"/>
                      <a:pt x="981" y="528"/>
                      <a:pt x="981" y="535"/>
                    </a:cubicBezTo>
                    <a:cubicBezTo>
                      <a:pt x="981" y="542"/>
                      <a:pt x="987" y="547"/>
                      <a:pt x="994" y="547"/>
                    </a:cubicBezTo>
                    <a:cubicBezTo>
                      <a:pt x="1000" y="547"/>
                      <a:pt x="1006" y="542"/>
                      <a:pt x="1006" y="535"/>
                    </a:cubicBezTo>
                    <a:cubicBezTo>
                      <a:pt x="1006" y="528"/>
                      <a:pt x="1000" y="523"/>
                      <a:pt x="994" y="523"/>
                    </a:cubicBezTo>
                    <a:close/>
                    <a:moveTo>
                      <a:pt x="1064" y="461"/>
                    </a:moveTo>
                    <a:cubicBezTo>
                      <a:pt x="1057" y="461"/>
                      <a:pt x="1051" y="467"/>
                      <a:pt x="1051" y="473"/>
                    </a:cubicBezTo>
                    <a:cubicBezTo>
                      <a:pt x="1051" y="480"/>
                      <a:pt x="1057" y="485"/>
                      <a:pt x="1064" y="485"/>
                    </a:cubicBezTo>
                    <a:cubicBezTo>
                      <a:pt x="1070" y="485"/>
                      <a:pt x="1076" y="480"/>
                      <a:pt x="1076" y="473"/>
                    </a:cubicBezTo>
                    <a:cubicBezTo>
                      <a:pt x="1076" y="467"/>
                      <a:pt x="1070" y="461"/>
                      <a:pt x="1064" y="461"/>
                    </a:cubicBezTo>
                    <a:close/>
                    <a:moveTo>
                      <a:pt x="1029" y="400"/>
                    </a:moveTo>
                    <a:cubicBezTo>
                      <a:pt x="1022" y="400"/>
                      <a:pt x="1016" y="405"/>
                      <a:pt x="1016" y="412"/>
                    </a:cubicBezTo>
                    <a:cubicBezTo>
                      <a:pt x="1016" y="419"/>
                      <a:pt x="1022" y="424"/>
                      <a:pt x="1029" y="424"/>
                    </a:cubicBezTo>
                    <a:cubicBezTo>
                      <a:pt x="1035" y="424"/>
                      <a:pt x="1041" y="419"/>
                      <a:pt x="1041" y="412"/>
                    </a:cubicBezTo>
                    <a:cubicBezTo>
                      <a:pt x="1041" y="405"/>
                      <a:pt x="1035" y="400"/>
                      <a:pt x="1029" y="400"/>
                    </a:cubicBezTo>
                    <a:close/>
                    <a:moveTo>
                      <a:pt x="1029" y="369"/>
                    </a:moveTo>
                    <a:cubicBezTo>
                      <a:pt x="1022" y="369"/>
                      <a:pt x="1016" y="374"/>
                      <a:pt x="1016" y="381"/>
                    </a:cubicBezTo>
                    <a:cubicBezTo>
                      <a:pt x="1016" y="388"/>
                      <a:pt x="1022" y="393"/>
                      <a:pt x="1029" y="393"/>
                    </a:cubicBezTo>
                    <a:cubicBezTo>
                      <a:pt x="1035" y="393"/>
                      <a:pt x="1041" y="388"/>
                      <a:pt x="1041" y="381"/>
                    </a:cubicBezTo>
                    <a:cubicBezTo>
                      <a:pt x="1041" y="374"/>
                      <a:pt x="1035" y="369"/>
                      <a:pt x="1029" y="369"/>
                    </a:cubicBezTo>
                    <a:close/>
                    <a:moveTo>
                      <a:pt x="1414" y="646"/>
                    </a:moveTo>
                    <a:cubicBezTo>
                      <a:pt x="1407" y="646"/>
                      <a:pt x="1402" y="651"/>
                      <a:pt x="1402" y="658"/>
                    </a:cubicBezTo>
                    <a:cubicBezTo>
                      <a:pt x="1402" y="664"/>
                      <a:pt x="1407" y="670"/>
                      <a:pt x="1414" y="670"/>
                    </a:cubicBezTo>
                    <a:cubicBezTo>
                      <a:pt x="1421" y="670"/>
                      <a:pt x="1426" y="664"/>
                      <a:pt x="1426" y="658"/>
                    </a:cubicBezTo>
                    <a:cubicBezTo>
                      <a:pt x="1426" y="651"/>
                      <a:pt x="1421" y="646"/>
                      <a:pt x="1414" y="646"/>
                    </a:cubicBezTo>
                    <a:close/>
                    <a:moveTo>
                      <a:pt x="2500" y="369"/>
                    </a:moveTo>
                    <a:cubicBezTo>
                      <a:pt x="2494" y="369"/>
                      <a:pt x="2488" y="374"/>
                      <a:pt x="2488" y="381"/>
                    </a:cubicBezTo>
                    <a:cubicBezTo>
                      <a:pt x="2488" y="388"/>
                      <a:pt x="2494" y="393"/>
                      <a:pt x="2500" y="393"/>
                    </a:cubicBezTo>
                    <a:cubicBezTo>
                      <a:pt x="2507" y="393"/>
                      <a:pt x="2513" y="388"/>
                      <a:pt x="2513" y="381"/>
                    </a:cubicBezTo>
                    <a:cubicBezTo>
                      <a:pt x="2513" y="374"/>
                      <a:pt x="2507" y="369"/>
                      <a:pt x="2500" y="369"/>
                    </a:cubicBezTo>
                    <a:close/>
                    <a:moveTo>
                      <a:pt x="2500" y="400"/>
                    </a:moveTo>
                    <a:cubicBezTo>
                      <a:pt x="2494" y="400"/>
                      <a:pt x="2488" y="405"/>
                      <a:pt x="2488" y="412"/>
                    </a:cubicBezTo>
                    <a:cubicBezTo>
                      <a:pt x="2488" y="419"/>
                      <a:pt x="2494" y="424"/>
                      <a:pt x="2500" y="424"/>
                    </a:cubicBezTo>
                    <a:cubicBezTo>
                      <a:pt x="2507" y="424"/>
                      <a:pt x="2513" y="419"/>
                      <a:pt x="2513" y="412"/>
                    </a:cubicBezTo>
                    <a:cubicBezTo>
                      <a:pt x="2513" y="405"/>
                      <a:pt x="2507" y="400"/>
                      <a:pt x="2500" y="400"/>
                    </a:cubicBezTo>
                    <a:close/>
                    <a:moveTo>
                      <a:pt x="2500" y="307"/>
                    </a:moveTo>
                    <a:cubicBezTo>
                      <a:pt x="2494" y="307"/>
                      <a:pt x="2488" y="313"/>
                      <a:pt x="2488" y="320"/>
                    </a:cubicBezTo>
                    <a:cubicBezTo>
                      <a:pt x="2488" y="326"/>
                      <a:pt x="2494" y="332"/>
                      <a:pt x="2500" y="332"/>
                    </a:cubicBezTo>
                    <a:cubicBezTo>
                      <a:pt x="2507" y="332"/>
                      <a:pt x="2513" y="326"/>
                      <a:pt x="2513" y="320"/>
                    </a:cubicBezTo>
                    <a:cubicBezTo>
                      <a:pt x="2513" y="313"/>
                      <a:pt x="2507" y="307"/>
                      <a:pt x="2500" y="307"/>
                    </a:cubicBezTo>
                    <a:close/>
                    <a:moveTo>
                      <a:pt x="2500" y="338"/>
                    </a:moveTo>
                    <a:cubicBezTo>
                      <a:pt x="2494" y="338"/>
                      <a:pt x="2488" y="344"/>
                      <a:pt x="2488" y="350"/>
                    </a:cubicBezTo>
                    <a:cubicBezTo>
                      <a:pt x="2488" y="357"/>
                      <a:pt x="2494" y="363"/>
                      <a:pt x="2500" y="363"/>
                    </a:cubicBezTo>
                    <a:cubicBezTo>
                      <a:pt x="2507" y="363"/>
                      <a:pt x="2513" y="357"/>
                      <a:pt x="2513" y="350"/>
                    </a:cubicBezTo>
                    <a:cubicBezTo>
                      <a:pt x="2513" y="344"/>
                      <a:pt x="2507" y="338"/>
                      <a:pt x="2500" y="338"/>
                    </a:cubicBezTo>
                    <a:close/>
                    <a:moveTo>
                      <a:pt x="2465" y="492"/>
                    </a:moveTo>
                    <a:cubicBezTo>
                      <a:pt x="2459" y="492"/>
                      <a:pt x="2453" y="497"/>
                      <a:pt x="2453" y="504"/>
                    </a:cubicBezTo>
                    <a:cubicBezTo>
                      <a:pt x="2453" y="511"/>
                      <a:pt x="2459" y="516"/>
                      <a:pt x="2465" y="516"/>
                    </a:cubicBezTo>
                    <a:cubicBezTo>
                      <a:pt x="2472" y="516"/>
                      <a:pt x="2477" y="511"/>
                      <a:pt x="2477" y="504"/>
                    </a:cubicBezTo>
                    <a:cubicBezTo>
                      <a:pt x="2477" y="497"/>
                      <a:pt x="2472" y="492"/>
                      <a:pt x="2465" y="492"/>
                    </a:cubicBezTo>
                    <a:close/>
                    <a:moveTo>
                      <a:pt x="2535" y="492"/>
                    </a:moveTo>
                    <a:cubicBezTo>
                      <a:pt x="2529" y="492"/>
                      <a:pt x="2523" y="497"/>
                      <a:pt x="2523" y="504"/>
                    </a:cubicBezTo>
                    <a:cubicBezTo>
                      <a:pt x="2523" y="511"/>
                      <a:pt x="2529" y="516"/>
                      <a:pt x="2535" y="516"/>
                    </a:cubicBezTo>
                    <a:cubicBezTo>
                      <a:pt x="2542" y="516"/>
                      <a:pt x="2548" y="511"/>
                      <a:pt x="2548" y="504"/>
                    </a:cubicBezTo>
                    <a:cubicBezTo>
                      <a:pt x="2548" y="497"/>
                      <a:pt x="2542" y="492"/>
                      <a:pt x="2535" y="492"/>
                    </a:cubicBezTo>
                    <a:close/>
                    <a:moveTo>
                      <a:pt x="2535" y="615"/>
                    </a:moveTo>
                    <a:cubicBezTo>
                      <a:pt x="2529" y="615"/>
                      <a:pt x="2523" y="620"/>
                      <a:pt x="2523" y="627"/>
                    </a:cubicBezTo>
                    <a:cubicBezTo>
                      <a:pt x="2523" y="634"/>
                      <a:pt x="2529" y="639"/>
                      <a:pt x="2535" y="639"/>
                    </a:cubicBezTo>
                    <a:cubicBezTo>
                      <a:pt x="2542" y="639"/>
                      <a:pt x="2548" y="634"/>
                      <a:pt x="2548" y="627"/>
                    </a:cubicBezTo>
                    <a:cubicBezTo>
                      <a:pt x="2548" y="620"/>
                      <a:pt x="2542" y="615"/>
                      <a:pt x="2535" y="615"/>
                    </a:cubicBezTo>
                    <a:close/>
                    <a:moveTo>
                      <a:pt x="2535" y="553"/>
                    </a:moveTo>
                    <a:cubicBezTo>
                      <a:pt x="2529" y="553"/>
                      <a:pt x="2523" y="559"/>
                      <a:pt x="2523" y="566"/>
                    </a:cubicBezTo>
                    <a:cubicBezTo>
                      <a:pt x="2523" y="572"/>
                      <a:pt x="2529" y="578"/>
                      <a:pt x="2535" y="578"/>
                    </a:cubicBezTo>
                    <a:cubicBezTo>
                      <a:pt x="2542" y="578"/>
                      <a:pt x="2548" y="572"/>
                      <a:pt x="2548" y="566"/>
                    </a:cubicBezTo>
                    <a:cubicBezTo>
                      <a:pt x="2548" y="559"/>
                      <a:pt x="2542" y="553"/>
                      <a:pt x="2535" y="553"/>
                    </a:cubicBezTo>
                    <a:close/>
                    <a:moveTo>
                      <a:pt x="2535" y="523"/>
                    </a:moveTo>
                    <a:cubicBezTo>
                      <a:pt x="2529" y="523"/>
                      <a:pt x="2523" y="528"/>
                      <a:pt x="2523" y="535"/>
                    </a:cubicBezTo>
                    <a:cubicBezTo>
                      <a:pt x="2523" y="542"/>
                      <a:pt x="2529" y="547"/>
                      <a:pt x="2535" y="547"/>
                    </a:cubicBezTo>
                    <a:cubicBezTo>
                      <a:pt x="2542" y="547"/>
                      <a:pt x="2548" y="542"/>
                      <a:pt x="2548" y="535"/>
                    </a:cubicBezTo>
                    <a:cubicBezTo>
                      <a:pt x="2548" y="528"/>
                      <a:pt x="2542" y="523"/>
                      <a:pt x="2535" y="523"/>
                    </a:cubicBezTo>
                    <a:close/>
                    <a:moveTo>
                      <a:pt x="2500" y="277"/>
                    </a:moveTo>
                    <a:cubicBezTo>
                      <a:pt x="2494" y="277"/>
                      <a:pt x="2488" y="282"/>
                      <a:pt x="2488" y="289"/>
                    </a:cubicBezTo>
                    <a:cubicBezTo>
                      <a:pt x="2488" y="296"/>
                      <a:pt x="2494" y="301"/>
                      <a:pt x="2500" y="301"/>
                    </a:cubicBezTo>
                    <a:cubicBezTo>
                      <a:pt x="2507" y="301"/>
                      <a:pt x="2513" y="296"/>
                      <a:pt x="2513" y="289"/>
                    </a:cubicBezTo>
                    <a:cubicBezTo>
                      <a:pt x="2513" y="282"/>
                      <a:pt x="2507" y="277"/>
                      <a:pt x="2500" y="277"/>
                    </a:cubicBezTo>
                    <a:close/>
                    <a:moveTo>
                      <a:pt x="2535" y="584"/>
                    </a:moveTo>
                    <a:cubicBezTo>
                      <a:pt x="2529" y="584"/>
                      <a:pt x="2523" y="590"/>
                      <a:pt x="2523" y="596"/>
                    </a:cubicBezTo>
                    <a:cubicBezTo>
                      <a:pt x="2523" y="603"/>
                      <a:pt x="2529" y="608"/>
                      <a:pt x="2535" y="608"/>
                    </a:cubicBezTo>
                    <a:cubicBezTo>
                      <a:pt x="2542" y="608"/>
                      <a:pt x="2548" y="603"/>
                      <a:pt x="2548" y="596"/>
                    </a:cubicBezTo>
                    <a:cubicBezTo>
                      <a:pt x="2548" y="590"/>
                      <a:pt x="2542" y="584"/>
                      <a:pt x="2535" y="584"/>
                    </a:cubicBezTo>
                    <a:close/>
                    <a:moveTo>
                      <a:pt x="2500" y="492"/>
                    </a:moveTo>
                    <a:cubicBezTo>
                      <a:pt x="2494" y="492"/>
                      <a:pt x="2488" y="497"/>
                      <a:pt x="2488" y="504"/>
                    </a:cubicBezTo>
                    <a:cubicBezTo>
                      <a:pt x="2488" y="511"/>
                      <a:pt x="2494" y="516"/>
                      <a:pt x="2500" y="516"/>
                    </a:cubicBezTo>
                    <a:cubicBezTo>
                      <a:pt x="2507" y="516"/>
                      <a:pt x="2513" y="511"/>
                      <a:pt x="2513" y="504"/>
                    </a:cubicBezTo>
                    <a:cubicBezTo>
                      <a:pt x="2513" y="497"/>
                      <a:pt x="2507" y="492"/>
                      <a:pt x="2500" y="492"/>
                    </a:cubicBezTo>
                    <a:close/>
                    <a:moveTo>
                      <a:pt x="2500" y="461"/>
                    </a:moveTo>
                    <a:cubicBezTo>
                      <a:pt x="2494" y="461"/>
                      <a:pt x="2488" y="467"/>
                      <a:pt x="2488" y="473"/>
                    </a:cubicBezTo>
                    <a:cubicBezTo>
                      <a:pt x="2488" y="480"/>
                      <a:pt x="2494" y="485"/>
                      <a:pt x="2500" y="485"/>
                    </a:cubicBezTo>
                    <a:cubicBezTo>
                      <a:pt x="2507" y="485"/>
                      <a:pt x="2513" y="480"/>
                      <a:pt x="2513" y="473"/>
                    </a:cubicBezTo>
                    <a:cubicBezTo>
                      <a:pt x="2513" y="467"/>
                      <a:pt x="2507" y="461"/>
                      <a:pt x="2500" y="461"/>
                    </a:cubicBezTo>
                    <a:close/>
                    <a:moveTo>
                      <a:pt x="2465" y="369"/>
                    </a:moveTo>
                    <a:cubicBezTo>
                      <a:pt x="2459" y="369"/>
                      <a:pt x="2453" y="374"/>
                      <a:pt x="2453" y="381"/>
                    </a:cubicBezTo>
                    <a:cubicBezTo>
                      <a:pt x="2453" y="388"/>
                      <a:pt x="2459" y="393"/>
                      <a:pt x="2465" y="393"/>
                    </a:cubicBezTo>
                    <a:cubicBezTo>
                      <a:pt x="2472" y="393"/>
                      <a:pt x="2477" y="388"/>
                      <a:pt x="2477" y="381"/>
                    </a:cubicBezTo>
                    <a:cubicBezTo>
                      <a:pt x="2477" y="374"/>
                      <a:pt x="2472" y="369"/>
                      <a:pt x="2465" y="369"/>
                    </a:cubicBezTo>
                    <a:close/>
                    <a:moveTo>
                      <a:pt x="2465" y="338"/>
                    </a:moveTo>
                    <a:cubicBezTo>
                      <a:pt x="2459" y="338"/>
                      <a:pt x="2453" y="344"/>
                      <a:pt x="2453" y="350"/>
                    </a:cubicBezTo>
                    <a:cubicBezTo>
                      <a:pt x="2453" y="357"/>
                      <a:pt x="2459" y="363"/>
                      <a:pt x="2465" y="363"/>
                    </a:cubicBezTo>
                    <a:cubicBezTo>
                      <a:pt x="2472" y="363"/>
                      <a:pt x="2477" y="357"/>
                      <a:pt x="2477" y="350"/>
                    </a:cubicBezTo>
                    <a:cubicBezTo>
                      <a:pt x="2477" y="344"/>
                      <a:pt x="2472" y="338"/>
                      <a:pt x="2465" y="338"/>
                    </a:cubicBezTo>
                    <a:close/>
                    <a:moveTo>
                      <a:pt x="2465" y="400"/>
                    </a:moveTo>
                    <a:cubicBezTo>
                      <a:pt x="2459" y="400"/>
                      <a:pt x="2453" y="405"/>
                      <a:pt x="2453" y="412"/>
                    </a:cubicBezTo>
                    <a:cubicBezTo>
                      <a:pt x="2453" y="419"/>
                      <a:pt x="2459" y="424"/>
                      <a:pt x="2465" y="424"/>
                    </a:cubicBezTo>
                    <a:cubicBezTo>
                      <a:pt x="2472" y="424"/>
                      <a:pt x="2477" y="419"/>
                      <a:pt x="2477" y="412"/>
                    </a:cubicBezTo>
                    <a:cubicBezTo>
                      <a:pt x="2477" y="405"/>
                      <a:pt x="2472" y="400"/>
                      <a:pt x="2465" y="400"/>
                    </a:cubicBezTo>
                    <a:close/>
                    <a:moveTo>
                      <a:pt x="2500" y="523"/>
                    </a:moveTo>
                    <a:cubicBezTo>
                      <a:pt x="2494" y="523"/>
                      <a:pt x="2488" y="528"/>
                      <a:pt x="2488" y="535"/>
                    </a:cubicBezTo>
                    <a:cubicBezTo>
                      <a:pt x="2488" y="542"/>
                      <a:pt x="2494" y="547"/>
                      <a:pt x="2500" y="547"/>
                    </a:cubicBezTo>
                    <a:cubicBezTo>
                      <a:pt x="2507" y="547"/>
                      <a:pt x="2513" y="542"/>
                      <a:pt x="2513" y="535"/>
                    </a:cubicBezTo>
                    <a:cubicBezTo>
                      <a:pt x="2513" y="528"/>
                      <a:pt x="2507" y="523"/>
                      <a:pt x="2500" y="523"/>
                    </a:cubicBezTo>
                    <a:close/>
                    <a:moveTo>
                      <a:pt x="2465" y="461"/>
                    </a:moveTo>
                    <a:cubicBezTo>
                      <a:pt x="2459" y="461"/>
                      <a:pt x="2453" y="467"/>
                      <a:pt x="2453" y="473"/>
                    </a:cubicBezTo>
                    <a:cubicBezTo>
                      <a:pt x="2453" y="480"/>
                      <a:pt x="2459" y="485"/>
                      <a:pt x="2465" y="485"/>
                    </a:cubicBezTo>
                    <a:cubicBezTo>
                      <a:pt x="2472" y="485"/>
                      <a:pt x="2477" y="480"/>
                      <a:pt x="2477" y="473"/>
                    </a:cubicBezTo>
                    <a:cubicBezTo>
                      <a:pt x="2477" y="467"/>
                      <a:pt x="2472" y="461"/>
                      <a:pt x="2465" y="461"/>
                    </a:cubicBezTo>
                    <a:close/>
                    <a:moveTo>
                      <a:pt x="2465" y="430"/>
                    </a:moveTo>
                    <a:cubicBezTo>
                      <a:pt x="2459" y="430"/>
                      <a:pt x="2453" y="436"/>
                      <a:pt x="2453" y="443"/>
                    </a:cubicBezTo>
                    <a:cubicBezTo>
                      <a:pt x="2453" y="449"/>
                      <a:pt x="2459" y="455"/>
                      <a:pt x="2465" y="455"/>
                    </a:cubicBezTo>
                    <a:cubicBezTo>
                      <a:pt x="2472" y="455"/>
                      <a:pt x="2477" y="449"/>
                      <a:pt x="2477" y="443"/>
                    </a:cubicBezTo>
                    <a:cubicBezTo>
                      <a:pt x="2477" y="436"/>
                      <a:pt x="2472" y="430"/>
                      <a:pt x="2465" y="430"/>
                    </a:cubicBezTo>
                    <a:close/>
                    <a:moveTo>
                      <a:pt x="2500" y="584"/>
                    </a:moveTo>
                    <a:cubicBezTo>
                      <a:pt x="2494" y="584"/>
                      <a:pt x="2488" y="590"/>
                      <a:pt x="2488" y="596"/>
                    </a:cubicBezTo>
                    <a:cubicBezTo>
                      <a:pt x="2488" y="603"/>
                      <a:pt x="2494" y="608"/>
                      <a:pt x="2500" y="608"/>
                    </a:cubicBezTo>
                    <a:cubicBezTo>
                      <a:pt x="2507" y="608"/>
                      <a:pt x="2513" y="603"/>
                      <a:pt x="2513" y="596"/>
                    </a:cubicBezTo>
                    <a:cubicBezTo>
                      <a:pt x="2513" y="590"/>
                      <a:pt x="2507" y="584"/>
                      <a:pt x="2500" y="584"/>
                    </a:cubicBezTo>
                    <a:close/>
                    <a:moveTo>
                      <a:pt x="2500" y="553"/>
                    </a:moveTo>
                    <a:cubicBezTo>
                      <a:pt x="2494" y="553"/>
                      <a:pt x="2488" y="559"/>
                      <a:pt x="2488" y="566"/>
                    </a:cubicBezTo>
                    <a:cubicBezTo>
                      <a:pt x="2488" y="572"/>
                      <a:pt x="2494" y="578"/>
                      <a:pt x="2500" y="578"/>
                    </a:cubicBezTo>
                    <a:cubicBezTo>
                      <a:pt x="2507" y="578"/>
                      <a:pt x="2513" y="572"/>
                      <a:pt x="2513" y="566"/>
                    </a:cubicBezTo>
                    <a:cubicBezTo>
                      <a:pt x="2513" y="559"/>
                      <a:pt x="2507" y="553"/>
                      <a:pt x="2500" y="553"/>
                    </a:cubicBezTo>
                    <a:close/>
                    <a:moveTo>
                      <a:pt x="2465" y="246"/>
                    </a:moveTo>
                    <a:cubicBezTo>
                      <a:pt x="2459" y="246"/>
                      <a:pt x="2453" y="251"/>
                      <a:pt x="2453" y="258"/>
                    </a:cubicBezTo>
                    <a:cubicBezTo>
                      <a:pt x="2453" y="265"/>
                      <a:pt x="2459" y="270"/>
                      <a:pt x="2465" y="270"/>
                    </a:cubicBezTo>
                    <a:cubicBezTo>
                      <a:pt x="2472" y="270"/>
                      <a:pt x="2477" y="265"/>
                      <a:pt x="2477" y="258"/>
                    </a:cubicBezTo>
                    <a:cubicBezTo>
                      <a:pt x="2477" y="251"/>
                      <a:pt x="2472" y="246"/>
                      <a:pt x="2465" y="246"/>
                    </a:cubicBezTo>
                    <a:close/>
                    <a:moveTo>
                      <a:pt x="2465" y="277"/>
                    </a:moveTo>
                    <a:cubicBezTo>
                      <a:pt x="2459" y="277"/>
                      <a:pt x="2453" y="282"/>
                      <a:pt x="2453" y="289"/>
                    </a:cubicBezTo>
                    <a:cubicBezTo>
                      <a:pt x="2453" y="296"/>
                      <a:pt x="2459" y="301"/>
                      <a:pt x="2465" y="301"/>
                    </a:cubicBezTo>
                    <a:cubicBezTo>
                      <a:pt x="2472" y="301"/>
                      <a:pt x="2477" y="296"/>
                      <a:pt x="2477" y="289"/>
                    </a:cubicBezTo>
                    <a:cubicBezTo>
                      <a:pt x="2477" y="282"/>
                      <a:pt x="2472" y="277"/>
                      <a:pt x="2465" y="277"/>
                    </a:cubicBezTo>
                    <a:close/>
                    <a:moveTo>
                      <a:pt x="2465" y="307"/>
                    </a:moveTo>
                    <a:cubicBezTo>
                      <a:pt x="2459" y="307"/>
                      <a:pt x="2453" y="313"/>
                      <a:pt x="2453" y="320"/>
                    </a:cubicBezTo>
                    <a:cubicBezTo>
                      <a:pt x="2453" y="326"/>
                      <a:pt x="2459" y="332"/>
                      <a:pt x="2465" y="332"/>
                    </a:cubicBezTo>
                    <a:cubicBezTo>
                      <a:pt x="2472" y="332"/>
                      <a:pt x="2477" y="326"/>
                      <a:pt x="2477" y="320"/>
                    </a:cubicBezTo>
                    <a:cubicBezTo>
                      <a:pt x="2477" y="313"/>
                      <a:pt x="2472" y="307"/>
                      <a:pt x="2465" y="307"/>
                    </a:cubicBezTo>
                    <a:close/>
                    <a:moveTo>
                      <a:pt x="2500" y="430"/>
                    </a:moveTo>
                    <a:cubicBezTo>
                      <a:pt x="2494" y="430"/>
                      <a:pt x="2488" y="436"/>
                      <a:pt x="2488" y="443"/>
                    </a:cubicBezTo>
                    <a:cubicBezTo>
                      <a:pt x="2488" y="449"/>
                      <a:pt x="2494" y="455"/>
                      <a:pt x="2500" y="455"/>
                    </a:cubicBezTo>
                    <a:cubicBezTo>
                      <a:pt x="2507" y="455"/>
                      <a:pt x="2513" y="449"/>
                      <a:pt x="2513" y="443"/>
                    </a:cubicBezTo>
                    <a:cubicBezTo>
                      <a:pt x="2513" y="436"/>
                      <a:pt x="2507" y="430"/>
                      <a:pt x="2500" y="430"/>
                    </a:cubicBezTo>
                    <a:close/>
                    <a:moveTo>
                      <a:pt x="2570" y="369"/>
                    </a:moveTo>
                    <a:cubicBezTo>
                      <a:pt x="2564" y="369"/>
                      <a:pt x="2558" y="374"/>
                      <a:pt x="2558" y="381"/>
                    </a:cubicBezTo>
                    <a:cubicBezTo>
                      <a:pt x="2558" y="388"/>
                      <a:pt x="2564" y="393"/>
                      <a:pt x="2570" y="393"/>
                    </a:cubicBezTo>
                    <a:cubicBezTo>
                      <a:pt x="2577" y="393"/>
                      <a:pt x="2583" y="388"/>
                      <a:pt x="2583" y="381"/>
                    </a:cubicBezTo>
                    <a:cubicBezTo>
                      <a:pt x="2583" y="374"/>
                      <a:pt x="2577" y="369"/>
                      <a:pt x="2570" y="369"/>
                    </a:cubicBezTo>
                    <a:close/>
                    <a:moveTo>
                      <a:pt x="2570" y="400"/>
                    </a:moveTo>
                    <a:cubicBezTo>
                      <a:pt x="2564" y="400"/>
                      <a:pt x="2558" y="405"/>
                      <a:pt x="2558" y="412"/>
                    </a:cubicBezTo>
                    <a:cubicBezTo>
                      <a:pt x="2558" y="419"/>
                      <a:pt x="2564" y="424"/>
                      <a:pt x="2570" y="424"/>
                    </a:cubicBezTo>
                    <a:cubicBezTo>
                      <a:pt x="2577" y="424"/>
                      <a:pt x="2583" y="419"/>
                      <a:pt x="2583" y="412"/>
                    </a:cubicBezTo>
                    <a:cubicBezTo>
                      <a:pt x="2583" y="405"/>
                      <a:pt x="2577" y="400"/>
                      <a:pt x="2570" y="400"/>
                    </a:cubicBezTo>
                    <a:close/>
                    <a:moveTo>
                      <a:pt x="2570" y="338"/>
                    </a:moveTo>
                    <a:cubicBezTo>
                      <a:pt x="2564" y="338"/>
                      <a:pt x="2558" y="344"/>
                      <a:pt x="2558" y="350"/>
                    </a:cubicBezTo>
                    <a:cubicBezTo>
                      <a:pt x="2558" y="357"/>
                      <a:pt x="2564" y="363"/>
                      <a:pt x="2570" y="363"/>
                    </a:cubicBezTo>
                    <a:cubicBezTo>
                      <a:pt x="2577" y="363"/>
                      <a:pt x="2583" y="357"/>
                      <a:pt x="2583" y="350"/>
                    </a:cubicBezTo>
                    <a:cubicBezTo>
                      <a:pt x="2583" y="344"/>
                      <a:pt x="2577" y="338"/>
                      <a:pt x="2570" y="338"/>
                    </a:cubicBezTo>
                    <a:close/>
                    <a:moveTo>
                      <a:pt x="2570" y="461"/>
                    </a:moveTo>
                    <a:cubicBezTo>
                      <a:pt x="2564" y="461"/>
                      <a:pt x="2558" y="467"/>
                      <a:pt x="2558" y="473"/>
                    </a:cubicBezTo>
                    <a:cubicBezTo>
                      <a:pt x="2558" y="480"/>
                      <a:pt x="2564" y="485"/>
                      <a:pt x="2570" y="485"/>
                    </a:cubicBezTo>
                    <a:cubicBezTo>
                      <a:pt x="2577" y="485"/>
                      <a:pt x="2583" y="480"/>
                      <a:pt x="2583" y="473"/>
                    </a:cubicBezTo>
                    <a:cubicBezTo>
                      <a:pt x="2583" y="467"/>
                      <a:pt x="2577" y="461"/>
                      <a:pt x="2570" y="461"/>
                    </a:cubicBezTo>
                    <a:close/>
                    <a:moveTo>
                      <a:pt x="2570" y="430"/>
                    </a:moveTo>
                    <a:cubicBezTo>
                      <a:pt x="2564" y="430"/>
                      <a:pt x="2558" y="436"/>
                      <a:pt x="2558" y="443"/>
                    </a:cubicBezTo>
                    <a:cubicBezTo>
                      <a:pt x="2558" y="449"/>
                      <a:pt x="2564" y="455"/>
                      <a:pt x="2570" y="455"/>
                    </a:cubicBezTo>
                    <a:cubicBezTo>
                      <a:pt x="2577" y="455"/>
                      <a:pt x="2583" y="449"/>
                      <a:pt x="2583" y="443"/>
                    </a:cubicBezTo>
                    <a:cubicBezTo>
                      <a:pt x="2583" y="436"/>
                      <a:pt x="2577" y="430"/>
                      <a:pt x="2570" y="430"/>
                    </a:cubicBezTo>
                    <a:close/>
                    <a:moveTo>
                      <a:pt x="2605" y="553"/>
                    </a:moveTo>
                    <a:cubicBezTo>
                      <a:pt x="2599" y="553"/>
                      <a:pt x="2593" y="559"/>
                      <a:pt x="2593" y="566"/>
                    </a:cubicBezTo>
                    <a:cubicBezTo>
                      <a:pt x="2593" y="572"/>
                      <a:pt x="2599" y="578"/>
                      <a:pt x="2605" y="578"/>
                    </a:cubicBezTo>
                    <a:cubicBezTo>
                      <a:pt x="2612" y="578"/>
                      <a:pt x="2618" y="572"/>
                      <a:pt x="2618" y="566"/>
                    </a:cubicBezTo>
                    <a:cubicBezTo>
                      <a:pt x="2618" y="559"/>
                      <a:pt x="2612" y="553"/>
                      <a:pt x="2605" y="553"/>
                    </a:cubicBezTo>
                    <a:close/>
                    <a:moveTo>
                      <a:pt x="2570" y="492"/>
                    </a:moveTo>
                    <a:cubicBezTo>
                      <a:pt x="2564" y="492"/>
                      <a:pt x="2558" y="497"/>
                      <a:pt x="2558" y="504"/>
                    </a:cubicBezTo>
                    <a:cubicBezTo>
                      <a:pt x="2558" y="511"/>
                      <a:pt x="2564" y="516"/>
                      <a:pt x="2570" y="516"/>
                    </a:cubicBezTo>
                    <a:cubicBezTo>
                      <a:pt x="2577" y="516"/>
                      <a:pt x="2583" y="511"/>
                      <a:pt x="2583" y="504"/>
                    </a:cubicBezTo>
                    <a:cubicBezTo>
                      <a:pt x="2583" y="497"/>
                      <a:pt x="2577" y="492"/>
                      <a:pt x="2570" y="492"/>
                    </a:cubicBezTo>
                    <a:close/>
                    <a:moveTo>
                      <a:pt x="2605" y="584"/>
                    </a:moveTo>
                    <a:cubicBezTo>
                      <a:pt x="2599" y="584"/>
                      <a:pt x="2593" y="590"/>
                      <a:pt x="2593" y="596"/>
                    </a:cubicBezTo>
                    <a:cubicBezTo>
                      <a:pt x="2593" y="603"/>
                      <a:pt x="2599" y="608"/>
                      <a:pt x="2605" y="608"/>
                    </a:cubicBezTo>
                    <a:cubicBezTo>
                      <a:pt x="2612" y="608"/>
                      <a:pt x="2618" y="603"/>
                      <a:pt x="2618" y="596"/>
                    </a:cubicBezTo>
                    <a:cubicBezTo>
                      <a:pt x="2618" y="590"/>
                      <a:pt x="2612" y="584"/>
                      <a:pt x="2605" y="584"/>
                    </a:cubicBezTo>
                    <a:close/>
                    <a:moveTo>
                      <a:pt x="2570" y="307"/>
                    </a:moveTo>
                    <a:cubicBezTo>
                      <a:pt x="2564" y="307"/>
                      <a:pt x="2558" y="313"/>
                      <a:pt x="2558" y="320"/>
                    </a:cubicBezTo>
                    <a:cubicBezTo>
                      <a:pt x="2558" y="326"/>
                      <a:pt x="2564" y="332"/>
                      <a:pt x="2570" y="332"/>
                    </a:cubicBezTo>
                    <a:cubicBezTo>
                      <a:pt x="2577" y="332"/>
                      <a:pt x="2583" y="326"/>
                      <a:pt x="2583" y="320"/>
                    </a:cubicBezTo>
                    <a:cubicBezTo>
                      <a:pt x="2583" y="313"/>
                      <a:pt x="2577" y="307"/>
                      <a:pt x="2570" y="307"/>
                    </a:cubicBezTo>
                    <a:close/>
                    <a:moveTo>
                      <a:pt x="2605" y="615"/>
                    </a:moveTo>
                    <a:cubicBezTo>
                      <a:pt x="2599" y="615"/>
                      <a:pt x="2593" y="620"/>
                      <a:pt x="2593" y="627"/>
                    </a:cubicBezTo>
                    <a:cubicBezTo>
                      <a:pt x="2593" y="634"/>
                      <a:pt x="2599" y="639"/>
                      <a:pt x="2605" y="639"/>
                    </a:cubicBezTo>
                    <a:cubicBezTo>
                      <a:pt x="2612" y="639"/>
                      <a:pt x="2618" y="634"/>
                      <a:pt x="2618" y="627"/>
                    </a:cubicBezTo>
                    <a:cubicBezTo>
                      <a:pt x="2618" y="620"/>
                      <a:pt x="2612" y="615"/>
                      <a:pt x="2605" y="615"/>
                    </a:cubicBezTo>
                    <a:close/>
                    <a:moveTo>
                      <a:pt x="2605" y="430"/>
                    </a:moveTo>
                    <a:cubicBezTo>
                      <a:pt x="2599" y="430"/>
                      <a:pt x="2593" y="436"/>
                      <a:pt x="2593" y="443"/>
                    </a:cubicBezTo>
                    <a:cubicBezTo>
                      <a:pt x="2593" y="449"/>
                      <a:pt x="2599" y="455"/>
                      <a:pt x="2605" y="455"/>
                    </a:cubicBezTo>
                    <a:cubicBezTo>
                      <a:pt x="2612" y="455"/>
                      <a:pt x="2618" y="449"/>
                      <a:pt x="2618" y="443"/>
                    </a:cubicBezTo>
                    <a:cubicBezTo>
                      <a:pt x="2618" y="436"/>
                      <a:pt x="2612" y="430"/>
                      <a:pt x="2605" y="430"/>
                    </a:cubicBezTo>
                    <a:close/>
                    <a:moveTo>
                      <a:pt x="2570" y="553"/>
                    </a:moveTo>
                    <a:cubicBezTo>
                      <a:pt x="2564" y="553"/>
                      <a:pt x="2558" y="559"/>
                      <a:pt x="2558" y="566"/>
                    </a:cubicBezTo>
                    <a:cubicBezTo>
                      <a:pt x="2558" y="572"/>
                      <a:pt x="2564" y="578"/>
                      <a:pt x="2570" y="578"/>
                    </a:cubicBezTo>
                    <a:cubicBezTo>
                      <a:pt x="2577" y="578"/>
                      <a:pt x="2583" y="572"/>
                      <a:pt x="2583" y="566"/>
                    </a:cubicBezTo>
                    <a:cubicBezTo>
                      <a:pt x="2583" y="559"/>
                      <a:pt x="2577" y="553"/>
                      <a:pt x="2570" y="553"/>
                    </a:cubicBezTo>
                    <a:close/>
                    <a:moveTo>
                      <a:pt x="2535" y="307"/>
                    </a:moveTo>
                    <a:cubicBezTo>
                      <a:pt x="2529" y="307"/>
                      <a:pt x="2523" y="313"/>
                      <a:pt x="2523" y="320"/>
                    </a:cubicBezTo>
                    <a:cubicBezTo>
                      <a:pt x="2523" y="326"/>
                      <a:pt x="2529" y="332"/>
                      <a:pt x="2535" y="332"/>
                    </a:cubicBezTo>
                    <a:cubicBezTo>
                      <a:pt x="2542" y="332"/>
                      <a:pt x="2548" y="326"/>
                      <a:pt x="2548" y="320"/>
                    </a:cubicBezTo>
                    <a:cubicBezTo>
                      <a:pt x="2548" y="313"/>
                      <a:pt x="2542" y="307"/>
                      <a:pt x="2535" y="307"/>
                    </a:cubicBezTo>
                    <a:close/>
                    <a:moveTo>
                      <a:pt x="2535" y="338"/>
                    </a:moveTo>
                    <a:cubicBezTo>
                      <a:pt x="2529" y="338"/>
                      <a:pt x="2523" y="344"/>
                      <a:pt x="2523" y="350"/>
                    </a:cubicBezTo>
                    <a:cubicBezTo>
                      <a:pt x="2523" y="357"/>
                      <a:pt x="2529" y="363"/>
                      <a:pt x="2535" y="363"/>
                    </a:cubicBezTo>
                    <a:cubicBezTo>
                      <a:pt x="2542" y="363"/>
                      <a:pt x="2548" y="357"/>
                      <a:pt x="2548" y="350"/>
                    </a:cubicBezTo>
                    <a:cubicBezTo>
                      <a:pt x="2548" y="344"/>
                      <a:pt x="2542" y="338"/>
                      <a:pt x="2535" y="338"/>
                    </a:cubicBezTo>
                    <a:close/>
                    <a:moveTo>
                      <a:pt x="2535" y="369"/>
                    </a:moveTo>
                    <a:cubicBezTo>
                      <a:pt x="2529" y="369"/>
                      <a:pt x="2523" y="374"/>
                      <a:pt x="2523" y="381"/>
                    </a:cubicBezTo>
                    <a:cubicBezTo>
                      <a:pt x="2523" y="388"/>
                      <a:pt x="2529" y="393"/>
                      <a:pt x="2535" y="393"/>
                    </a:cubicBezTo>
                    <a:cubicBezTo>
                      <a:pt x="2542" y="393"/>
                      <a:pt x="2548" y="388"/>
                      <a:pt x="2548" y="381"/>
                    </a:cubicBezTo>
                    <a:cubicBezTo>
                      <a:pt x="2548" y="374"/>
                      <a:pt x="2542" y="369"/>
                      <a:pt x="2535" y="369"/>
                    </a:cubicBezTo>
                    <a:close/>
                    <a:moveTo>
                      <a:pt x="2535" y="400"/>
                    </a:moveTo>
                    <a:cubicBezTo>
                      <a:pt x="2529" y="400"/>
                      <a:pt x="2523" y="405"/>
                      <a:pt x="2523" y="412"/>
                    </a:cubicBezTo>
                    <a:cubicBezTo>
                      <a:pt x="2523" y="419"/>
                      <a:pt x="2529" y="424"/>
                      <a:pt x="2535" y="424"/>
                    </a:cubicBezTo>
                    <a:cubicBezTo>
                      <a:pt x="2542" y="424"/>
                      <a:pt x="2548" y="419"/>
                      <a:pt x="2548" y="412"/>
                    </a:cubicBezTo>
                    <a:cubicBezTo>
                      <a:pt x="2548" y="405"/>
                      <a:pt x="2542" y="400"/>
                      <a:pt x="2535" y="400"/>
                    </a:cubicBezTo>
                    <a:close/>
                    <a:moveTo>
                      <a:pt x="2535" y="430"/>
                    </a:moveTo>
                    <a:cubicBezTo>
                      <a:pt x="2529" y="430"/>
                      <a:pt x="2523" y="436"/>
                      <a:pt x="2523" y="443"/>
                    </a:cubicBezTo>
                    <a:cubicBezTo>
                      <a:pt x="2523" y="449"/>
                      <a:pt x="2529" y="455"/>
                      <a:pt x="2535" y="455"/>
                    </a:cubicBezTo>
                    <a:cubicBezTo>
                      <a:pt x="2542" y="455"/>
                      <a:pt x="2548" y="449"/>
                      <a:pt x="2548" y="443"/>
                    </a:cubicBezTo>
                    <a:cubicBezTo>
                      <a:pt x="2548" y="436"/>
                      <a:pt x="2542" y="430"/>
                      <a:pt x="2535" y="430"/>
                    </a:cubicBezTo>
                    <a:close/>
                    <a:moveTo>
                      <a:pt x="2570" y="523"/>
                    </a:moveTo>
                    <a:cubicBezTo>
                      <a:pt x="2564" y="523"/>
                      <a:pt x="2558" y="528"/>
                      <a:pt x="2558" y="535"/>
                    </a:cubicBezTo>
                    <a:cubicBezTo>
                      <a:pt x="2558" y="542"/>
                      <a:pt x="2564" y="547"/>
                      <a:pt x="2570" y="547"/>
                    </a:cubicBezTo>
                    <a:cubicBezTo>
                      <a:pt x="2577" y="547"/>
                      <a:pt x="2583" y="542"/>
                      <a:pt x="2583" y="535"/>
                    </a:cubicBezTo>
                    <a:cubicBezTo>
                      <a:pt x="2583" y="528"/>
                      <a:pt x="2577" y="523"/>
                      <a:pt x="2570" y="523"/>
                    </a:cubicBezTo>
                    <a:close/>
                    <a:moveTo>
                      <a:pt x="2535" y="277"/>
                    </a:moveTo>
                    <a:cubicBezTo>
                      <a:pt x="2529" y="277"/>
                      <a:pt x="2523" y="282"/>
                      <a:pt x="2523" y="289"/>
                    </a:cubicBezTo>
                    <a:cubicBezTo>
                      <a:pt x="2523" y="296"/>
                      <a:pt x="2529" y="301"/>
                      <a:pt x="2535" y="301"/>
                    </a:cubicBezTo>
                    <a:cubicBezTo>
                      <a:pt x="2542" y="301"/>
                      <a:pt x="2548" y="296"/>
                      <a:pt x="2548" y="289"/>
                    </a:cubicBezTo>
                    <a:cubicBezTo>
                      <a:pt x="2548" y="282"/>
                      <a:pt x="2542" y="277"/>
                      <a:pt x="2535" y="277"/>
                    </a:cubicBezTo>
                    <a:close/>
                    <a:moveTo>
                      <a:pt x="2570" y="584"/>
                    </a:moveTo>
                    <a:cubicBezTo>
                      <a:pt x="2564" y="584"/>
                      <a:pt x="2558" y="590"/>
                      <a:pt x="2558" y="596"/>
                    </a:cubicBezTo>
                    <a:cubicBezTo>
                      <a:pt x="2558" y="603"/>
                      <a:pt x="2564" y="608"/>
                      <a:pt x="2570" y="608"/>
                    </a:cubicBezTo>
                    <a:cubicBezTo>
                      <a:pt x="2577" y="608"/>
                      <a:pt x="2583" y="603"/>
                      <a:pt x="2583" y="596"/>
                    </a:cubicBezTo>
                    <a:cubicBezTo>
                      <a:pt x="2583" y="590"/>
                      <a:pt x="2577" y="584"/>
                      <a:pt x="2570" y="584"/>
                    </a:cubicBezTo>
                    <a:close/>
                    <a:moveTo>
                      <a:pt x="2535" y="461"/>
                    </a:moveTo>
                    <a:cubicBezTo>
                      <a:pt x="2529" y="461"/>
                      <a:pt x="2523" y="467"/>
                      <a:pt x="2523" y="473"/>
                    </a:cubicBezTo>
                    <a:cubicBezTo>
                      <a:pt x="2523" y="480"/>
                      <a:pt x="2529" y="485"/>
                      <a:pt x="2535" y="485"/>
                    </a:cubicBezTo>
                    <a:cubicBezTo>
                      <a:pt x="2542" y="485"/>
                      <a:pt x="2548" y="480"/>
                      <a:pt x="2548" y="473"/>
                    </a:cubicBezTo>
                    <a:cubicBezTo>
                      <a:pt x="2548" y="467"/>
                      <a:pt x="2542" y="461"/>
                      <a:pt x="2535" y="461"/>
                    </a:cubicBezTo>
                    <a:close/>
                    <a:moveTo>
                      <a:pt x="2570" y="646"/>
                    </a:moveTo>
                    <a:cubicBezTo>
                      <a:pt x="2564" y="646"/>
                      <a:pt x="2558" y="651"/>
                      <a:pt x="2558" y="658"/>
                    </a:cubicBezTo>
                    <a:cubicBezTo>
                      <a:pt x="2558" y="664"/>
                      <a:pt x="2564" y="670"/>
                      <a:pt x="2570" y="670"/>
                    </a:cubicBezTo>
                    <a:cubicBezTo>
                      <a:pt x="2577" y="670"/>
                      <a:pt x="2583" y="664"/>
                      <a:pt x="2583" y="658"/>
                    </a:cubicBezTo>
                    <a:cubicBezTo>
                      <a:pt x="2583" y="651"/>
                      <a:pt x="2577" y="646"/>
                      <a:pt x="2570" y="646"/>
                    </a:cubicBezTo>
                    <a:close/>
                    <a:moveTo>
                      <a:pt x="2570" y="615"/>
                    </a:moveTo>
                    <a:cubicBezTo>
                      <a:pt x="2564" y="615"/>
                      <a:pt x="2558" y="620"/>
                      <a:pt x="2558" y="627"/>
                    </a:cubicBezTo>
                    <a:cubicBezTo>
                      <a:pt x="2558" y="634"/>
                      <a:pt x="2564" y="639"/>
                      <a:pt x="2570" y="639"/>
                    </a:cubicBezTo>
                    <a:cubicBezTo>
                      <a:pt x="2577" y="639"/>
                      <a:pt x="2583" y="634"/>
                      <a:pt x="2583" y="627"/>
                    </a:cubicBezTo>
                    <a:cubicBezTo>
                      <a:pt x="2583" y="620"/>
                      <a:pt x="2577" y="615"/>
                      <a:pt x="2570" y="615"/>
                    </a:cubicBezTo>
                    <a:close/>
                    <a:moveTo>
                      <a:pt x="2570" y="277"/>
                    </a:moveTo>
                    <a:cubicBezTo>
                      <a:pt x="2564" y="277"/>
                      <a:pt x="2558" y="282"/>
                      <a:pt x="2558" y="289"/>
                    </a:cubicBezTo>
                    <a:cubicBezTo>
                      <a:pt x="2558" y="296"/>
                      <a:pt x="2564" y="301"/>
                      <a:pt x="2570" y="301"/>
                    </a:cubicBezTo>
                    <a:cubicBezTo>
                      <a:pt x="2577" y="301"/>
                      <a:pt x="2583" y="296"/>
                      <a:pt x="2583" y="289"/>
                    </a:cubicBezTo>
                    <a:cubicBezTo>
                      <a:pt x="2583" y="282"/>
                      <a:pt x="2577" y="277"/>
                      <a:pt x="2570" y="277"/>
                    </a:cubicBezTo>
                    <a:close/>
                    <a:moveTo>
                      <a:pt x="2325" y="246"/>
                    </a:moveTo>
                    <a:cubicBezTo>
                      <a:pt x="2318" y="246"/>
                      <a:pt x="2313" y="251"/>
                      <a:pt x="2313" y="258"/>
                    </a:cubicBezTo>
                    <a:cubicBezTo>
                      <a:pt x="2313" y="265"/>
                      <a:pt x="2318" y="270"/>
                      <a:pt x="2325" y="270"/>
                    </a:cubicBezTo>
                    <a:cubicBezTo>
                      <a:pt x="2332" y="270"/>
                      <a:pt x="2337" y="265"/>
                      <a:pt x="2337" y="258"/>
                    </a:cubicBezTo>
                    <a:cubicBezTo>
                      <a:pt x="2337" y="251"/>
                      <a:pt x="2332" y="246"/>
                      <a:pt x="2325" y="246"/>
                    </a:cubicBezTo>
                    <a:close/>
                    <a:moveTo>
                      <a:pt x="2325" y="277"/>
                    </a:moveTo>
                    <a:cubicBezTo>
                      <a:pt x="2318" y="277"/>
                      <a:pt x="2313" y="282"/>
                      <a:pt x="2313" y="289"/>
                    </a:cubicBezTo>
                    <a:cubicBezTo>
                      <a:pt x="2313" y="296"/>
                      <a:pt x="2318" y="301"/>
                      <a:pt x="2325" y="301"/>
                    </a:cubicBezTo>
                    <a:cubicBezTo>
                      <a:pt x="2332" y="301"/>
                      <a:pt x="2337" y="296"/>
                      <a:pt x="2337" y="289"/>
                    </a:cubicBezTo>
                    <a:cubicBezTo>
                      <a:pt x="2337" y="282"/>
                      <a:pt x="2332" y="277"/>
                      <a:pt x="2325" y="277"/>
                    </a:cubicBezTo>
                    <a:close/>
                    <a:moveTo>
                      <a:pt x="2360" y="584"/>
                    </a:moveTo>
                    <a:cubicBezTo>
                      <a:pt x="2353" y="584"/>
                      <a:pt x="2348" y="590"/>
                      <a:pt x="2348" y="596"/>
                    </a:cubicBezTo>
                    <a:cubicBezTo>
                      <a:pt x="2348" y="603"/>
                      <a:pt x="2353" y="608"/>
                      <a:pt x="2360" y="608"/>
                    </a:cubicBezTo>
                    <a:cubicBezTo>
                      <a:pt x="2367" y="608"/>
                      <a:pt x="2372" y="603"/>
                      <a:pt x="2372" y="596"/>
                    </a:cubicBezTo>
                    <a:cubicBezTo>
                      <a:pt x="2372" y="590"/>
                      <a:pt x="2367" y="584"/>
                      <a:pt x="2360" y="584"/>
                    </a:cubicBezTo>
                    <a:close/>
                    <a:moveTo>
                      <a:pt x="2360" y="615"/>
                    </a:moveTo>
                    <a:cubicBezTo>
                      <a:pt x="2353" y="615"/>
                      <a:pt x="2348" y="620"/>
                      <a:pt x="2348" y="627"/>
                    </a:cubicBezTo>
                    <a:cubicBezTo>
                      <a:pt x="2348" y="634"/>
                      <a:pt x="2353" y="639"/>
                      <a:pt x="2360" y="639"/>
                    </a:cubicBezTo>
                    <a:cubicBezTo>
                      <a:pt x="2367" y="639"/>
                      <a:pt x="2372" y="634"/>
                      <a:pt x="2372" y="627"/>
                    </a:cubicBezTo>
                    <a:cubicBezTo>
                      <a:pt x="2372" y="620"/>
                      <a:pt x="2367" y="615"/>
                      <a:pt x="2360" y="615"/>
                    </a:cubicBezTo>
                    <a:close/>
                    <a:moveTo>
                      <a:pt x="2325" y="307"/>
                    </a:moveTo>
                    <a:cubicBezTo>
                      <a:pt x="2318" y="307"/>
                      <a:pt x="2313" y="313"/>
                      <a:pt x="2313" y="320"/>
                    </a:cubicBezTo>
                    <a:cubicBezTo>
                      <a:pt x="2313" y="326"/>
                      <a:pt x="2318" y="332"/>
                      <a:pt x="2325" y="332"/>
                    </a:cubicBezTo>
                    <a:cubicBezTo>
                      <a:pt x="2332" y="332"/>
                      <a:pt x="2337" y="326"/>
                      <a:pt x="2337" y="320"/>
                    </a:cubicBezTo>
                    <a:cubicBezTo>
                      <a:pt x="2337" y="313"/>
                      <a:pt x="2332" y="307"/>
                      <a:pt x="2325" y="307"/>
                    </a:cubicBezTo>
                    <a:close/>
                    <a:moveTo>
                      <a:pt x="2325" y="338"/>
                    </a:moveTo>
                    <a:cubicBezTo>
                      <a:pt x="2318" y="338"/>
                      <a:pt x="2313" y="344"/>
                      <a:pt x="2313" y="350"/>
                    </a:cubicBezTo>
                    <a:cubicBezTo>
                      <a:pt x="2313" y="357"/>
                      <a:pt x="2318" y="363"/>
                      <a:pt x="2325" y="363"/>
                    </a:cubicBezTo>
                    <a:cubicBezTo>
                      <a:pt x="2332" y="363"/>
                      <a:pt x="2337" y="357"/>
                      <a:pt x="2337" y="350"/>
                    </a:cubicBezTo>
                    <a:cubicBezTo>
                      <a:pt x="2337" y="344"/>
                      <a:pt x="2332" y="338"/>
                      <a:pt x="2325" y="338"/>
                    </a:cubicBezTo>
                    <a:close/>
                    <a:moveTo>
                      <a:pt x="2325" y="369"/>
                    </a:moveTo>
                    <a:cubicBezTo>
                      <a:pt x="2318" y="369"/>
                      <a:pt x="2313" y="374"/>
                      <a:pt x="2313" y="381"/>
                    </a:cubicBezTo>
                    <a:cubicBezTo>
                      <a:pt x="2313" y="388"/>
                      <a:pt x="2318" y="393"/>
                      <a:pt x="2325" y="393"/>
                    </a:cubicBezTo>
                    <a:cubicBezTo>
                      <a:pt x="2332" y="393"/>
                      <a:pt x="2337" y="388"/>
                      <a:pt x="2337" y="381"/>
                    </a:cubicBezTo>
                    <a:cubicBezTo>
                      <a:pt x="2337" y="374"/>
                      <a:pt x="2332" y="369"/>
                      <a:pt x="2325" y="369"/>
                    </a:cubicBezTo>
                    <a:close/>
                    <a:moveTo>
                      <a:pt x="2360" y="369"/>
                    </a:moveTo>
                    <a:cubicBezTo>
                      <a:pt x="2353" y="369"/>
                      <a:pt x="2348" y="374"/>
                      <a:pt x="2348" y="381"/>
                    </a:cubicBezTo>
                    <a:cubicBezTo>
                      <a:pt x="2348" y="388"/>
                      <a:pt x="2353" y="393"/>
                      <a:pt x="2360" y="393"/>
                    </a:cubicBezTo>
                    <a:cubicBezTo>
                      <a:pt x="2367" y="393"/>
                      <a:pt x="2372" y="388"/>
                      <a:pt x="2372" y="381"/>
                    </a:cubicBezTo>
                    <a:cubicBezTo>
                      <a:pt x="2372" y="374"/>
                      <a:pt x="2367" y="369"/>
                      <a:pt x="2360" y="369"/>
                    </a:cubicBezTo>
                    <a:close/>
                    <a:moveTo>
                      <a:pt x="2360" y="400"/>
                    </a:moveTo>
                    <a:cubicBezTo>
                      <a:pt x="2353" y="400"/>
                      <a:pt x="2348" y="405"/>
                      <a:pt x="2348" y="412"/>
                    </a:cubicBezTo>
                    <a:cubicBezTo>
                      <a:pt x="2348" y="419"/>
                      <a:pt x="2353" y="424"/>
                      <a:pt x="2360" y="424"/>
                    </a:cubicBezTo>
                    <a:cubicBezTo>
                      <a:pt x="2367" y="424"/>
                      <a:pt x="2372" y="419"/>
                      <a:pt x="2372" y="412"/>
                    </a:cubicBezTo>
                    <a:cubicBezTo>
                      <a:pt x="2372" y="405"/>
                      <a:pt x="2367" y="400"/>
                      <a:pt x="2360" y="400"/>
                    </a:cubicBezTo>
                    <a:close/>
                    <a:moveTo>
                      <a:pt x="2360" y="461"/>
                    </a:moveTo>
                    <a:cubicBezTo>
                      <a:pt x="2353" y="461"/>
                      <a:pt x="2348" y="467"/>
                      <a:pt x="2348" y="473"/>
                    </a:cubicBezTo>
                    <a:cubicBezTo>
                      <a:pt x="2348" y="480"/>
                      <a:pt x="2353" y="485"/>
                      <a:pt x="2360" y="485"/>
                    </a:cubicBezTo>
                    <a:cubicBezTo>
                      <a:pt x="2367" y="485"/>
                      <a:pt x="2372" y="480"/>
                      <a:pt x="2372" y="473"/>
                    </a:cubicBezTo>
                    <a:cubicBezTo>
                      <a:pt x="2372" y="467"/>
                      <a:pt x="2367" y="461"/>
                      <a:pt x="2360" y="461"/>
                    </a:cubicBezTo>
                    <a:close/>
                    <a:moveTo>
                      <a:pt x="2360" y="492"/>
                    </a:moveTo>
                    <a:cubicBezTo>
                      <a:pt x="2353" y="492"/>
                      <a:pt x="2348" y="497"/>
                      <a:pt x="2348" y="504"/>
                    </a:cubicBezTo>
                    <a:cubicBezTo>
                      <a:pt x="2348" y="511"/>
                      <a:pt x="2353" y="516"/>
                      <a:pt x="2360" y="516"/>
                    </a:cubicBezTo>
                    <a:cubicBezTo>
                      <a:pt x="2367" y="516"/>
                      <a:pt x="2372" y="511"/>
                      <a:pt x="2372" y="504"/>
                    </a:cubicBezTo>
                    <a:cubicBezTo>
                      <a:pt x="2372" y="497"/>
                      <a:pt x="2367" y="492"/>
                      <a:pt x="2360" y="492"/>
                    </a:cubicBezTo>
                    <a:close/>
                    <a:moveTo>
                      <a:pt x="2360" y="430"/>
                    </a:moveTo>
                    <a:cubicBezTo>
                      <a:pt x="2353" y="430"/>
                      <a:pt x="2348" y="436"/>
                      <a:pt x="2348" y="443"/>
                    </a:cubicBezTo>
                    <a:cubicBezTo>
                      <a:pt x="2348" y="449"/>
                      <a:pt x="2353" y="455"/>
                      <a:pt x="2360" y="455"/>
                    </a:cubicBezTo>
                    <a:cubicBezTo>
                      <a:pt x="2367" y="455"/>
                      <a:pt x="2372" y="449"/>
                      <a:pt x="2372" y="443"/>
                    </a:cubicBezTo>
                    <a:cubicBezTo>
                      <a:pt x="2372" y="436"/>
                      <a:pt x="2367" y="430"/>
                      <a:pt x="2360" y="430"/>
                    </a:cubicBezTo>
                    <a:close/>
                    <a:moveTo>
                      <a:pt x="2360" y="338"/>
                    </a:moveTo>
                    <a:cubicBezTo>
                      <a:pt x="2353" y="338"/>
                      <a:pt x="2348" y="344"/>
                      <a:pt x="2348" y="350"/>
                    </a:cubicBezTo>
                    <a:cubicBezTo>
                      <a:pt x="2348" y="357"/>
                      <a:pt x="2353" y="363"/>
                      <a:pt x="2360" y="363"/>
                    </a:cubicBezTo>
                    <a:cubicBezTo>
                      <a:pt x="2367" y="363"/>
                      <a:pt x="2372" y="357"/>
                      <a:pt x="2372" y="350"/>
                    </a:cubicBezTo>
                    <a:cubicBezTo>
                      <a:pt x="2372" y="344"/>
                      <a:pt x="2367" y="338"/>
                      <a:pt x="2360" y="338"/>
                    </a:cubicBezTo>
                    <a:close/>
                    <a:moveTo>
                      <a:pt x="2290" y="184"/>
                    </a:moveTo>
                    <a:cubicBezTo>
                      <a:pt x="2283" y="184"/>
                      <a:pt x="2278" y="190"/>
                      <a:pt x="2278" y="197"/>
                    </a:cubicBezTo>
                    <a:cubicBezTo>
                      <a:pt x="2278" y="203"/>
                      <a:pt x="2283" y="209"/>
                      <a:pt x="2290" y="209"/>
                    </a:cubicBezTo>
                    <a:cubicBezTo>
                      <a:pt x="2297" y="209"/>
                      <a:pt x="2302" y="203"/>
                      <a:pt x="2302" y="197"/>
                    </a:cubicBezTo>
                    <a:cubicBezTo>
                      <a:pt x="2302" y="190"/>
                      <a:pt x="2297" y="184"/>
                      <a:pt x="2290" y="184"/>
                    </a:cubicBezTo>
                    <a:close/>
                    <a:moveTo>
                      <a:pt x="2325" y="615"/>
                    </a:moveTo>
                    <a:cubicBezTo>
                      <a:pt x="2318" y="615"/>
                      <a:pt x="2313" y="620"/>
                      <a:pt x="2313" y="627"/>
                    </a:cubicBezTo>
                    <a:cubicBezTo>
                      <a:pt x="2313" y="634"/>
                      <a:pt x="2318" y="639"/>
                      <a:pt x="2325" y="639"/>
                    </a:cubicBezTo>
                    <a:cubicBezTo>
                      <a:pt x="2332" y="639"/>
                      <a:pt x="2337" y="634"/>
                      <a:pt x="2337" y="627"/>
                    </a:cubicBezTo>
                    <a:cubicBezTo>
                      <a:pt x="2337" y="620"/>
                      <a:pt x="2332" y="615"/>
                      <a:pt x="2325" y="615"/>
                    </a:cubicBezTo>
                    <a:close/>
                    <a:moveTo>
                      <a:pt x="2290" y="277"/>
                    </a:moveTo>
                    <a:cubicBezTo>
                      <a:pt x="2283" y="277"/>
                      <a:pt x="2278" y="282"/>
                      <a:pt x="2278" y="289"/>
                    </a:cubicBezTo>
                    <a:cubicBezTo>
                      <a:pt x="2278" y="296"/>
                      <a:pt x="2283" y="301"/>
                      <a:pt x="2290" y="301"/>
                    </a:cubicBezTo>
                    <a:cubicBezTo>
                      <a:pt x="2297" y="301"/>
                      <a:pt x="2302" y="296"/>
                      <a:pt x="2302" y="289"/>
                    </a:cubicBezTo>
                    <a:cubicBezTo>
                      <a:pt x="2302" y="282"/>
                      <a:pt x="2297" y="277"/>
                      <a:pt x="2290" y="277"/>
                    </a:cubicBezTo>
                    <a:close/>
                    <a:moveTo>
                      <a:pt x="2290" y="246"/>
                    </a:moveTo>
                    <a:cubicBezTo>
                      <a:pt x="2283" y="246"/>
                      <a:pt x="2278" y="251"/>
                      <a:pt x="2278" y="258"/>
                    </a:cubicBezTo>
                    <a:cubicBezTo>
                      <a:pt x="2278" y="265"/>
                      <a:pt x="2283" y="270"/>
                      <a:pt x="2290" y="270"/>
                    </a:cubicBezTo>
                    <a:cubicBezTo>
                      <a:pt x="2297" y="270"/>
                      <a:pt x="2302" y="265"/>
                      <a:pt x="2302" y="258"/>
                    </a:cubicBezTo>
                    <a:cubicBezTo>
                      <a:pt x="2302" y="251"/>
                      <a:pt x="2297" y="246"/>
                      <a:pt x="2290" y="246"/>
                    </a:cubicBezTo>
                    <a:close/>
                    <a:moveTo>
                      <a:pt x="2325" y="584"/>
                    </a:moveTo>
                    <a:cubicBezTo>
                      <a:pt x="2318" y="584"/>
                      <a:pt x="2313" y="590"/>
                      <a:pt x="2313" y="596"/>
                    </a:cubicBezTo>
                    <a:cubicBezTo>
                      <a:pt x="2313" y="603"/>
                      <a:pt x="2318" y="608"/>
                      <a:pt x="2325" y="608"/>
                    </a:cubicBezTo>
                    <a:cubicBezTo>
                      <a:pt x="2332" y="608"/>
                      <a:pt x="2337" y="603"/>
                      <a:pt x="2337" y="596"/>
                    </a:cubicBezTo>
                    <a:cubicBezTo>
                      <a:pt x="2337" y="590"/>
                      <a:pt x="2332" y="584"/>
                      <a:pt x="2325" y="584"/>
                    </a:cubicBezTo>
                    <a:close/>
                    <a:moveTo>
                      <a:pt x="2325" y="553"/>
                    </a:moveTo>
                    <a:cubicBezTo>
                      <a:pt x="2318" y="553"/>
                      <a:pt x="2313" y="559"/>
                      <a:pt x="2313" y="566"/>
                    </a:cubicBezTo>
                    <a:cubicBezTo>
                      <a:pt x="2313" y="572"/>
                      <a:pt x="2318" y="578"/>
                      <a:pt x="2325" y="578"/>
                    </a:cubicBezTo>
                    <a:cubicBezTo>
                      <a:pt x="2332" y="578"/>
                      <a:pt x="2337" y="572"/>
                      <a:pt x="2337" y="566"/>
                    </a:cubicBezTo>
                    <a:cubicBezTo>
                      <a:pt x="2337" y="559"/>
                      <a:pt x="2332" y="553"/>
                      <a:pt x="2325" y="553"/>
                    </a:cubicBezTo>
                    <a:close/>
                    <a:moveTo>
                      <a:pt x="2325" y="430"/>
                    </a:moveTo>
                    <a:cubicBezTo>
                      <a:pt x="2318" y="430"/>
                      <a:pt x="2313" y="436"/>
                      <a:pt x="2313" y="443"/>
                    </a:cubicBezTo>
                    <a:cubicBezTo>
                      <a:pt x="2313" y="449"/>
                      <a:pt x="2318" y="455"/>
                      <a:pt x="2325" y="455"/>
                    </a:cubicBezTo>
                    <a:cubicBezTo>
                      <a:pt x="2332" y="455"/>
                      <a:pt x="2337" y="449"/>
                      <a:pt x="2337" y="443"/>
                    </a:cubicBezTo>
                    <a:cubicBezTo>
                      <a:pt x="2337" y="436"/>
                      <a:pt x="2332" y="430"/>
                      <a:pt x="2325" y="430"/>
                    </a:cubicBezTo>
                    <a:close/>
                    <a:moveTo>
                      <a:pt x="2325" y="461"/>
                    </a:moveTo>
                    <a:cubicBezTo>
                      <a:pt x="2318" y="461"/>
                      <a:pt x="2313" y="467"/>
                      <a:pt x="2313" y="473"/>
                    </a:cubicBezTo>
                    <a:cubicBezTo>
                      <a:pt x="2313" y="480"/>
                      <a:pt x="2318" y="485"/>
                      <a:pt x="2325" y="485"/>
                    </a:cubicBezTo>
                    <a:cubicBezTo>
                      <a:pt x="2332" y="485"/>
                      <a:pt x="2337" y="480"/>
                      <a:pt x="2337" y="473"/>
                    </a:cubicBezTo>
                    <a:cubicBezTo>
                      <a:pt x="2337" y="467"/>
                      <a:pt x="2332" y="461"/>
                      <a:pt x="2325" y="461"/>
                    </a:cubicBezTo>
                    <a:close/>
                    <a:moveTo>
                      <a:pt x="2325" y="523"/>
                    </a:moveTo>
                    <a:cubicBezTo>
                      <a:pt x="2318" y="523"/>
                      <a:pt x="2313" y="528"/>
                      <a:pt x="2313" y="535"/>
                    </a:cubicBezTo>
                    <a:cubicBezTo>
                      <a:pt x="2313" y="542"/>
                      <a:pt x="2318" y="547"/>
                      <a:pt x="2325" y="547"/>
                    </a:cubicBezTo>
                    <a:cubicBezTo>
                      <a:pt x="2332" y="547"/>
                      <a:pt x="2337" y="542"/>
                      <a:pt x="2337" y="535"/>
                    </a:cubicBezTo>
                    <a:cubicBezTo>
                      <a:pt x="2337" y="528"/>
                      <a:pt x="2332" y="523"/>
                      <a:pt x="2325" y="523"/>
                    </a:cubicBezTo>
                    <a:close/>
                    <a:moveTo>
                      <a:pt x="2325" y="400"/>
                    </a:moveTo>
                    <a:cubicBezTo>
                      <a:pt x="2318" y="400"/>
                      <a:pt x="2313" y="405"/>
                      <a:pt x="2313" y="412"/>
                    </a:cubicBezTo>
                    <a:cubicBezTo>
                      <a:pt x="2313" y="419"/>
                      <a:pt x="2318" y="424"/>
                      <a:pt x="2325" y="424"/>
                    </a:cubicBezTo>
                    <a:cubicBezTo>
                      <a:pt x="2332" y="424"/>
                      <a:pt x="2337" y="419"/>
                      <a:pt x="2337" y="412"/>
                    </a:cubicBezTo>
                    <a:cubicBezTo>
                      <a:pt x="2337" y="405"/>
                      <a:pt x="2332" y="400"/>
                      <a:pt x="2325" y="400"/>
                    </a:cubicBezTo>
                    <a:close/>
                    <a:moveTo>
                      <a:pt x="2325" y="492"/>
                    </a:moveTo>
                    <a:cubicBezTo>
                      <a:pt x="2318" y="492"/>
                      <a:pt x="2313" y="497"/>
                      <a:pt x="2313" y="504"/>
                    </a:cubicBezTo>
                    <a:cubicBezTo>
                      <a:pt x="2313" y="511"/>
                      <a:pt x="2318" y="516"/>
                      <a:pt x="2325" y="516"/>
                    </a:cubicBezTo>
                    <a:cubicBezTo>
                      <a:pt x="2332" y="516"/>
                      <a:pt x="2337" y="511"/>
                      <a:pt x="2337" y="504"/>
                    </a:cubicBezTo>
                    <a:cubicBezTo>
                      <a:pt x="2337" y="497"/>
                      <a:pt x="2332" y="492"/>
                      <a:pt x="2325" y="492"/>
                    </a:cubicBezTo>
                    <a:close/>
                    <a:moveTo>
                      <a:pt x="2430" y="277"/>
                    </a:moveTo>
                    <a:cubicBezTo>
                      <a:pt x="2424" y="277"/>
                      <a:pt x="2418" y="282"/>
                      <a:pt x="2418" y="289"/>
                    </a:cubicBezTo>
                    <a:cubicBezTo>
                      <a:pt x="2418" y="296"/>
                      <a:pt x="2424" y="301"/>
                      <a:pt x="2430" y="301"/>
                    </a:cubicBezTo>
                    <a:cubicBezTo>
                      <a:pt x="2437" y="301"/>
                      <a:pt x="2442" y="296"/>
                      <a:pt x="2442" y="289"/>
                    </a:cubicBezTo>
                    <a:cubicBezTo>
                      <a:pt x="2442" y="282"/>
                      <a:pt x="2437" y="277"/>
                      <a:pt x="2430" y="277"/>
                    </a:cubicBezTo>
                    <a:close/>
                    <a:moveTo>
                      <a:pt x="2430" y="430"/>
                    </a:moveTo>
                    <a:cubicBezTo>
                      <a:pt x="2424" y="430"/>
                      <a:pt x="2418" y="436"/>
                      <a:pt x="2418" y="443"/>
                    </a:cubicBezTo>
                    <a:cubicBezTo>
                      <a:pt x="2418" y="449"/>
                      <a:pt x="2424" y="455"/>
                      <a:pt x="2430" y="455"/>
                    </a:cubicBezTo>
                    <a:cubicBezTo>
                      <a:pt x="2437" y="455"/>
                      <a:pt x="2442" y="449"/>
                      <a:pt x="2442" y="443"/>
                    </a:cubicBezTo>
                    <a:cubicBezTo>
                      <a:pt x="2442" y="436"/>
                      <a:pt x="2437" y="430"/>
                      <a:pt x="2430" y="430"/>
                    </a:cubicBezTo>
                    <a:close/>
                    <a:moveTo>
                      <a:pt x="2430" y="400"/>
                    </a:moveTo>
                    <a:cubicBezTo>
                      <a:pt x="2424" y="400"/>
                      <a:pt x="2418" y="405"/>
                      <a:pt x="2418" y="412"/>
                    </a:cubicBezTo>
                    <a:cubicBezTo>
                      <a:pt x="2418" y="419"/>
                      <a:pt x="2424" y="424"/>
                      <a:pt x="2430" y="424"/>
                    </a:cubicBezTo>
                    <a:cubicBezTo>
                      <a:pt x="2437" y="424"/>
                      <a:pt x="2442" y="419"/>
                      <a:pt x="2442" y="412"/>
                    </a:cubicBezTo>
                    <a:cubicBezTo>
                      <a:pt x="2442" y="405"/>
                      <a:pt x="2437" y="400"/>
                      <a:pt x="2430" y="400"/>
                    </a:cubicBezTo>
                    <a:close/>
                    <a:moveTo>
                      <a:pt x="2430" y="461"/>
                    </a:moveTo>
                    <a:cubicBezTo>
                      <a:pt x="2424" y="461"/>
                      <a:pt x="2418" y="467"/>
                      <a:pt x="2418" y="473"/>
                    </a:cubicBezTo>
                    <a:cubicBezTo>
                      <a:pt x="2418" y="480"/>
                      <a:pt x="2424" y="485"/>
                      <a:pt x="2430" y="485"/>
                    </a:cubicBezTo>
                    <a:cubicBezTo>
                      <a:pt x="2437" y="485"/>
                      <a:pt x="2442" y="480"/>
                      <a:pt x="2442" y="473"/>
                    </a:cubicBezTo>
                    <a:cubicBezTo>
                      <a:pt x="2442" y="467"/>
                      <a:pt x="2437" y="461"/>
                      <a:pt x="2430" y="461"/>
                    </a:cubicBezTo>
                    <a:close/>
                    <a:moveTo>
                      <a:pt x="2430" y="492"/>
                    </a:moveTo>
                    <a:cubicBezTo>
                      <a:pt x="2424" y="492"/>
                      <a:pt x="2418" y="497"/>
                      <a:pt x="2418" y="504"/>
                    </a:cubicBezTo>
                    <a:cubicBezTo>
                      <a:pt x="2418" y="511"/>
                      <a:pt x="2424" y="516"/>
                      <a:pt x="2430" y="516"/>
                    </a:cubicBezTo>
                    <a:cubicBezTo>
                      <a:pt x="2437" y="516"/>
                      <a:pt x="2442" y="511"/>
                      <a:pt x="2442" y="504"/>
                    </a:cubicBezTo>
                    <a:cubicBezTo>
                      <a:pt x="2442" y="497"/>
                      <a:pt x="2437" y="492"/>
                      <a:pt x="2430" y="492"/>
                    </a:cubicBezTo>
                    <a:close/>
                    <a:moveTo>
                      <a:pt x="2430" y="369"/>
                    </a:moveTo>
                    <a:cubicBezTo>
                      <a:pt x="2424" y="369"/>
                      <a:pt x="2418" y="374"/>
                      <a:pt x="2418" y="381"/>
                    </a:cubicBezTo>
                    <a:cubicBezTo>
                      <a:pt x="2418" y="388"/>
                      <a:pt x="2424" y="393"/>
                      <a:pt x="2430" y="393"/>
                    </a:cubicBezTo>
                    <a:cubicBezTo>
                      <a:pt x="2437" y="393"/>
                      <a:pt x="2442" y="388"/>
                      <a:pt x="2442" y="381"/>
                    </a:cubicBezTo>
                    <a:cubicBezTo>
                      <a:pt x="2442" y="374"/>
                      <a:pt x="2437" y="369"/>
                      <a:pt x="2430" y="369"/>
                    </a:cubicBezTo>
                    <a:close/>
                    <a:moveTo>
                      <a:pt x="2430" y="246"/>
                    </a:moveTo>
                    <a:cubicBezTo>
                      <a:pt x="2424" y="246"/>
                      <a:pt x="2418" y="251"/>
                      <a:pt x="2418" y="258"/>
                    </a:cubicBezTo>
                    <a:cubicBezTo>
                      <a:pt x="2418" y="265"/>
                      <a:pt x="2424" y="270"/>
                      <a:pt x="2430" y="270"/>
                    </a:cubicBezTo>
                    <a:cubicBezTo>
                      <a:pt x="2437" y="270"/>
                      <a:pt x="2442" y="265"/>
                      <a:pt x="2442" y="258"/>
                    </a:cubicBezTo>
                    <a:cubicBezTo>
                      <a:pt x="2442" y="251"/>
                      <a:pt x="2437" y="246"/>
                      <a:pt x="2430" y="246"/>
                    </a:cubicBezTo>
                    <a:close/>
                    <a:moveTo>
                      <a:pt x="2430" y="523"/>
                    </a:moveTo>
                    <a:cubicBezTo>
                      <a:pt x="2424" y="523"/>
                      <a:pt x="2418" y="528"/>
                      <a:pt x="2418" y="535"/>
                    </a:cubicBezTo>
                    <a:cubicBezTo>
                      <a:pt x="2418" y="542"/>
                      <a:pt x="2424" y="547"/>
                      <a:pt x="2430" y="547"/>
                    </a:cubicBezTo>
                    <a:cubicBezTo>
                      <a:pt x="2437" y="547"/>
                      <a:pt x="2442" y="542"/>
                      <a:pt x="2442" y="535"/>
                    </a:cubicBezTo>
                    <a:cubicBezTo>
                      <a:pt x="2442" y="528"/>
                      <a:pt x="2437" y="523"/>
                      <a:pt x="2430" y="523"/>
                    </a:cubicBezTo>
                    <a:close/>
                    <a:moveTo>
                      <a:pt x="2430" y="338"/>
                    </a:moveTo>
                    <a:cubicBezTo>
                      <a:pt x="2424" y="338"/>
                      <a:pt x="2418" y="344"/>
                      <a:pt x="2418" y="350"/>
                    </a:cubicBezTo>
                    <a:cubicBezTo>
                      <a:pt x="2418" y="357"/>
                      <a:pt x="2424" y="363"/>
                      <a:pt x="2430" y="363"/>
                    </a:cubicBezTo>
                    <a:cubicBezTo>
                      <a:pt x="2437" y="363"/>
                      <a:pt x="2442" y="357"/>
                      <a:pt x="2442" y="350"/>
                    </a:cubicBezTo>
                    <a:cubicBezTo>
                      <a:pt x="2442" y="344"/>
                      <a:pt x="2437" y="338"/>
                      <a:pt x="2430" y="338"/>
                    </a:cubicBezTo>
                    <a:close/>
                    <a:moveTo>
                      <a:pt x="2465" y="553"/>
                    </a:moveTo>
                    <a:cubicBezTo>
                      <a:pt x="2459" y="553"/>
                      <a:pt x="2453" y="559"/>
                      <a:pt x="2453" y="566"/>
                    </a:cubicBezTo>
                    <a:cubicBezTo>
                      <a:pt x="2453" y="572"/>
                      <a:pt x="2459" y="578"/>
                      <a:pt x="2465" y="578"/>
                    </a:cubicBezTo>
                    <a:cubicBezTo>
                      <a:pt x="2472" y="578"/>
                      <a:pt x="2477" y="572"/>
                      <a:pt x="2477" y="566"/>
                    </a:cubicBezTo>
                    <a:cubicBezTo>
                      <a:pt x="2477" y="559"/>
                      <a:pt x="2472" y="553"/>
                      <a:pt x="2465" y="553"/>
                    </a:cubicBezTo>
                    <a:close/>
                    <a:moveTo>
                      <a:pt x="2430" y="307"/>
                    </a:moveTo>
                    <a:cubicBezTo>
                      <a:pt x="2424" y="307"/>
                      <a:pt x="2418" y="313"/>
                      <a:pt x="2418" y="320"/>
                    </a:cubicBezTo>
                    <a:cubicBezTo>
                      <a:pt x="2418" y="326"/>
                      <a:pt x="2424" y="332"/>
                      <a:pt x="2430" y="332"/>
                    </a:cubicBezTo>
                    <a:cubicBezTo>
                      <a:pt x="2437" y="332"/>
                      <a:pt x="2442" y="326"/>
                      <a:pt x="2442" y="320"/>
                    </a:cubicBezTo>
                    <a:cubicBezTo>
                      <a:pt x="2442" y="313"/>
                      <a:pt x="2437" y="307"/>
                      <a:pt x="2430" y="307"/>
                    </a:cubicBezTo>
                    <a:close/>
                    <a:moveTo>
                      <a:pt x="2360" y="307"/>
                    </a:moveTo>
                    <a:cubicBezTo>
                      <a:pt x="2353" y="307"/>
                      <a:pt x="2348" y="313"/>
                      <a:pt x="2348" y="320"/>
                    </a:cubicBezTo>
                    <a:cubicBezTo>
                      <a:pt x="2348" y="326"/>
                      <a:pt x="2353" y="332"/>
                      <a:pt x="2360" y="332"/>
                    </a:cubicBezTo>
                    <a:cubicBezTo>
                      <a:pt x="2367" y="332"/>
                      <a:pt x="2372" y="326"/>
                      <a:pt x="2372" y="320"/>
                    </a:cubicBezTo>
                    <a:cubicBezTo>
                      <a:pt x="2372" y="313"/>
                      <a:pt x="2367" y="307"/>
                      <a:pt x="2360" y="307"/>
                    </a:cubicBezTo>
                    <a:close/>
                    <a:moveTo>
                      <a:pt x="2465" y="523"/>
                    </a:moveTo>
                    <a:cubicBezTo>
                      <a:pt x="2459" y="523"/>
                      <a:pt x="2453" y="528"/>
                      <a:pt x="2453" y="535"/>
                    </a:cubicBezTo>
                    <a:cubicBezTo>
                      <a:pt x="2453" y="542"/>
                      <a:pt x="2459" y="547"/>
                      <a:pt x="2465" y="547"/>
                    </a:cubicBezTo>
                    <a:cubicBezTo>
                      <a:pt x="2472" y="547"/>
                      <a:pt x="2477" y="542"/>
                      <a:pt x="2477" y="535"/>
                    </a:cubicBezTo>
                    <a:cubicBezTo>
                      <a:pt x="2477" y="528"/>
                      <a:pt x="2472" y="523"/>
                      <a:pt x="2465" y="523"/>
                    </a:cubicBezTo>
                    <a:close/>
                    <a:moveTo>
                      <a:pt x="2395" y="492"/>
                    </a:moveTo>
                    <a:cubicBezTo>
                      <a:pt x="2388" y="492"/>
                      <a:pt x="2383" y="497"/>
                      <a:pt x="2383" y="504"/>
                    </a:cubicBezTo>
                    <a:cubicBezTo>
                      <a:pt x="2383" y="511"/>
                      <a:pt x="2388" y="516"/>
                      <a:pt x="2395" y="516"/>
                    </a:cubicBezTo>
                    <a:cubicBezTo>
                      <a:pt x="2402" y="516"/>
                      <a:pt x="2407" y="511"/>
                      <a:pt x="2407" y="504"/>
                    </a:cubicBezTo>
                    <a:cubicBezTo>
                      <a:pt x="2407" y="497"/>
                      <a:pt x="2402" y="492"/>
                      <a:pt x="2395" y="492"/>
                    </a:cubicBezTo>
                    <a:close/>
                    <a:moveTo>
                      <a:pt x="2395" y="461"/>
                    </a:moveTo>
                    <a:cubicBezTo>
                      <a:pt x="2388" y="461"/>
                      <a:pt x="2383" y="467"/>
                      <a:pt x="2383" y="473"/>
                    </a:cubicBezTo>
                    <a:cubicBezTo>
                      <a:pt x="2383" y="480"/>
                      <a:pt x="2388" y="485"/>
                      <a:pt x="2395" y="485"/>
                    </a:cubicBezTo>
                    <a:cubicBezTo>
                      <a:pt x="2402" y="485"/>
                      <a:pt x="2407" y="480"/>
                      <a:pt x="2407" y="473"/>
                    </a:cubicBezTo>
                    <a:cubicBezTo>
                      <a:pt x="2407" y="467"/>
                      <a:pt x="2402" y="461"/>
                      <a:pt x="2395" y="461"/>
                    </a:cubicBezTo>
                    <a:close/>
                    <a:moveTo>
                      <a:pt x="2395" y="430"/>
                    </a:moveTo>
                    <a:cubicBezTo>
                      <a:pt x="2388" y="430"/>
                      <a:pt x="2383" y="436"/>
                      <a:pt x="2383" y="443"/>
                    </a:cubicBezTo>
                    <a:cubicBezTo>
                      <a:pt x="2383" y="449"/>
                      <a:pt x="2388" y="455"/>
                      <a:pt x="2395" y="455"/>
                    </a:cubicBezTo>
                    <a:cubicBezTo>
                      <a:pt x="2402" y="455"/>
                      <a:pt x="2407" y="449"/>
                      <a:pt x="2407" y="443"/>
                    </a:cubicBezTo>
                    <a:cubicBezTo>
                      <a:pt x="2407" y="436"/>
                      <a:pt x="2402" y="430"/>
                      <a:pt x="2395" y="430"/>
                    </a:cubicBezTo>
                    <a:close/>
                    <a:moveTo>
                      <a:pt x="2360" y="277"/>
                    </a:moveTo>
                    <a:cubicBezTo>
                      <a:pt x="2353" y="277"/>
                      <a:pt x="2348" y="282"/>
                      <a:pt x="2348" y="289"/>
                    </a:cubicBezTo>
                    <a:cubicBezTo>
                      <a:pt x="2348" y="296"/>
                      <a:pt x="2353" y="301"/>
                      <a:pt x="2360" y="301"/>
                    </a:cubicBezTo>
                    <a:cubicBezTo>
                      <a:pt x="2367" y="301"/>
                      <a:pt x="2372" y="296"/>
                      <a:pt x="2372" y="289"/>
                    </a:cubicBezTo>
                    <a:cubicBezTo>
                      <a:pt x="2372" y="282"/>
                      <a:pt x="2367" y="277"/>
                      <a:pt x="2360" y="277"/>
                    </a:cubicBezTo>
                    <a:close/>
                    <a:moveTo>
                      <a:pt x="2360" y="246"/>
                    </a:moveTo>
                    <a:cubicBezTo>
                      <a:pt x="2353" y="246"/>
                      <a:pt x="2348" y="251"/>
                      <a:pt x="2348" y="258"/>
                    </a:cubicBezTo>
                    <a:cubicBezTo>
                      <a:pt x="2348" y="265"/>
                      <a:pt x="2353" y="270"/>
                      <a:pt x="2360" y="270"/>
                    </a:cubicBezTo>
                    <a:cubicBezTo>
                      <a:pt x="2367" y="270"/>
                      <a:pt x="2372" y="265"/>
                      <a:pt x="2372" y="258"/>
                    </a:cubicBezTo>
                    <a:cubicBezTo>
                      <a:pt x="2372" y="251"/>
                      <a:pt x="2367" y="246"/>
                      <a:pt x="2360" y="246"/>
                    </a:cubicBezTo>
                    <a:close/>
                    <a:moveTo>
                      <a:pt x="2395" y="246"/>
                    </a:moveTo>
                    <a:cubicBezTo>
                      <a:pt x="2388" y="246"/>
                      <a:pt x="2383" y="251"/>
                      <a:pt x="2383" y="258"/>
                    </a:cubicBezTo>
                    <a:cubicBezTo>
                      <a:pt x="2383" y="265"/>
                      <a:pt x="2388" y="270"/>
                      <a:pt x="2395" y="270"/>
                    </a:cubicBezTo>
                    <a:cubicBezTo>
                      <a:pt x="2402" y="270"/>
                      <a:pt x="2407" y="265"/>
                      <a:pt x="2407" y="258"/>
                    </a:cubicBezTo>
                    <a:cubicBezTo>
                      <a:pt x="2407" y="251"/>
                      <a:pt x="2402" y="246"/>
                      <a:pt x="2395" y="246"/>
                    </a:cubicBezTo>
                    <a:close/>
                    <a:moveTo>
                      <a:pt x="2395" y="277"/>
                    </a:moveTo>
                    <a:cubicBezTo>
                      <a:pt x="2388" y="277"/>
                      <a:pt x="2383" y="282"/>
                      <a:pt x="2383" y="289"/>
                    </a:cubicBezTo>
                    <a:cubicBezTo>
                      <a:pt x="2383" y="296"/>
                      <a:pt x="2388" y="301"/>
                      <a:pt x="2395" y="301"/>
                    </a:cubicBezTo>
                    <a:cubicBezTo>
                      <a:pt x="2402" y="301"/>
                      <a:pt x="2407" y="296"/>
                      <a:pt x="2407" y="289"/>
                    </a:cubicBezTo>
                    <a:cubicBezTo>
                      <a:pt x="2407" y="282"/>
                      <a:pt x="2402" y="277"/>
                      <a:pt x="2395" y="277"/>
                    </a:cubicBezTo>
                    <a:close/>
                    <a:moveTo>
                      <a:pt x="2395" y="307"/>
                    </a:moveTo>
                    <a:cubicBezTo>
                      <a:pt x="2388" y="307"/>
                      <a:pt x="2383" y="313"/>
                      <a:pt x="2383" y="320"/>
                    </a:cubicBezTo>
                    <a:cubicBezTo>
                      <a:pt x="2383" y="326"/>
                      <a:pt x="2388" y="332"/>
                      <a:pt x="2395" y="332"/>
                    </a:cubicBezTo>
                    <a:cubicBezTo>
                      <a:pt x="2402" y="332"/>
                      <a:pt x="2407" y="326"/>
                      <a:pt x="2407" y="320"/>
                    </a:cubicBezTo>
                    <a:cubicBezTo>
                      <a:pt x="2407" y="313"/>
                      <a:pt x="2402" y="307"/>
                      <a:pt x="2395" y="307"/>
                    </a:cubicBezTo>
                    <a:close/>
                    <a:moveTo>
                      <a:pt x="2395" y="338"/>
                    </a:moveTo>
                    <a:cubicBezTo>
                      <a:pt x="2388" y="338"/>
                      <a:pt x="2383" y="344"/>
                      <a:pt x="2383" y="350"/>
                    </a:cubicBezTo>
                    <a:cubicBezTo>
                      <a:pt x="2383" y="357"/>
                      <a:pt x="2388" y="363"/>
                      <a:pt x="2395" y="363"/>
                    </a:cubicBezTo>
                    <a:cubicBezTo>
                      <a:pt x="2402" y="363"/>
                      <a:pt x="2407" y="357"/>
                      <a:pt x="2407" y="350"/>
                    </a:cubicBezTo>
                    <a:cubicBezTo>
                      <a:pt x="2407" y="344"/>
                      <a:pt x="2402" y="338"/>
                      <a:pt x="2395" y="338"/>
                    </a:cubicBezTo>
                    <a:close/>
                    <a:moveTo>
                      <a:pt x="2395" y="369"/>
                    </a:moveTo>
                    <a:cubicBezTo>
                      <a:pt x="2388" y="369"/>
                      <a:pt x="2383" y="374"/>
                      <a:pt x="2383" y="381"/>
                    </a:cubicBezTo>
                    <a:cubicBezTo>
                      <a:pt x="2383" y="388"/>
                      <a:pt x="2388" y="393"/>
                      <a:pt x="2395" y="393"/>
                    </a:cubicBezTo>
                    <a:cubicBezTo>
                      <a:pt x="2402" y="393"/>
                      <a:pt x="2407" y="388"/>
                      <a:pt x="2407" y="381"/>
                    </a:cubicBezTo>
                    <a:cubicBezTo>
                      <a:pt x="2407" y="374"/>
                      <a:pt x="2402" y="369"/>
                      <a:pt x="2395" y="369"/>
                    </a:cubicBezTo>
                    <a:close/>
                    <a:moveTo>
                      <a:pt x="2395" y="400"/>
                    </a:moveTo>
                    <a:cubicBezTo>
                      <a:pt x="2388" y="400"/>
                      <a:pt x="2383" y="405"/>
                      <a:pt x="2383" y="412"/>
                    </a:cubicBezTo>
                    <a:cubicBezTo>
                      <a:pt x="2383" y="419"/>
                      <a:pt x="2388" y="424"/>
                      <a:pt x="2395" y="424"/>
                    </a:cubicBezTo>
                    <a:cubicBezTo>
                      <a:pt x="2402" y="424"/>
                      <a:pt x="2407" y="419"/>
                      <a:pt x="2407" y="412"/>
                    </a:cubicBezTo>
                    <a:cubicBezTo>
                      <a:pt x="2407" y="405"/>
                      <a:pt x="2402" y="400"/>
                      <a:pt x="2395" y="400"/>
                    </a:cubicBezTo>
                    <a:close/>
                    <a:moveTo>
                      <a:pt x="2605" y="277"/>
                    </a:moveTo>
                    <a:cubicBezTo>
                      <a:pt x="2599" y="277"/>
                      <a:pt x="2593" y="282"/>
                      <a:pt x="2593" y="289"/>
                    </a:cubicBezTo>
                    <a:cubicBezTo>
                      <a:pt x="2593" y="296"/>
                      <a:pt x="2599" y="301"/>
                      <a:pt x="2605" y="301"/>
                    </a:cubicBezTo>
                    <a:cubicBezTo>
                      <a:pt x="2612" y="301"/>
                      <a:pt x="2618" y="296"/>
                      <a:pt x="2618" y="289"/>
                    </a:cubicBezTo>
                    <a:cubicBezTo>
                      <a:pt x="2618" y="282"/>
                      <a:pt x="2612" y="277"/>
                      <a:pt x="2605" y="277"/>
                    </a:cubicBezTo>
                    <a:close/>
                    <a:moveTo>
                      <a:pt x="2886" y="461"/>
                    </a:moveTo>
                    <a:cubicBezTo>
                      <a:pt x="2879" y="461"/>
                      <a:pt x="2874" y="467"/>
                      <a:pt x="2874" y="473"/>
                    </a:cubicBezTo>
                    <a:cubicBezTo>
                      <a:pt x="2874" y="480"/>
                      <a:pt x="2879" y="485"/>
                      <a:pt x="2886" y="485"/>
                    </a:cubicBezTo>
                    <a:cubicBezTo>
                      <a:pt x="2893" y="485"/>
                      <a:pt x="2898" y="480"/>
                      <a:pt x="2898" y="473"/>
                    </a:cubicBezTo>
                    <a:cubicBezTo>
                      <a:pt x="2898" y="467"/>
                      <a:pt x="2893" y="461"/>
                      <a:pt x="2886" y="461"/>
                    </a:cubicBezTo>
                    <a:close/>
                    <a:moveTo>
                      <a:pt x="2886" y="400"/>
                    </a:moveTo>
                    <a:cubicBezTo>
                      <a:pt x="2879" y="400"/>
                      <a:pt x="2874" y="405"/>
                      <a:pt x="2874" y="412"/>
                    </a:cubicBezTo>
                    <a:cubicBezTo>
                      <a:pt x="2874" y="419"/>
                      <a:pt x="2879" y="424"/>
                      <a:pt x="2886" y="424"/>
                    </a:cubicBezTo>
                    <a:cubicBezTo>
                      <a:pt x="2893" y="424"/>
                      <a:pt x="2898" y="419"/>
                      <a:pt x="2898" y="412"/>
                    </a:cubicBezTo>
                    <a:cubicBezTo>
                      <a:pt x="2898" y="405"/>
                      <a:pt x="2893" y="400"/>
                      <a:pt x="2886" y="400"/>
                    </a:cubicBezTo>
                    <a:close/>
                    <a:moveTo>
                      <a:pt x="2886" y="369"/>
                    </a:moveTo>
                    <a:cubicBezTo>
                      <a:pt x="2879" y="369"/>
                      <a:pt x="2874" y="374"/>
                      <a:pt x="2874" y="381"/>
                    </a:cubicBezTo>
                    <a:cubicBezTo>
                      <a:pt x="2874" y="388"/>
                      <a:pt x="2879" y="393"/>
                      <a:pt x="2886" y="393"/>
                    </a:cubicBezTo>
                    <a:cubicBezTo>
                      <a:pt x="2893" y="393"/>
                      <a:pt x="2898" y="388"/>
                      <a:pt x="2898" y="381"/>
                    </a:cubicBezTo>
                    <a:cubicBezTo>
                      <a:pt x="2898" y="374"/>
                      <a:pt x="2893" y="369"/>
                      <a:pt x="2886" y="369"/>
                    </a:cubicBezTo>
                    <a:close/>
                    <a:moveTo>
                      <a:pt x="2886" y="523"/>
                    </a:moveTo>
                    <a:cubicBezTo>
                      <a:pt x="2879" y="523"/>
                      <a:pt x="2874" y="528"/>
                      <a:pt x="2874" y="535"/>
                    </a:cubicBezTo>
                    <a:cubicBezTo>
                      <a:pt x="2874" y="542"/>
                      <a:pt x="2879" y="547"/>
                      <a:pt x="2886" y="547"/>
                    </a:cubicBezTo>
                    <a:cubicBezTo>
                      <a:pt x="2893" y="547"/>
                      <a:pt x="2898" y="542"/>
                      <a:pt x="2898" y="535"/>
                    </a:cubicBezTo>
                    <a:cubicBezTo>
                      <a:pt x="2898" y="528"/>
                      <a:pt x="2893" y="523"/>
                      <a:pt x="2886" y="523"/>
                    </a:cubicBezTo>
                    <a:close/>
                    <a:moveTo>
                      <a:pt x="2851" y="277"/>
                    </a:moveTo>
                    <a:cubicBezTo>
                      <a:pt x="2844" y="277"/>
                      <a:pt x="2839" y="282"/>
                      <a:pt x="2839" y="289"/>
                    </a:cubicBezTo>
                    <a:cubicBezTo>
                      <a:pt x="2839" y="296"/>
                      <a:pt x="2844" y="301"/>
                      <a:pt x="2851" y="301"/>
                    </a:cubicBezTo>
                    <a:cubicBezTo>
                      <a:pt x="2857" y="301"/>
                      <a:pt x="2863" y="296"/>
                      <a:pt x="2863" y="289"/>
                    </a:cubicBezTo>
                    <a:cubicBezTo>
                      <a:pt x="2863" y="282"/>
                      <a:pt x="2857" y="277"/>
                      <a:pt x="2851" y="277"/>
                    </a:cubicBezTo>
                    <a:close/>
                    <a:moveTo>
                      <a:pt x="2886" y="492"/>
                    </a:moveTo>
                    <a:cubicBezTo>
                      <a:pt x="2879" y="492"/>
                      <a:pt x="2874" y="497"/>
                      <a:pt x="2874" y="504"/>
                    </a:cubicBezTo>
                    <a:cubicBezTo>
                      <a:pt x="2874" y="511"/>
                      <a:pt x="2879" y="516"/>
                      <a:pt x="2886" y="516"/>
                    </a:cubicBezTo>
                    <a:cubicBezTo>
                      <a:pt x="2893" y="516"/>
                      <a:pt x="2898" y="511"/>
                      <a:pt x="2898" y="504"/>
                    </a:cubicBezTo>
                    <a:cubicBezTo>
                      <a:pt x="2898" y="497"/>
                      <a:pt x="2893" y="492"/>
                      <a:pt x="2886" y="492"/>
                    </a:cubicBezTo>
                    <a:close/>
                    <a:moveTo>
                      <a:pt x="2886" y="338"/>
                    </a:moveTo>
                    <a:cubicBezTo>
                      <a:pt x="2879" y="338"/>
                      <a:pt x="2874" y="344"/>
                      <a:pt x="2874" y="350"/>
                    </a:cubicBezTo>
                    <a:cubicBezTo>
                      <a:pt x="2874" y="357"/>
                      <a:pt x="2879" y="363"/>
                      <a:pt x="2886" y="363"/>
                    </a:cubicBezTo>
                    <a:cubicBezTo>
                      <a:pt x="2893" y="363"/>
                      <a:pt x="2898" y="357"/>
                      <a:pt x="2898" y="350"/>
                    </a:cubicBezTo>
                    <a:cubicBezTo>
                      <a:pt x="2898" y="344"/>
                      <a:pt x="2893" y="338"/>
                      <a:pt x="2886" y="338"/>
                    </a:cubicBezTo>
                    <a:close/>
                    <a:moveTo>
                      <a:pt x="2921" y="307"/>
                    </a:moveTo>
                    <a:cubicBezTo>
                      <a:pt x="2914" y="307"/>
                      <a:pt x="2909" y="313"/>
                      <a:pt x="2909" y="320"/>
                    </a:cubicBezTo>
                    <a:cubicBezTo>
                      <a:pt x="2909" y="326"/>
                      <a:pt x="2914" y="332"/>
                      <a:pt x="2921" y="332"/>
                    </a:cubicBezTo>
                    <a:cubicBezTo>
                      <a:pt x="2928" y="332"/>
                      <a:pt x="2933" y="326"/>
                      <a:pt x="2933" y="320"/>
                    </a:cubicBezTo>
                    <a:cubicBezTo>
                      <a:pt x="2933" y="313"/>
                      <a:pt x="2928" y="307"/>
                      <a:pt x="2921" y="307"/>
                    </a:cubicBezTo>
                    <a:close/>
                    <a:moveTo>
                      <a:pt x="2886" y="307"/>
                    </a:moveTo>
                    <a:cubicBezTo>
                      <a:pt x="2879" y="307"/>
                      <a:pt x="2874" y="313"/>
                      <a:pt x="2874" y="320"/>
                    </a:cubicBezTo>
                    <a:cubicBezTo>
                      <a:pt x="2874" y="326"/>
                      <a:pt x="2879" y="332"/>
                      <a:pt x="2886" y="332"/>
                    </a:cubicBezTo>
                    <a:cubicBezTo>
                      <a:pt x="2893" y="332"/>
                      <a:pt x="2898" y="326"/>
                      <a:pt x="2898" y="320"/>
                    </a:cubicBezTo>
                    <a:cubicBezTo>
                      <a:pt x="2898" y="313"/>
                      <a:pt x="2893" y="307"/>
                      <a:pt x="2886" y="307"/>
                    </a:cubicBezTo>
                    <a:close/>
                    <a:moveTo>
                      <a:pt x="2921" y="369"/>
                    </a:moveTo>
                    <a:cubicBezTo>
                      <a:pt x="2914" y="369"/>
                      <a:pt x="2909" y="374"/>
                      <a:pt x="2909" y="381"/>
                    </a:cubicBezTo>
                    <a:cubicBezTo>
                      <a:pt x="2909" y="388"/>
                      <a:pt x="2914" y="393"/>
                      <a:pt x="2921" y="393"/>
                    </a:cubicBezTo>
                    <a:cubicBezTo>
                      <a:pt x="2928" y="393"/>
                      <a:pt x="2933" y="388"/>
                      <a:pt x="2933" y="381"/>
                    </a:cubicBezTo>
                    <a:cubicBezTo>
                      <a:pt x="2933" y="374"/>
                      <a:pt x="2928" y="369"/>
                      <a:pt x="2921" y="369"/>
                    </a:cubicBezTo>
                    <a:close/>
                    <a:moveTo>
                      <a:pt x="2921" y="430"/>
                    </a:moveTo>
                    <a:cubicBezTo>
                      <a:pt x="2914" y="430"/>
                      <a:pt x="2909" y="436"/>
                      <a:pt x="2909" y="443"/>
                    </a:cubicBezTo>
                    <a:cubicBezTo>
                      <a:pt x="2909" y="449"/>
                      <a:pt x="2914" y="455"/>
                      <a:pt x="2921" y="455"/>
                    </a:cubicBezTo>
                    <a:cubicBezTo>
                      <a:pt x="2928" y="455"/>
                      <a:pt x="2933" y="449"/>
                      <a:pt x="2933" y="443"/>
                    </a:cubicBezTo>
                    <a:cubicBezTo>
                      <a:pt x="2933" y="436"/>
                      <a:pt x="2928" y="430"/>
                      <a:pt x="2921" y="430"/>
                    </a:cubicBezTo>
                    <a:close/>
                    <a:moveTo>
                      <a:pt x="2921" y="400"/>
                    </a:moveTo>
                    <a:cubicBezTo>
                      <a:pt x="2914" y="400"/>
                      <a:pt x="2909" y="405"/>
                      <a:pt x="2909" y="412"/>
                    </a:cubicBezTo>
                    <a:cubicBezTo>
                      <a:pt x="2909" y="419"/>
                      <a:pt x="2914" y="424"/>
                      <a:pt x="2921" y="424"/>
                    </a:cubicBezTo>
                    <a:cubicBezTo>
                      <a:pt x="2928" y="424"/>
                      <a:pt x="2933" y="419"/>
                      <a:pt x="2933" y="412"/>
                    </a:cubicBezTo>
                    <a:cubicBezTo>
                      <a:pt x="2933" y="405"/>
                      <a:pt x="2928" y="400"/>
                      <a:pt x="2921" y="400"/>
                    </a:cubicBezTo>
                    <a:close/>
                    <a:moveTo>
                      <a:pt x="2921" y="338"/>
                    </a:moveTo>
                    <a:cubicBezTo>
                      <a:pt x="2914" y="338"/>
                      <a:pt x="2909" y="344"/>
                      <a:pt x="2909" y="350"/>
                    </a:cubicBezTo>
                    <a:cubicBezTo>
                      <a:pt x="2909" y="357"/>
                      <a:pt x="2914" y="363"/>
                      <a:pt x="2921" y="363"/>
                    </a:cubicBezTo>
                    <a:cubicBezTo>
                      <a:pt x="2928" y="363"/>
                      <a:pt x="2933" y="357"/>
                      <a:pt x="2933" y="350"/>
                    </a:cubicBezTo>
                    <a:cubicBezTo>
                      <a:pt x="2933" y="344"/>
                      <a:pt x="2928" y="338"/>
                      <a:pt x="2921" y="338"/>
                    </a:cubicBezTo>
                    <a:close/>
                    <a:moveTo>
                      <a:pt x="2851" y="307"/>
                    </a:moveTo>
                    <a:cubicBezTo>
                      <a:pt x="2844" y="307"/>
                      <a:pt x="2839" y="313"/>
                      <a:pt x="2839" y="320"/>
                    </a:cubicBezTo>
                    <a:cubicBezTo>
                      <a:pt x="2839" y="326"/>
                      <a:pt x="2844" y="332"/>
                      <a:pt x="2851" y="332"/>
                    </a:cubicBezTo>
                    <a:cubicBezTo>
                      <a:pt x="2857" y="332"/>
                      <a:pt x="2863" y="326"/>
                      <a:pt x="2863" y="320"/>
                    </a:cubicBezTo>
                    <a:cubicBezTo>
                      <a:pt x="2863" y="313"/>
                      <a:pt x="2857" y="307"/>
                      <a:pt x="2851" y="307"/>
                    </a:cubicBezTo>
                    <a:close/>
                    <a:moveTo>
                      <a:pt x="2816" y="307"/>
                    </a:moveTo>
                    <a:cubicBezTo>
                      <a:pt x="2809" y="307"/>
                      <a:pt x="2804" y="313"/>
                      <a:pt x="2804" y="320"/>
                    </a:cubicBezTo>
                    <a:cubicBezTo>
                      <a:pt x="2804" y="326"/>
                      <a:pt x="2809" y="332"/>
                      <a:pt x="2816" y="332"/>
                    </a:cubicBezTo>
                    <a:cubicBezTo>
                      <a:pt x="2822" y="332"/>
                      <a:pt x="2828" y="326"/>
                      <a:pt x="2828" y="320"/>
                    </a:cubicBezTo>
                    <a:cubicBezTo>
                      <a:pt x="2828" y="313"/>
                      <a:pt x="2822" y="307"/>
                      <a:pt x="2816" y="307"/>
                    </a:cubicBezTo>
                    <a:close/>
                    <a:moveTo>
                      <a:pt x="2816" y="369"/>
                    </a:moveTo>
                    <a:cubicBezTo>
                      <a:pt x="2809" y="369"/>
                      <a:pt x="2804" y="374"/>
                      <a:pt x="2804" y="381"/>
                    </a:cubicBezTo>
                    <a:cubicBezTo>
                      <a:pt x="2804" y="388"/>
                      <a:pt x="2809" y="393"/>
                      <a:pt x="2816" y="393"/>
                    </a:cubicBezTo>
                    <a:cubicBezTo>
                      <a:pt x="2822" y="393"/>
                      <a:pt x="2828" y="388"/>
                      <a:pt x="2828" y="381"/>
                    </a:cubicBezTo>
                    <a:cubicBezTo>
                      <a:pt x="2828" y="374"/>
                      <a:pt x="2822" y="369"/>
                      <a:pt x="2816" y="369"/>
                    </a:cubicBezTo>
                    <a:close/>
                    <a:moveTo>
                      <a:pt x="2851" y="553"/>
                    </a:moveTo>
                    <a:cubicBezTo>
                      <a:pt x="2844" y="553"/>
                      <a:pt x="2839" y="559"/>
                      <a:pt x="2839" y="566"/>
                    </a:cubicBezTo>
                    <a:cubicBezTo>
                      <a:pt x="2839" y="572"/>
                      <a:pt x="2844" y="578"/>
                      <a:pt x="2851" y="578"/>
                    </a:cubicBezTo>
                    <a:cubicBezTo>
                      <a:pt x="2857" y="578"/>
                      <a:pt x="2863" y="572"/>
                      <a:pt x="2863" y="566"/>
                    </a:cubicBezTo>
                    <a:cubicBezTo>
                      <a:pt x="2863" y="559"/>
                      <a:pt x="2857" y="553"/>
                      <a:pt x="2851" y="553"/>
                    </a:cubicBezTo>
                    <a:close/>
                    <a:moveTo>
                      <a:pt x="2816" y="338"/>
                    </a:moveTo>
                    <a:cubicBezTo>
                      <a:pt x="2809" y="338"/>
                      <a:pt x="2804" y="344"/>
                      <a:pt x="2804" y="350"/>
                    </a:cubicBezTo>
                    <a:cubicBezTo>
                      <a:pt x="2804" y="357"/>
                      <a:pt x="2809" y="363"/>
                      <a:pt x="2816" y="363"/>
                    </a:cubicBezTo>
                    <a:cubicBezTo>
                      <a:pt x="2822" y="363"/>
                      <a:pt x="2828" y="357"/>
                      <a:pt x="2828" y="350"/>
                    </a:cubicBezTo>
                    <a:cubicBezTo>
                      <a:pt x="2828" y="344"/>
                      <a:pt x="2822" y="338"/>
                      <a:pt x="2816" y="338"/>
                    </a:cubicBezTo>
                    <a:close/>
                    <a:moveTo>
                      <a:pt x="2816" y="277"/>
                    </a:moveTo>
                    <a:cubicBezTo>
                      <a:pt x="2809" y="277"/>
                      <a:pt x="2804" y="282"/>
                      <a:pt x="2804" y="289"/>
                    </a:cubicBezTo>
                    <a:cubicBezTo>
                      <a:pt x="2804" y="296"/>
                      <a:pt x="2809" y="301"/>
                      <a:pt x="2816" y="301"/>
                    </a:cubicBezTo>
                    <a:cubicBezTo>
                      <a:pt x="2822" y="301"/>
                      <a:pt x="2828" y="296"/>
                      <a:pt x="2828" y="289"/>
                    </a:cubicBezTo>
                    <a:cubicBezTo>
                      <a:pt x="2828" y="282"/>
                      <a:pt x="2822" y="277"/>
                      <a:pt x="2816" y="277"/>
                    </a:cubicBezTo>
                    <a:close/>
                    <a:moveTo>
                      <a:pt x="2851" y="369"/>
                    </a:moveTo>
                    <a:cubicBezTo>
                      <a:pt x="2844" y="369"/>
                      <a:pt x="2839" y="374"/>
                      <a:pt x="2839" y="381"/>
                    </a:cubicBezTo>
                    <a:cubicBezTo>
                      <a:pt x="2839" y="388"/>
                      <a:pt x="2844" y="393"/>
                      <a:pt x="2851" y="393"/>
                    </a:cubicBezTo>
                    <a:cubicBezTo>
                      <a:pt x="2857" y="393"/>
                      <a:pt x="2863" y="388"/>
                      <a:pt x="2863" y="381"/>
                    </a:cubicBezTo>
                    <a:cubicBezTo>
                      <a:pt x="2863" y="374"/>
                      <a:pt x="2857" y="369"/>
                      <a:pt x="2851" y="369"/>
                    </a:cubicBezTo>
                    <a:close/>
                    <a:moveTo>
                      <a:pt x="2851" y="523"/>
                    </a:moveTo>
                    <a:cubicBezTo>
                      <a:pt x="2844" y="523"/>
                      <a:pt x="2839" y="528"/>
                      <a:pt x="2839" y="535"/>
                    </a:cubicBezTo>
                    <a:cubicBezTo>
                      <a:pt x="2839" y="542"/>
                      <a:pt x="2844" y="547"/>
                      <a:pt x="2851" y="547"/>
                    </a:cubicBezTo>
                    <a:cubicBezTo>
                      <a:pt x="2857" y="547"/>
                      <a:pt x="2863" y="542"/>
                      <a:pt x="2863" y="535"/>
                    </a:cubicBezTo>
                    <a:cubicBezTo>
                      <a:pt x="2863" y="528"/>
                      <a:pt x="2857" y="523"/>
                      <a:pt x="2851" y="523"/>
                    </a:cubicBezTo>
                    <a:close/>
                    <a:moveTo>
                      <a:pt x="2851" y="338"/>
                    </a:moveTo>
                    <a:cubicBezTo>
                      <a:pt x="2844" y="338"/>
                      <a:pt x="2839" y="344"/>
                      <a:pt x="2839" y="350"/>
                    </a:cubicBezTo>
                    <a:cubicBezTo>
                      <a:pt x="2839" y="357"/>
                      <a:pt x="2844" y="363"/>
                      <a:pt x="2851" y="363"/>
                    </a:cubicBezTo>
                    <a:cubicBezTo>
                      <a:pt x="2857" y="363"/>
                      <a:pt x="2863" y="357"/>
                      <a:pt x="2863" y="350"/>
                    </a:cubicBezTo>
                    <a:cubicBezTo>
                      <a:pt x="2863" y="344"/>
                      <a:pt x="2857" y="338"/>
                      <a:pt x="2851" y="338"/>
                    </a:cubicBezTo>
                    <a:close/>
                    <a:moveTo>
                      <a:pt x="2851" y="492"/>
                    </a:moveTo>
                    <a:cubicBezTo>
                      <a:pt x="2844" y="492"/>
                      <a:pt x="2839" y="497"/>
                      <a:pt x="2839" y="504"/>
                    </a:cubicBezTo>
                    <a:cubicBezTo>
                      <a:pt x="2839" y="511"/>
                      <a:pt x="2844" y="516"/>
                      <a:pt x="2851" y="516"/>
                    </a:cubicBezTo>
                    <a:cubicBezTo>
                      <a:pt x="2857" y="516"/>
                      <a:pt x="2863" y="511"/>
                      <a:pt x="2863" y="504"/>
                    </a:cubicBezTo>
                    <a:cubicBezTo>
                      <a:pt x="2863" y="497"/>
                      <a:pt x="2857" y="492"/>
                      <a:pt x="2851" y="492"/>
                    </a:cubicBezTo>
                    <a:close/>
                    <a:moveTo>
                      <a:pt x="2851" y="400"/>
                    </a:moveTo>
                    <a:cubicBezTo>
                      <a:pt x="2844" y="400"/>
                      <a:pt x="2839" y="405"/>
                      <a:pt x="2839" y="412"/>
                    </a:cubicBezTo>
                    <a:cubicBezTo>
                      <a:pt x="2839" y="419"/>
                      <a:pt x="2844" y="424"/>
                      <a:pt x="2851" y="424"/>
                    </a:cubicBezTo>
                    <a:cubicBezTo>
                      <a:pt x="2857" y="424"/>
                      <a:pt x="2863" y="419"/>
                      <a:pt x="2863" y="412"/>
                    </a:cubicBezTo>
                    <a:cubicBezTo>
                      <a:pt x="2863" y="405"/>
                      <a:pt x="2857" y="400"/>
                      <a:pt x="2851" y="400"/>
                    </a:cubicBezTo>
                    <a:close/>
                    <a:moveTo>
                      <a:pt x="2991" y="400"/>
                    </a:moveTo>
                    <a:cubicBezTo>
                      <a:pt x="2984" y="400"/>
                      <a:pt x="2979" y="405"/>
                      <a:pt x="2979" y="412"/>
                    </a:cubicBezTo>
                    <a:cubicBezTo>
                      <a:pt x="2979" y="419"/>
                      <a:pt x="2984" y="424"/>
                      <a:pt x="2991" y="424"/>
                    </a:cubicBezTo>
                    <a:cubicBezTo>
                      <a:pt x="2998" y="424"/>
                      <a:pt x="3003" y="419"/>
                      <a:pt x="3003" y="412"/>
                    </a:cubicBezTo>
                    <a:cubicBezTo>
                      <a:pt x="3003" y="405"/>
                      <a:pt x="2998" y="400"/>
                      <a:pt x="2991" y="400"/>
                    </a:cubicBezTo>
                    <a:close/>
                    <a:moveTo>
                      <a:pt x="3061" y="338"/>
                    </a:moveTo>
                    <a:cubicBezTo>
                      <a:pt x="3054" y="338"/>
                      <a:pt x="3049" y="344"/>
                      <a:pt x="3049" y="350"/>
                    </a:cubicBezTo>
                    <a:cubicBezTo>
                      <a:pt x="3049" y="357"/>
                      <a:pt x="3054" y="363"/>
                      <a:pt x="3061" y="363"/>
                    </a:cubicBezTo>
                    <a:cubicBezTo>
                      <a:pt x="3068" y="363"/>
                      <a:pt x="3073" y="357"/>
                      <a:pt x="3073" y="350"/>
                    </a:cubicBezTo>
                    <a:cubicBezTo>
                      <a:pt x="3073" y="344"/>
                      <a:pt x="3068" y="338"/>
                      <a:pt x="3061" y="338"/>
                    </a:cubicBezTo>
                    <a:close/>
                    <a:moveTo>
                      <a:pt x="3026" y="338"/>
                    </a:moveTo>
                    <a:cubicBezTo>
                      <a:pt x="3019" y="338"/>
                      <a:pt x="3014" y="344"/>
                      <a:pt x="3014" y="350"/>
                    </a:cubicBezTo>
                    <a:cubicBezTo>
                      <a:pt x="3014" y="357"/>
                      <a:pt x="3019" y="363"/>
                      <a:pt x="3026" y="363"/>
                    </a:cubicBezTo>
                    <a:cubicBezTo>
                      <a:pt x="3033" y="363"/>
                      <a:pt x="3038" y="357"/>
                      <a:pt x="3038" y="350"/>
                    </a:cubicBezTo>
                    <a:cubicBezTo>
                      <a:pt x="3038" y="344"/>
                      <a:pt x="3033" y="338"/>
                      <a:pt x="3026" y="338"/>
                    </a:cubicBezTo>
                    <a:close/>
                    <a:moveTo>
                      <a:pt x="3026" y="307"/>
                    </a:moveTo>
                    <a:cubicBezTo>
                      <a:pt x="3019" y="307"/>
                      <a:pt x="3014" y="313"/>
                      <a:pt x="3014" y="320"/>
                    </a:cubicBezTo>
                    <a:cubicBezTo>
                      <a:pt x="3014" y="326"/>
                      <a:pt x="3019" y="332"/>
                      <a:pt x="3026" y="332"/>
                    </a:cubicBezTo>
                    <a:cubicBezTo>
                      <a:pt x="3033" y="332"/>
                      <a:pt x="3038" y="326"/>
                      <a:pt x="3038" y="320"/>
                    </a:cubicBezTo>
                    <a:cubicBezTo>
                      <a:pt x="3038" y="313"/>
                      <a:pt x="3033" y="307"/>
                      <a:pt x="3026" y="307"/>
                    </a:cubicBezTo>
                    <a:close/>
                    <a:moveTo>
                      <a:pt x="3061" y="307"/>
                    </a:moveTo>
                    <a:cubicBezTo>
                      <a:pt x="3054" y="307"/>
                      <a:pt x="3049" y="313"/>
                      <a:pt x="3049" y="320"/>
                    </a:cubicBezTo>
                    <a:cubicBezTo>
                      <a:pt x="3049" y="326"/>
                      <a:pt x="3054" y="332"/>
                      <a:pt x="3061" y="332"/>
                    </a:cubicBezTo>
                    <a:cubicBezTo>
                      <a:pt x="3068" y="332"/>
                      <a:pt x="3073" y="326"/>
                      <a:pt x="3073" y="320"/>
                    </a:cubicBezTo>
                    <a:cubicBezTo>
                      <a:pt x="3073" y="313"/>
                      <a:pt x="3068" y="307"/>
                      <a:pt x="3061" y="307"/>
                    </a:cubicBezTo>
                    <a:close/>
                    <a:moveTo>
                      <a:pt x="3061" y="400"/>
                    </a:moveTo>
                    <a:cubicBezTo>
                      <a:pt x="3054" y="400"/>
                      <a:pt x="3049" y="405"/>
                      <a:pt x="3049" y="412"/>
                    </a:cubicBezTo>
                    <a:cubicBezTo>
                      <a:pt x="3049" y="419"/>
                      <a:pt x="3054" y="424"/>
                      <a:pt x="3061" y="424"/>
                    </a:cubicBezTo>
                    <a:cubicBezTo>
                      <a:pt x="3068" y="424"/>
                      <a:pt x="3073" y="419"/>
                      <a:pt x="3073" y="412"/>
                    </a:cubicBezTo>
                    <a:cubicBezTo>
                      <a:pt x="3073" y="405"/>
                      <a:pt x="3068" y="400"/>
                      <a:pt x="3061" y="400"/>
                    </a:cubicBezTo>
                    <a:close/>
                    <a:moveTo>
                      <a:pt x="3061" y="369"/>
                    </a:moveTo>
                    <a:cubicBezTo>
                      <a:pt x="3054" y="369"/>
                      <a:pt x="3049" y="374"/>
                      <a:pt x="3049" y="381"/>
                    </a:cubicBezTo>
                    <a:cubicBezTo>
                      <a:pt x="3049" y="388"/>
                      <a:pt x="3054" y="393"/>
                      <a:pt x="3061" y="393"/>
                    </a:cubicBezTo>
                    <a:cubicBezTo>
                      <a:pt x="3068" y="393"/>
                      <a:pt x="3073" y="388"/>
                      <a:pt x="3073" y="381"/>
                    </a:cubicBezTo>
                    <a:cubicBezTo>
                      <a:pt x="3073" y="374"/>
                      <a:pt x="3068" y="369"/>
                      <a:pt x="3061" y="369"/>
                    </a:cubicBezTo>
                    <a:close/>
                    <a:moveTo>
                      <a:pt x="3131" y="338"/>
                    </a:moveTo>
                    <a:cubicBezTo>
                      <a:pt x="3124" y="338"/>
                      <a:pt x="3119" y="344"/>
                      <a:pt x="3119" y="350"/>
                    </a:cubicBezTo>
                    <a:cubicBezTo>
                      <a:pt x="3119" y="357"/>
                      <a:pt x="3124" y="363"/>
                      <a:pt x="3131" y="363"/>
                    </a:cubicBezTo>
                    <a:cubicBezTo>
                      <a:pt x="3138" y="363"/>
                      <a:pt x="3143" y="357"/>
                      <a:pt x="3143" y="350"/>
                    </a:cubicBezTo>
                    <a:cubicBezTo>
                      <a:pt x="3143" y="344"/>
                      <a:pt x="3138" y="338"/>
                      <a:pt x="3131" y="338"/>
                    </a:cubicBezTo>
                    <a:close/>
                    <a:moveTo>
                      <a:pt x="3096" y="307"/>
                    </a:moveTo>
                    <a:cubicBezTo>
                      <a:pt x="3089" y="307"/>
                      <a:pt x="3084" y="313"/>
                      <a:pt x="3084" y="320"/>
                    </a:cubicBezTo>
                    <a:cubicBezTo>
                      <a:pt x="3084" y="326"/>
                      <a:pt x="3089" y="332"/>
                      <a:pt x="3096" y="332"/>
                    </a:cubicBezTo>
                    <a:cubicBezTo>
                      <a:pt x="3103" y="332"/>
                      <a:pt x="3108" y="326"/>
                      <a:pt x="3108" y="320"/>
                    </a:cubicBezTo>
                    <a:cubicBezTo>
                      <a:pt x="3108" y="313"/>
                      <a:pt x="3103" y="307"/>
                      <a:pt x="3096" y="307"/>
                    </a:cubicBezTo>
                    <a:close/>
                    <a:moveTo>
                      <a:pt x="3096" y="338"/>
                    </a:moveTo>
                    <a:cubicBezTo>
                      <a:pt x="3089" y="338"/>
                      <a:pt x="3084" y="344"/>
                      <a:pt x="3084" y="350"/>
                    </a:cubicBezTo>
                    <a:cubicBezTo>
                      <a:pt x="3084" y="357"/>
                      <a:pt x="3089" y="363"/>
                      <a:pt x="3096" y="363"/>
                    </a:cubicBezTo>
                    <a:cubicBezTo>
                      <a:pt x="3103" y="363"/>
                      <a:pt x="3108" y="357"/>
                      <a:pt x="3108" y="350"/>
                    </a:cubicBezTo>
                    <a:cubicBezTo>
                      <a:pt x="3108" y="344"/>
                      <a:pt x="3103" y="338"/>
                      <a:pt x="3096" y="338"/>
                    </a:cubicBezTo>
                    <a:close/>
                    <a:moveTo>
                      <a:pt x="3096" y="369"/>
                    </a:moveTo>
                    <a:cubicBezTo>
                      <a:pt x="3089" y="369"/>
                      <a:pt x="3084" y="374"/>
                      <a:pt x="3084" y="381"/>
                    </a:cubicBezTo>
                    <a:cubicBezTo>
                      <a:pt x="3084" y="388"/>
                      <a:pt x="3089" y="393"/>
                      <a:pt x="3096" y="393"/>
                    </a:cubicBezTo>
                    <a:cubicBezTo>
                      <a:pt x="3103" y="393"/>
                      <a:pt x="3108" y="388"/>
                      <a:pt x="3108" y="381"/>
                    </a:cubicBezTo>
                    <a:cubicBezTo>
                      <a:pt x="3108" y="374"/>
                      <a:pt x="3103" y="369"/>
                      <a:pt x="3096" y="369"/>
                    </a:cubicBezTo>
                    <a:close/>
                    <a:moveTo>
                      <a:pt x="3096" y="400"/>
                    </a:moveTo>
                    <a:cubicBezTo>
                      <a:pt x="3089" y="400"/>
                      <a:pt x="3084" y="405"/>
                      <a:pt x="3084" y="412"/>
                    </a:cubicBezTo>
                    <a:cubicBezTo>
                      <a:pt x="3084" y="419"/>
                      <a:pt x="3089" y="424"/>
                      <a:pt x="3096" y="424"/>
                    </a:cubicBezTo>
                    <a:cubicBezTo>
                      <a:pt x="3103" y="424"/>
                      <a:pt x="3108" y="419"/>
                      <a:pt x="3108" y="412"/>
                    </a:cubicBezTo>
                    <a:cubicBezTo>
                      <a:pt x="3108" y="405"/>
                      <a:pt x="3103" y="400"/>
                      <a:pt x="3096" y="400"/>
                    </a:cubicBezTo>
                    <a:close/>
                    <a:moveTo>
                      <a:pt x="3026" y="369"/>
                    </a:moveTo>
                    <a:cubicBezTo>
                      <a:pt x="3019" y="369"/>
                      <a:pt x="3014" y="374"/>
                      <a:pt x="3014" y="381"/>
                    </a:cubicBezTo>
                    <a:cubicBezTo>
                      <a:pt x="3014" y="388"/>
                      <a:pt x="3019" y="393"/>
                      <a:pt x="3026" y="393"/>
                    </a:cubicBezTo>
                    <a:cubicBezTo>
                      <a:pt x="3033" y="393"/>
                      <a:pt x="3038" y="388"/>
                      <a:pt x="3038" y="381"/>
                    </a:cubicBezTo>
                    <a:cubicBezTo>
                      <a:pt x="3038" y="374"/>
                      <a:pt x="3033" y="369"/>
                      <a:pt x="3026" y="369"/>
                    </a:cubicBezTo>
                    <a:close/>
                    <a:moveTo>
                      <a:pt x="2956" y="307"/>
                    </a:moveTo>
                    <a:cubicBezTo>
                      <a:pt x="2949" y="307"/>
                      <a:pt x="2944" y="313"/>
                      <a:pt x="2944" y="320"/>
                    </a:cubicBezTo>
                    <a:cubicBezTo>
                      <a:pt x="2944" y="326"/>
                      <a:pt x="2949" y="332"/>
                      <a:pt x="2956" y="332"/>
                    </a:cubicBezTo>
                    <a:cubicBezTo>
                      <a:pt x="2963" y="332"/>
                      <a:pt x="2968" y="326"/>
                      <a:pt x="2968" y="320"/>
                    </a:cubicBezTo>
                    <a:cubicBezTo>
                      <a:pt x="2968" y="313"/>
                      <a:pt x="2963" y="307"/>
                      <a:pt x="2956" y="307"/>
                    </a:cubicBezTo>
                    <a:close/>
                    <a:moveTo>
                      <a:pt x="2956" y="430"/>
                    </a:moveTo>
                    <a:cubicBezTo>
                      <a:pt x="2949" y="430"/>
                      <a:pt x="2944" y="436"/>
                      <a:pt x="2944" y="443"/>
                    </a:cubicBezTo>
                    <a:cubicBezTo>
                      <a:pt x="2944" y="449"/>
                      <a:pt x="2949" y="455"/>
                      <a:pt x="2956" y="455"/>
                    </a:cubicBezTo>
                    <a:cubicBezTo>
                      <a:pt x="2963" y="455"/>
                      <a:pt x="2968" y="449"/>
                      <a:pt x="2968" y="443"/>
                    </a:cubicBezTo>
                    <a:cubicBezTo>
                      <a:pt x="2968" y="436"/>
                      <a:pt x="2963" y="430"/>
                      <a:pt x="2956" y="430"/>
                    </a:cubicBezTo>
                    <a:close/>
                    <a:moveTo>
                      <a:pt x="2956" y="400"/>
                    </a:moveTo>
                    <a:cubicBezTo>
                      <a:pt x="2949" y="400"/>
                      <a:pt x="2944" y="405"/>
                      <a:pt x="2944" y="412"/>
                    </a:cubicBezTo>
                    <a:cubicBezTo>
                      <a:pt x="2944" y="419"/>
                      <a:pt x="2949" y="424"/>
                      <a:pt x="2956" y="424"/>
                    </a:cubicBezTo>
                    <a:cubicBezTo>
                      <a:pt x="2963" y="424"/>
                      <a:pt x="2968" y="419"/>
                      <a:pt x="2968" y="412"/>
                    </a:cubicBezTo>
                    <a:cubicBezTo>
                      <a:pt x="2968" y="405"/>
                      <a:pt x="2963" y="400"/>
                      <a:pt x="2956" y="400"/>
                    </a:cubicBezTo>
                    <a:close/>
                    <a:moveTo>
                      <a:pt x="2956" y="369"/>
                    </a:moveTo>
                    <a:cubicBezTo>
                      <a:pt x="2949" y="369"/>
                      <a:pt x="2944" y="374"/>
                      <a:pt x="2944" y="381"/>
                    </a:cubicBezTo>
                    <a:cubicBezTo>
                      <a:pt x="2944" y="388"/>
                      <a:pt x="2949" y="393"/>
                      <a:pt x="2956" y="393"/>
                    </a:cubicBezTo>
                    <a:cubicBezTo>
                      <a:pt x="2963" y="393"/>
                      <a:pt x="2968" y="388"/>
                      <a:pt x="2968" y="381"/>
                    </a:cubicBezTo>
                    <a:cubicBezTo>
                      <a:pt x="2968" y="374"/>
                      <a:pt x="2963" y="369"/>
                      <a:pt x="2956" y="369"/>
                    </a:cubicBezTo>
                    <a:close/>
                    <a:moveTo>
                      <a:pt x="2991" y="430"/>
                    </a:moveTo>
                    <a:cubicBezTo>
                      <a:pt x="2984" y="430"/>
                      <a:pt x="2979" y="436"/>
                      <a:pt x="2979" y="443"/>
                    </a:cubicBezTo>
                    <a:cubicBezTo>
                      <a:pt x="2979" y="449"/>
                      <a:pt x="2984" y="455"/>
                      <a:pt x="2991" y="455"/>
                    </a:cubicBezTo>
                    <a:cubicBezTo>
                      <a:pt x="2998" y="455"/>
                      <a:pt x="3003" y="449"/>
                      <a:pt x="3003" y="443"/>
                    </a:cubicBezTo>
                    <a:cubicBezTo>
                      <a:pt x="3003" y="436"/>
                      <a:pt x="2998" y="430"/>
                      <a:pt x="2991" y="430"/>
                    </a:cubicBezTo>
                    <a:close/>
                    <a:moveTo>
                      <a:pt x="2956" y="338"/>
                    </a:moveTo>
                    <a:cubicBezTo>
                      <a:pt x="2949" y="338"/>
                      <a:pt x="2944" y="344"/>
                      <a:pt x="2944" y="350"/>
                    </a:cubicBezTo>
                    <a:cubicBezTo>
                      <a:pt x="2944" y="357"/>
                      <a:pt x="2949" y="363"/>
                      <a:pt x="2956" y="363"/>
                    </a:cubicBezTo>
                    <a:cubicBezTo>
                      <a:pt x="2963" y="363"/>
                      <a:pt x="2968" y="357"/>
                      <a:pt x="2968" y="350"/>
                    </a:cubicBezTo>
                    <a:cubicBezTo>
                      <a:pt x="2968" y="344"/>
                      <a:pt x="2963" y="338"/>
                      <a:pt x="2956" y="338"/>
                    </a:cubicBezTo>
                    <a:close/>
                    <a:moveTo>
                      <a:pt x="3026" y="400"/>
                    </a:moveTo>
                    <a:cubicBezTo>
                      <a:pt x="3019" y="400"/>
                      <a:pt x="3014" y="405"/>
                      <a:pt x="3014" y="412"/>
                    </a:cubicBezTo>
                    <a:cubicBezTo>
                      <a:pt x="3014" y="419"/>
                      <a:pt x="3019" y="424"/>
                      <a:pt x="3026" y="424"/>
                    </a:cubicBezTo>
                    <a:cubicBezTo>
                      <a:pt x="3033" y="424"/>
                      <a:pt x="3038" y="419"/>
                      <a:pt x="3038" y="412"/>
                    </a:cubicBezTo>
                    <a:cubicBezTo>
                      <a:pt x="3038" y="405"/>
                      <a:pt x="3033" y="400"/>
                      <a:pt x="3026" y="400"/>
                    </a:cubicBezTo>
                    <a:close/>
                    <a:moveTo>
                      <a:pt x="2816" y="400"/>
                    </a:moveTo>
                    <a:cubicBezTo>
                      <a:pt x="2809" y="400"/>
                      <a:pt x="2804" y="405"/>
                      <a:pt x="2804" y="412"/>
                    </a:cubicBezTo>
                    <a:cubicBezTo>
                      <a:pt x="2804" y="419"/>
                      <a:pt x="2809" y="424"/>
                      <a:pt x="2816" y="424"/>
                    </a:cubicBezTo>
                    <a:cubicBezTo>
                      <a:pt x="2822" y="424"/>
                      <a:pt x="2828" y="419"/>
                      <a:pt x="2828" y="412"/>
                    </a:cubicBezTo>
                    <a:cubicBezTo>
                      <a:pt x="2828" y="405"/>
                      <a:pt x="2822" y="400"/>
                      <a:pt x="2816" y="400"/>
                    </a:cubicBezTo>
                    <a:close/>
                    <a:moveTo>
                      <a:pt x="2991" y="307"/>
                    </a:moveTo>
                    <a:cubicBezTo>
                      <a:pt x="2984" y="307"/>
                      <a:pt x="2979" y="313"/>
                      <a:pt x="2979" y="320"/>
                    </a:cubicBezTo>
                    <a:cubicBezTo>
                      <a:pt x="2979" y="326"/>
                      <a:pt x="2984" y="332"/>
                      <a:pt x="2991" y="332"/>
                    </a:cubicBezTo>
                    <a:cubicBezTo>
                      <a:pt x="2998" y="332"/>
                      <a:pt x="3003" y="326"/>
                      <a:pt x="3003" y="320"/>
                    </a:cubicBezTo>
                    <a:cubicBezTo>
                      <a:pt x="3003" y="313"/>
                      <a:pt x="2998" y="307"/>
                      <a:pt x="2991" y="307"/>
                    </a:cubicBezTo>
                    <a:close/>
                    <a:moveTo>
                      <a:pt x="2991" y="369"/>
                    </a:moveTo>
                    <a:cubicBezTo>
                      <a:pt x="2984" y="369"/>
                      <a:pt x="2979" y="374"/>
                      <a:pt x="2979" y="381"/>
                    </a:cubicBezTo>
                    <a:cubicBezTo>
                      <a:pt x="2979" y="388"/>
                      <a:pt x="2984" y="393"/>
                      <a:pt x="2991" y="393"/>
                    </a:cubicBezTo>
                    <a:cubicBezTo>
                      <a:pt x="2998" y="393"/>
                      <a:pt x="3003" y="388"/>
                      <a:pt x="3003" y="381"/>
                    </a:cubicBezTo>
                    <a:cubicBezTo>
                      <a:pt x="3003" y="374"/>
                      <a:pt x="2998" y="369"/>
                      <a:pt x="2991" y="369"/>
                    </a:cubicBezTo>
                    <a:close/>
                    <a:moveTo>
                      <a:pt x="2991" y="338"/>
                    </a:moveTo>
                    <a:cubicBezTo>
                      <a:pt x="2984" y="338"/>
                      <a:pt x="2979" y="344"/>
                      <a:pt x="2979" y="350"/>
                    </a:cubicBezTo>
                    <a:cubicBezTo>
                      <a:pt x="2979" y="357"/>
                      <a:pt x="2984" y="363"/>
                      <a:pt x="2991" y="363"/>
                    </a:cubicBezTo>
                    <a:cubicBezTo>
                      <a:pt x="2998" y="363"/>
                      <a:pt x="3003" y="357"/>
                      <a:pt x="3003" y="350"/>
                    </a:cubicBezTo>
                    <a:cubicBezTo>
                      <a:pt x="3003" y="344"/>
                      <a:pt x="2998" y="338"/>
                      <a:pt x="2991" y="338"/>
                    </a:cubicBezTo>
                    <a:close/>
                    <a:moveTo>
                      <a:pt x="2711" y="400"/>
                    </a:moveTo>
                    <a:cubicBezTo>
                      <a:pt x="2704" y="400"/>
                      <a:pt x="2698" y="405"/>
                      <a:pt x="2698" y="412"/>
                    </a:cubicBezTo>
                    <a:cubicBezTo>
                      <a:pt x="2698" y="419"/>
                      <a:pt x="2704" y="424"/>
                      <a:pt x="2711" y="424"/>
                    </a:cubicBezTo>
                    <a:cubicBezTo>
                      <a:pt x="2717" y="424"/>
                      <a:pt x="2723" y="419"/>
                      <a:pt x="2723" y="412"/>
                    </a:cubicBezTo>
                    <a:cubicBezTo>
                      <a:pt x="2723" y="405"/>
                      <a:pt x="2717" y="400"/>
                      <a:pt x="2711" y="400"/>
                    </a:cubicBezTo>
                    <a:close/>
                    <a:moveTo>
                      <a:pt x="2641" y="184"/>
                    </a:moveTo>
                    <a:cubicBezTo>
                      <a:pt x="2634" y="184"/>
                      <a:pt x="2628" y="190"/>
                      <a:pt x="2628" y="197"/>
                    </a:cubicBezTo>
                    <a:cubicBezTo>
                      <a:pt x="2628" y="203"/>
                      <a:pt x="2634" y="209"/>
                      <a:pt x="2641" y="209"/>
                    </a:cubicBezTo>
                    <a:cubicBezTo>
                      <a:pt x="2647" y="209"/>
                      <a:pt x="2653" y="203"/>
                      <a:pt x="2653" y="197"/>
                    </a:cubicBezTo>
                    <a:cubicBezTo>
                      <a:pt x="2653" y="190"/>
                      <a:pt x="2647" y="184"/>
                      <a:pt x="2641" y="184"/>
                    </a:cubicBezTo>
                    <a:close/>
                    <a:moveTo>
                      <a:pt x="2676" y="615"/>
                    </a:moveTo>
                    <a:cubicBezTo>
                      <a:pt x="2669" y="615"/>
                      <a:pt x="2663" y="620"/>
                      <a:pt x="2663" y="627"/>
                    </a:cubicBezTo>
                    <a:cubicBezTo>
                      <a:pt x="2663" y="634"/>
                      <a:pt x="2669" y="639"/>
                      <a:pt x="2676" y="639"/>
                    </a:cubicBezTo>
                    <a:cubicBezTo>
                      <a:pt x="2682" y="639"/>
                      <a:pt x="2688" y="634"/>
                      <a:pt x="2688" y="627"/>
                    </a:cubicBezTo>
                    <a:cubicBezTo>
                      <a:pt x="2688" y="620"/>
                      <a:pt x="2682" y="615"/>
                      <a:pt x="2676" y="615"/>
                    </a:cubicBezTo>
                    <a:close/>
                    <a:moveTo>
                      <a:pt x="2641" y="246"/>
                    </a:moveTo>
                    <a:cubicBezTo>
                      <a:pt x="2634" y="246"/>
                      <a:pt x="2628" y="251"/>
                      <a:pt x="2628" y="258"/>
                    </a:cubicBezTo>
                    <a:cubicBezTo>
                      <a:pt x="2628" y="265"/>
                      <a:pt x="2634" y="270"/>
                      <a:pt x="2641" y="270"/>
                    </a:cubicBezTo>
                    <a:cubicBezTo>
                      <a:pt x="2647" y="270"/>
                      <a:pt x="2653" y="265"/>
                      <a:pt x="2653" y="258"/>
                    </a:cubicBezTo>
                    <a:cubicBezTo>
                      <a:pt x="2653" y="251"/>
                      <a:pt x="2647" y="246"/>
                      <a:pt x="2641" y="246"/>
                    </a:cubicBezTo>
                    <a:close/>
                    <a:moveTo>
                      <a:pt x="2676" y="584"/>
                    </a:moveTo>
                    <a:cubicBezTo>
                      <a:pt x="2669" y="584"/>
                      <a:pt x="2663" y="590"/>
                      <a:pt x="2663" y="596"/>
                    </a:cubicBezTo>
                    <a:cubicBezTo>
                      <a:pt x="2663" y="603"/>
                      <a:pt x="2669" y="608"/>
                      <a:pt x="2676" y="608"/>
                    </a:cubicBezTo>
                    <a:cubicBezTo>
                      <a:pt x="2682" y="608"/>
                      <a:pt x="2688" y="603"/>
                      <a:pt x="2688" y="596"/>
                    </a:cubicBezTo>
                    <a:cubicBezTo>
                      <a:pt x="2688" y="590"/>
                      <a:pt x="2682" y="584"/>
                      <a:pt x="2676" y="584"/>
                    </a:cubicBezTo>
                    <a:close/>
                    <a:moveTo>
                      <a:pt x="2641" y="215"/>
                    </a:moveTo>
                    <a:cubicBezTo>
                      <a:pt x="2634" y="215"/>
                      <a:pt x="2628" y="221"/>
                      <a:pt x="2628" y="227"/>
                    </a:cubicBezTo>
                    <a:cubicBezTo>
                      <a:pt x="2628" y="234"/>
                      <a:pt x="2634" y="240"/>
                      <a:pt x="2641" y="240"/>
                    </a:cubicBezTo>
                    <a:cubicBezTo>
                      <a:pt x="2647" y="240"/>
                      <a:pt x="2653" y="234"/>
                      <a:pt x="2653" y="227"/>
                    </a:cubicBezTo>
                    <a:cubicBezTo>
                      <a:pt x="2653" y="221"/>
                      <a:pt x="2647" y="215"/>
                      <a:pt x="2641" y="215"/>
                    </a:cubicBezTo>
                    <a:close/>
                    <a:moveTo>
                      <a:pt x="2676" y="369"/>
                    </a:moveTo>
                    <a:cubicBezTo>
                      <a:pt x="2669" y="369"/>
                      <a:pt x="2663" y="374"/>
                      <a:pt x="2663" y="381"/>
                    </a:cubicBezTo>
                    <a:cubicBezTo>
                      <a:pt x="2663" y="388"/>
                      <a:pt x="2669" y="393"/>
                      <a:pt x="2676" y="393"/>
                    </a:cubicBezTo>
                    <a:cubicBezTo>
                      <a:pt x="2682" y="393"/>
                      <a:pt x="2688" y="388"/>
                      <a:pt x="2688" y="381"/>
                    </a:cubicBezTo>
                    <a:cubicBezTo>
                      <a:pt x="2688" y="374"/>
                      <a:pt x="2682" y="369"/>
                      <a:pt x="2676" y="369"/>
                    </a:cubicBezTo>
                    <a:close/>
                    <a:moveTo>
                      <a:pt x="2676" y="338"/>
                    </a:moveTo>
                    <a:cubicBezTo>
                      <a:pt x="2669" y="338"/>
                      <a:pt x="2663" y="344"/>
                      <a:pt x="2663" y="350"/>
                    </a:cubicBezTo>
                    <a:cubicBezTo>
                      <a:pt x="2663" y="357"/>
                      <a:pt x="2669" y="363"/>
                      <a:pt x="2676" y="363"/>
                    </a:cubicBezTo>
                    <a:cubicBezTo>
                      <a:pt x="2682" y="363"/>
                      <a:pt x="2688" y="357"/>
                      <a:pt x="2688" y="350"/>
                    </a:cubicBezTo>
                    <a:cubicBezTo>
                      <a:pt x="2688" y="344"/>
                      <a:pt x="2682" y="338"/>
                      <a:pt x="2676" y="338"/>
                    </a:cubicBezTo>
                    <a:close/>
                    <a:moveTo>
                      <a:pt x="2676" y="553"/>
                    </a:moveTo>
                    <a:cubicBezTo>
                      <a:pt x="2669" y="553"/>
                      <a:pt x="2663" y="559"/>
                      <a:pt x="2663" y="566"/>
                    </a:cubicBezTo>
                    <a:cubicBezTo>
                      <a:pt x="2663" y="572"/>
                      <a:pt x="2669" y="578"/>
                      <a:pt x="2676" y="578"/>
                    </a:cubicBezTo>
                    <a:cubicBezTo>
                      <a:pt x="2682" y="578"/>
                      <a:pt x="2688" y="572"/>
                      <a:pt x="2688" y="566"/>
                    </a:cubicBezTo>
                    <a:cubicBezTo>
                      <a:pt x="2688" y="559"/>
                      <a:pt x="2682" y="553"/>
                      <a:pt x="2676" y="553"/>
                    </a:cubicBezTo>
                    <a:close/>
                    <a:moveTo>
                      <a:pt x="2641" y="277"/>
                    </a:moveTo>
                    <a:cubicBezTo>
                      <a:pt x="2634" y="277"/>
                      <a:pt x="2628" y="282"/>
                      <a:pt x="2628" y="289"/>
                    </a:cubicBezTo>
                    <a:cubicBezTo>
                      <a:pt x="2628" y="296"/>
                      <a:pt x="2634" y="301"/>
                      <a:pt x="2641" y="301"/>
                    </a:cubicBezTo>
                    <a:cubicBezTo>
                      <a:pt x="2647" y="301"/>
                      <a:pt x="2653" y="296"/>
                      <a:pt x="2653" y="289"/>
                    </a:cubicBezTo>
                    <a:cubicBezTo>
                      <a:pt x="2653" y="282"/>
                      <a:pt x="2647" y="277"/>
                      <a:pt x="2641" y="277"/>
                    </a:cubicBezTo>
                    <a:close/>
                    <a:moveTo>
                      <a:pt x="2676" y="430"/>
                    </a:moveTo>
                    <a:cubicBezTo>
                      <a:pt x="2669" y="430"/>
                      <a:pt x="2663" y="436"/>
                      <a:pt x="2663" y="443"/>
                    </a:cubicBezTo>
                    <a:cubicBezTo>
                      <a:pt x="2663" y="449"/>
                      <a:pt x="2669" y="455"/>
                      <a:pt x="2676" y="455"/>
                    </a:cubicBezTo>
                    <a:cubicBezTo>
                      <a:pt x="2682" y="455"/>
                      <a:pt x="2688" y="449"/>
                      <a:pt x="2688" y="443"/>
                    </a:cubicBezTo>
                    <a:cubicBezTo>
                      <a:pt x="2688" y="436"/>
                      <a:pt x="2682" y="430"/>
                      <a:pt x="2676" y="430"/>
                    </a:cubicBezTo>
                    <a:close/>
                    <a:moveTo>
                      <a:pt x="2676" y="400"/>
                    </a:moveTo>
                    <a:cubicBezTo>
                      <a:pt x="2669" y="400"/>
                      <a:pt x="2663" y="405"/>
                      <a:pt x="2663" y="412"/>
                    </a:cubicBezTo>
                    <a:cubicBezTo>
                      <a:pt x="2663" y="419"/>
                      <a:pt x="2669" y="424"/>
                      <a:pt x="2676" y="424"/>
                    </a:cubicBezTo>
                    <a:cubicBezTo>
                      <a:pt x="2682" y="424"/>
                      <a:pt x="2688" y="419"/>
                      <a:pt x="2688" y="412"/>
                    </a:cubicBezTo>
                    <a:cubicBezTo>
                      <a:pt x="2688" y="405"/>
                      <a:pt x="2682" y="400"/>
                      <a:pt x="2676" y="400"/>
                    </a:cubicBezTo>
                    <a:close/>
                    <a:moveTo>
                      <a:pt x="2605" y="184"/>
                    </a:moveTo>
                    <a:cubicBezTo>
                      <a:pt x="2599" y="184"/>
                      <a:pt x="2593" y="190"/>
                      <a:pt x="2593" y="197"/>
                    </a:cubicBezTo>
                    <a:cubicBezTo>
                      <a:pt x="2593" y="203"/>
                      <a:pt x="2599" y="209"/>
                      <a:pt x="2605" y="209"/>
                    </a:cubicBezTo>
                    <a:cubicBezTo>
                      <a:pt x="2612" y="209"/>
                      <a:pt x="2618" y="203"/>
                      <a:pt x="2618" y="197"/>
                    </a:cubicBezTo>
                    <a:cubicBezTo>
                      <a:pt x="2618" y="190"/>
                      <a:pt x="2612" y="184"/>
                      <a:pt x="2605" y="184"/>
                    </a:cubicBezTo>
                    <a:close/>
                    <a:moveTo>
                      <a:pt x="2676" y="307"/>
                    </a:moveTo>
                    <a:cubicBezTo>
                      <a:pt x="2669" y="307"/>
                      <a:pt x="2663" y="313"/>
                      <a:pt x="2663" y="320"/>
                    </a:cubicBezTo>
                    <a:cubicBezTo>
                      <a:pt x="2663" y="326"/>
                      <a:pt x="2669" y="332"/>
                      <a:pt x="2676" y="332"/>
                    </a:cubicBezTo>
                    <a:cubicBezTo>
                      <a:pt x="2682" y="332"/>
                      <a:pt x="2688" y="326"/>
                      <a:pt x="2688" y="320"/>
                    </a:cubicBezTo>
                    <a:cubicBezTo>
                      <a:pt x="2688" y="313"/>
                      <a:pt x="2682" y="307"/>
                      <a:pt x="2676" y="307"/>
                    </a:cubicBezTo>
                    <a:close/>
                    <a:moveTo>
                      <a:pt x="2290" y="307"/>
                    </a:moveTo>
                    <a:cubicBezTo>
                      <a:pt x="2283" y="307"/>
                      <a:pt x="2278" y="313"/>
                      <a:pt x="2278" y="320"/>
                    </a:cubicBezTo>
                    <a:cubicBezTo>
                      <a:pt x="2278" y="326"/>
                      <a:pt x="2283" y="332"/>
                      <a:pt x="2290" y="332"/>
                    </a:cubicBezTo>
                    <a:cubicBezTo>
                      <a:pt x="2297" y="332"/>
                      <a:pt x="2302" y="326"/>
                      <a:pt x="2302" y="320"/>
                    </a:cubicBezTo>
                    <a:cubicBezTo>
                      <a:pt x="2302" y="313"/>
                      <a:pt x="2297" y="307"/>
                      <a:pt x="2290" y="307"/>
                    </a:cubicBezTo>
                    <a:close/>
                    <a:moveTo>
                      <a:pt x="2605" y="307"/>
                    </a:moveTo>
                    <a:cubicBezTo>
                      <a:pt x="2599" y="307"/>
                      <a:pt x="2593" y="313"/>
                      <a:pt x="2593" y="320"/>
                    </a:cubicBezTo>
                    <a:cubicBezTo>
                      <a:pt x="2593" y="326"/>
                      <a:pt x="2599" y="332"/>
                      <a:pt x="2605" y="332"/>
                    </a:cubicBezTo>
                    <a:cubicBezTo>
                      <a:pt x="2612" y="332"/>
                      <a:pt x="2618" y="326"/>
                      <a:pt x="2618" y="320"/>
                    </a:cubicBezTo>
                    <a:cubicBezTo>
                      <a:pt x="2618" y="313"/>
                      <a:pt x="2612" y="307"/>
                      <a:pt x="2605" y="307"/>
                    </a:cubicBezTo>
                    <a:close/>
                    <a:moveTo>
                      <a:pt x="2605" y="338"/>
                    </a:moveTo>
                    <a:cubicBezTo>
                      <a:pt x="2599" y="338"/>
                      <a:pt x="2593" y="344"/>
                      <a:pt x="2593" y="350"/>
                    </a:cubicBezTo>
                    <a:cubicBezTo>
                      <a:pt x="2593" y="357"/>
                      <a:pt x="2599" y="363"/>
                      <a:pt x="2605" y="363"/>
                    </a:cubicBezTo>
                    <a:cubicBezTo>
                      <a:pt x="2612" y="363"/>
                      <a:pt x="2618" y="357"/>
                      <a:pt x="2618" y="350"/>
                    </a:cubicBezTo>
                    <a:cubicBezTo>
                      <a:pt x="2618" y="344"/>
                      <a:pt x="2612" y="338"/>
                      <a:pt x="2605" y="338"/>
                    </a:cubicBezTo>
                    <a:close/>
                    <a:moveTo>
                      <a:pt x="2605" y="369"/>
                    </a:moveTo>
                    <a:cubicBezTo>
                      <a:pt x="2599" y="369"/>
                      <a:pt x="2593" y="374"/>
                      <a:pt x="2593" y="381"/>
                    </a:cubicBezTo>
                    <a:cubicBezTo>
                      <a:pt x="2593" y="388"/>
                      <a:pt x="2599" y="393"/>
                      <a:pt x="2605" y="393"/>
                    </a:cubicBezTo>
                    <a:cubicBezTo>
                      <a:pt x="2612" y="393"/>
                      <a:pt x="2618" y="388"/>
                      <a:pt x="2618" y="381"/>
                    </a:cubicBezTo>
                    <a:cubicBezTo>
                      <a:pt x="2618" y="374"/>
                      <a:pt x="2612" y="369"/>
                      <a:pt x="2605" y="369"/>
                    </a:cubicBezTo>
                    <a:close/>
                    <a:moveTo>
                      <a:pt x="2641" y="307"/>
                    </a:moveTo>
                    <a:cubicBezTo>
                      <a:pt x="2634" y="307"/>
                      <a:pt x="2628" y="313"/>
                      <a:pt x="2628" y="320"/>
                    </a:cubicBezTo>
                    <a:cubicBezTo>
                      <a:pt x="2628" y="326"/>
                      <a:pt x="2634" y="332"/>
                      <a:pt x="2641" y="332"/>
                    </a:cubicBezTo>
                    <a:cubicBezTo>
                      <a:pt x="2647" y="332"/>
                      <a:pt x="2653" y="326"/>
                      <a:pt x="2653" y="320"/>
                    </a:cubicBezTo>
                    <a:cubicBezTo>
                      <a:pt x="2653" y="313"/>
                      <a:pt x="2647" y="307"/>
                      <a:pt x="2641" y="307"/>
                    </a:cubicBezTo>
                    <a:close/>
                    <a:moveTo>
                      <a:pt x="2641" y="369"/>
                    </a:moveTo>
                    <a:cubicBezTo>
                      <a:pt x="2634" y="369"/>
                      <a:pt x="2628" y="374"/>
                      <a:pt x="2628" y="381"/>
                    </a:cubicBezTo>
                    <a:cubicBezTo>
                      <a:pt x="2628" y="388"/>
                      <a:pt x="2634" y="393"/>
                      <a:pt x="2641" y="393"/>
                    </a:cubicBezTo>
                    <a:cubicBezTo>
                      <a:pt x="2647" y="393"/>
                      <a:pt x="2653" y="388"/>
                      <a:pt x="2653" y="381"/>
                    </a:cubicBezTo>
                    <a:cubicBezTo>
                      <a:pt x="2653" y="374"/>
                      <a:pt x="2647" y="369"/>
                      <a:pt x="2641" y="369"/>
                    </a:cubicBezTo>
                    <a:close/>
                    <a:moveTo>
                      <a:pt x="2641" y="553"/>
                    </a:moveTo>
                    <a:cubicBezTo>
                      <a:pt x="2634" y="553"/>
                      <a:pt x="2628" y="559"/>
                      <a:pt x="2628" y="566"/>
                    </a:cubicBezTo>
                    <a:cubicBezTo>
                      <a:pt x="2628" y="572"/>
                      <a:pt x="2634" y="578"/>
                      <a:pt x="2641" y="578"/>
                    </a:cubicBezTo>
                    <a:cubicBezTo>
                      <a:pt x="2647" y="578"/>
                      <a:pt x="2653" y="572"/>
                      <a:pt x="2653" y="566"/>
                    </a:cubicBezTo>
                    <a:cubicBezTo>
                      <a:pt x="2653" y="559"/>
                      <a:pt x="2647" y="553"/>
                      <a:pt x="2641" y="553"/>
                    </a:cubicBezTo>
                    <a:close/>
                    <a:moveTo>
                      <a:pt x="2641" y="338"/>
                    </a:moveTo>
                    <a:cubicBezTo>
                      <a:pt x="2634" y="338"/>
                      <a:pt x="2628" y="344"/>
                      <a:pt x="2628" y="350"/>
                    </a:cubicBezTo>
                    <a:cubicBezTo>
                      <a:pt x="2628" y="357"/>
                      <a:pt x="2634" y="363"/>
                      <a:pt x="2641" y="363"/>
                    </a:cubicBezTo>
                    <a:cubicBezTo>
                      <a:pt x="2647" y="363"/>
                      <a:pt x="2653" y="357"/>
                      <a:pt x="2653" y="350"/>
                    </a:cubicBezTo>
                    <a:cubicBezTo>
                      <a:pt x="2653" y="344"/>
                      <a:pt x="2647" y="338"/>
                      <a:pt x="2641" y="338"/>
                    </a:cubicBezTo>
                    <a:close/>
                    <a:moveTo>
                      <a:pt x="2641" y="430"/>
                    </a:moveTo>
                    <a:cubicBezTo>
                      <a:pt x="2634" y="430"/>
                      <a:pt x="2628" y="436"/>
                      <a:pt x="2628" y="443"/>
                    </a:cubicBezTo>
                    <a:cubicBezTo>
                      <a:pt x="2628" y="449"/>
                      <a:pt x="2634" y="455"/>
                      <a:pt x="2641" y="455"/>
                    </a:cubicBezTo>
                    <a:cubicBezTo>
                      <a:pt x="2647" y="455"/>
                      <a:pt x="2653" y="449"/>
                      <a:pt x="2653" y="443"/>
                    </a:cubicBezTo>
                    <a:cubicBezTo>
                      <a:pt x="2653" y="436"/>
                      <a:pt x="2647" y="430"/>
                      <a:pt x="2641" y="430"/>
                    </a:cubicBezTo>
                    <a:close/>
                    <a:moveTo>
                      <a:pt x="2641" y="400"/>
                    </a:moveTo>
                    <a:cubicBezTo>
                      <a:pt x="2634" y="400"/>
                      <a:pt x="2628" y="405"/>
                      <a:pt x="2628" y="412"/>
                    </a:cubicBezTo>
                    <a:cubicBezTo>
                      <a:pt x="2628" y="419"/>
                      <a:pt x="2634" y="424"/>
                      <a:pt x="2641" y="424"/>
                    </a:cubicBezTo>
                    <a:cubicBezTo>
                      <a:pt x="2647" y="424"/>
                      <a:pt x="2653" y="419"/>
                      <a:pt x="2653" y="412"/>
                    </a:cubicBezTo>
                    <a:cubicBezTo>
                      <a:pt x="2653" y="405"/>
                      <a:pt x="2647" y="400"/>
                      <a:pt x="2641" y="400"/>
                    </a:cubicBezTo>
                    <a:close/>
                    <a:moveTo>
                      <a:pt x="2781" y="400"/>
                    </a:moveTo>
                    <a:cubicBezTo>
                      <a:pt x="2774" y="400"/>
                      <a:pt x="2768" y="405"/>
                      <a:pt x="2768" y="412"/>
                    </a:cubicBezTo>
                    <a:cubicBezTo>
                      <a:pt x="2768" y="419"/>
                      <a:pt x="2774" y="424"/>
                      <a:pt x="2781" y="424"/>
                    </a:cubicBezTo>
                    <a:cubicBezTo>
                      <a:pt x="2787" y="424"/>
                      <a:pt x="2793" y="419"/>
                      <a:pt x="2793" y="412"/>
                    </a:cubicBezTo>
                    <a:cubicBezTo>
                      <a:pt x="2793" y="405"/>
                      <a:pt x="2787" y="400"/>
                      <a:pt x="2781" y="400"/>
                    </a:cubicBezTo>
                    <a:close/>
                    <a:moveTo>
                      <a:pt x="2746" y="369"/>
                    </a:moveTo>
                    <a:cubicBezTo>
                      <a:pt x="2739" y="369"/>
                      <a:pt x="2733" y="374"/>
                      <a:pt x="2733" y="381"/>
                    </a:cubicBezTo>
                    <a:cubicBezTo>
                      <a:pt x="2733" y="388"/>
                      <a:pt x="2739" y="393"/>
                      <a:pt x="2746" y="393"/>
                    </a:cubicBezTo>
                    <a:cubicBezTo>
                      <a:pt x="2752" y="393"/>
                      <a:pt x="2758" y="388"/>
                      <a:pt x="2758" y="381"/>
                    </a:cubicBezTo>
                    <a:cubicBezTo>
                      <a:pt x="2758" y="374"/>
                      <a:pt x="2752" y="369"/>
                      <a:pt x="2746" y="369"/>
                    </a:cubicBezTo>
                    <a:close/>
                    <a:moveTo>
                      <a:pt x="2816" y="430"/>
                    </a:moveTo>
                    <a:cubicBezTo>
                      <a:pt x="2809" y="430"/>
                      <a:pt x="2804" y="436"/>
                      <a:pt x="2804" y="443"/>
                    </a:cubicBezTo>
                    <a:cubicBezTo>
                      <a:pt x="2804" y="449"/>
                      <a:pt x="2809" y="455"/>
                      <a:pt x="2816" y="455"/>
                    </a:cubicBezTo>
                    <a:cubicBezTo>
                      <a:pt x="2822" y="455"/>
                      <a:pt x="2828" y="449"/>
                      <a:pt x="2828" y="443"/>
                    </a:cubicBezTo>
                    <a:cubicBezTo>
                      <a:pt x="2828" y="436"/>
                      <a:pt x="2822" y="430"/>
                      <a:pt x="2816" y="430"/>
                    </a:cubicBezTo>
                    <a:close/>
                    <a:moveTo>
                      <a:pt x="2781" y="430"/>
                    </a:moveTo>
                    <a:cubicBezTo>
                      <a:pt x="2774" y="430"/>
                      <a:pt x="2768" y="436"/>
                      <a:pt x="2768" y="443"/>
                    </a:cubicBezTo>
                    <a:cubicBezTo>
                      <a:pt x="2768" y="449"/>
                      <a:pt x="2774" y="455"/>
                      <a:pt x="2781" y="455"/>
                    </a:cubicBezTo>
                    <a:cubicBezTo>
                      <a:pt x="2787" y="455"/>
                      <a:pt x="2793" y="449"/>
                      <a:pt x="2793" y="443"/>
                    </a:cubicBezTo>
                    <a:cubicBezTo>
                      <a:pt x="2793" y="436"/>
                      <a:pt x="2787" y="430"/>
                      <a:pt x="2781" y="430"/>
                    </a:cubicBezTo>
                    <a:close/>
                    <a:moveTo>
                      <a:pt x="2746" y="307"/>
                    </a:moveTo>
                    <a:cubicBezTo>
                      <a:pt x="2739" y="307"/>
                      <a:pt x="2733" y="313"/>
                      <a:pt x="2733" y="320"/>
                    </a:cubicBezTo>
                    <a:cubicBezTo>
                      <a:pt x="2733" y="326"/>
                      <a:pt x="2739" y="332"/>
                      <a:pt x="2746" y="332"/>
                    </a:cubicBezTo>
                    <a:cubicBezTo>
                      <a:pt x="2752" y="332"/>
                      <a:pt x="2758" y="326"/>
                      <a:pt x="2758" y="320"/>
                    </a:cubicBezTo>
                    <a:cubicBezTo>
                      <a:pt x="2758" y="313"/>
                      <a:pt x="2752" y="307"/>
                      <a:pt x="2746" y="307"/>
                    </a:cubicBezTo>
                    <a:close/>
                    <a:moveTo>
                      <a:pt x="2676" y="277"/>
                    </a:moveTo>
                    <a:cubicBezTo>
                      <a:pt x="2669" y="277"/>
                      <a:pt x="2663" y="282"/>
                      <a:pt x="2663" y="289"/>
                    </a:cubicBezTo>
                    <a:cubicBezTo>
                      <a:pt x="2663" y="296"/>
                      <a:pt x="2669" y="301"/>
                      <a:pt x="2676" y="301"/>
                    </a:cubicBezTo>
                    <a:cubicBezTo>
                      <a:pt x="2682" y="301"/>
                      <a:pt x="2688" y="296"/>
                      <a:pt x="2688" y="289"/>
                    </a:cubicBezTo>
                    <a:cubicBezTo>
                      <a:pt x="2688" y="282"/>
                      <a:pt x="2682" y="277"/>
                      <a:pt x="2676" y="277"/>
                    </a:cubicBezTo>
                    <a:close/>
                    <a:moveTo>
                      <a:pt x="2746" y="277"/>
                    </a:moveTo>
                    <a:cubicBezTo>
                      <a:pt x="2739" y="277"/>
                      <a:pt x="2733" y="282"/>
                      <a:pt x="2733" y="289"/>
                    </a:cubicBezTo>
                    <a:cubicBezTo>
                      <a:pt x="2733" y="296"/>
                      <a:pt x="2739" y="301"/>
                      <a:pt x="2746" y="301"/>
                    </a:cubicBezTo>
                    <a:cubicBezTo>
                      <a:pt x="2752" y="301"/>
                      <a:pt x="2758" y="296"/>
                      <a:pt x="2758" y="289"/>
                    </a:cubicBezTo>
                    <a:cubicBezTo>
                      <a:pt x="2758" y="282"/>
                      <a:pt x="2752" y="277"/>
                      <a:pt x="2746" y="277"/>
                    </a:cubicBezTo>
                    <a:close/>
                    <a:moveTo>
                      <a:pt x="2781" y="277"/>
                    </a:moveTo>
                    <a:cubicBezTo>
                      <a:pt x="2774" y="277"/>
                      <a:pt x="2768" y="282"/>
                      <a:pt x="2768" y="289"/>
                    </a:cubicBezTo>
                    <a:cubicBezTo>
                      <a:pt x="2768" y="296"/>
                      <a:pt x="2774" y="301"/>
                      <a:pt x="2781" y="301"/>
                    </a:cubicBezTo>
                    <a:cubicBezTo>
                      <a:pt x="2787" y="301"/>
                      <a:pt x="2793" y="296"/>
                      <a:pt x="2793" y="289"/>
                    </a:cubicBezTo>
                    <a:cubicBezTo>
                      <a:pt x="2793" y="282"/>
                      <a:pt x="2787" y="277"/>
                      <a:pt x="2781" y="277"/>
                    </a:cubicBezTo>
                    <a:close/>
                    <a:moveTo>
                      <a:pt x="2816" y="584"/>
                    </a:moveTo>
                    <a:cubicBezTo>
                      <a:pt x="2809" y="584"/>
                      <a:pt x="2804" y="590"/>
                      <a:pt x="2804" y="596"/>
                    </a:cubicBezTo>
                    <a:cubicBezTo>
                      <a:pt x="2804" y="603"/>
                      <a:pt x="2809" y="608"/>
                      <a:pt x="2816" y="608"/>
                    </a:cubicBezTo>
                    <a:cubicBezTo>
                      <a:pt x="2822" y="608"/>
                      <a:pt x="2828" y="603"/>
                      <a:pt x="2828" y="596"/>
                    </a:cubicBezTo>
                    <a:cubicBezTo>
                      <a:pt x="2828" y="590"/>
                      <a:pt x="2822" y="584"/>
                      <a:pt x="2816" y="584"/>
                    </a:cubicBezTo>
                    <a:close/>
                    <a:moveTo>
                      <a:pt x="2781" y="338"/>
                    </a:moveTo>
                    <a:cubicBezTo>
                      <a:pt x="2774" y="338"/>
                      <a:pt x="2768" y="344"/>
                      <a:pt x="2768" y="350"/>
                    </a:cubicBezTo>
                    <a:cubicBezTo>
                      <a:pt x="2768" y="357"/>
                      <a:pt x="2774" y="363"/>
                      <a:pt x="2781" y="363"/>
                    </a:cubicBezTo>
                    <a:cubicBezTo>
                      <a:pt x="2787" y="363"/>
                      <a:pt x="2793" y="357"/>
                      <a:pt x="2793" y="350"/>
                    </a:cubicBezTo>
                    <a:cubicBezTo>
                      <a:pt x="2793" y="344"/>
                      <a:pt x="2787" y="338"/>
                      <a:pt x="2781" y="338"/>
                    </a:cubicBezTo>
                    <a:close/>
                    <a:moveTo>
                      <a:pt x="2781" y="307"/>
                    </a:moveTo>
                    <a:cubicBezTo>
                      <a:pt x="2774" y="307"/>
                      <a:pt x="2768" y="313"/>
                      <a:pt x="2768" y="320"/>
                    </a:cubicBezTo>
                    <a:cubicBezTo>
                      <a:pt x="2768" y="326"/>
                      <a:pt x="2774" y="332"/>
                      <a:pt x="2781" y="332"/>
                    </a:cubicBezTo>
                    <a:cubicBezTo>
                      <a:pt x="2787" y="332"/>
                      <a:pt x="2793" y="326"/>
                      <a:pt x="2793" y="320"/>
                    </a:cubicBezTo>
                    <a:cubicBezTo>
                      <a:pt x="2793" y="313"/>
                      <a:pt x="2787" y="307"/>
                      <a:pt x="2781" y="307"/>
                    </a:cubicBezTo>
                    <a:close/>
                    <a:moveTo>
                      <a:pt x="2781" y="369"/>
                    </a:moveTo>
                    <a:cubicBezTo>
                      <a:pt x="2774" y="369"/>
                      <a:pt x="2768" y="374"/>
                      <a:pt x="2768" y="381"/>
                    </a:cubicBezTo>
                    <a:cubicBezTo>
                      <a:pt x="2768" y="388"/>
                      <a:pt x="2774" y="393"/>
                      <a:pt x="2781" y="393"/>
                    </a:cubicBezTo>
                    <a:cubicBezTo>
                      <a:pt x="2787" y="393"/>
                      <a:pt x="2793" y="388"/>
                      <a:pt x="2793" y="381"/>
                    </a:cubicBezTo>
                    <a:cubicBezTo>
                      <a:pt x="2793" y="374"/>
                      <a:pt x="2787" y="369"/>
                      <a:pt x="2781" y="369"/>
                    </a:cubicBezTo>
                    <a:close/>
                    <a:moveTo>
                      <a:pt x="2746" y="338"/>
                    </a:moveTo>
                    <a:cubicBezTo>
                      <a:pt x="2739" y="338"/>
                      <a:pt x="2733" y="344"/>
                      <a:pt x="2733" y="350"/>
                    </a:cubicBezTo>
                    <a:cubicBezTo>
                      <a:pt x="2733" y="357"/>
                      <a:pt x="2739" y="363"/>
                      <a:pt x="2746" y="363"/>
                    </a:cubicBezTo>
                    <a:cubicBezTo>
                      <a:pt x="2752" y="363"/>
                      <a:pt x="2758" y="357"/>
                      <a:pt x="2758" y="350"/>
                    </a:cubicBezTo>
                    <a:cubicBezTo>
                      <a:pt x="2758" y="344"/>
                      <a:pt x="2752" y="338"/>
                      <a:pt x="2746" y="338"/>
                    </a:cubicBezTo>
                    <a:close/>
                    <a:moveTo>
                      <a:pt x="2746" y="400"/>
                    </a:moveTo>
                    <a:cubicBezTo>
                      <a:pt x="2739" y="400"/>
                      <a:pt x="2733" y="405"/>
                      <a:pt x="2733" y="412"/>
                    </a:cubicBezTo>
                    <a:cubicBezTo>
                      <a:pt x="2733" y="419"/>
                      <a:pt x="2739" y="424"/>
                      <a:pt x="2746" y="424"/>
                    </a:cubicBezTo>
                    <a:cubicBezTo>
                      <a:pt x="2752" y="424"/>
                      <a:pt x="2758" y="419"/>
                      <a:pt x="2758" y="412"/>
                    </a:cubicBezTo>
                    <a:cubicBezTo>
                      <a:pt x="2758" y="405"/>
                      <a:pt x="2752" y="400"/>
                      <a:pt x="2746" y="400"/>
                    </a:cubicBezTo>
                    <a:close/>
                    <a:moveTo>
                      <a:pt x="2605" y="400"/>
                    </a:moveTo>
                    <a:cubicBezTo>
                      <a:pt x="2599" y="400"/>
                      <a:pt x="2593" y="405"/>
                      <a:pt x="2593" y="412"/>
                    </a:cubicBezTo>
                    <a:cubicBezTo>
                      <a:pt x="2593" y="419"/>
                      <a:pt x="2599" y="424"/>
                      <a:pt x="2605" y="424"/>
                    </a:cubicBezTo>
                    <a:cubicBezTo>
                      <a:pt x="2612" y="424"/>
                      <a:pt x="2618" y="419"/>
                      <a:pt x="2618" y="412"/>
                    </a:cubicBezTo>
                    <a:cubicBezTo>
                      <a:pt x="2618" y="405"/>
                      <a:pt x="2612" y="400"/>
                      <a:pt x="2605" y="400"/>
                    </a:cubicBezTo>
                    <a:close/>
                    <a:moveTo>
                      <a:pt x="2676" y="246"/>
                    </a:moveTo>
                    <a:cubicBezTo>
                      <a:pt x="2669" y="246"/>
                      <a:pt x="2663" y="251"/>
                      <a:pt x="2663" y="258"/>
                    </a:cubicBezTo>
                    <a:cubicBezTo>
                      <a:pt x="2663" y="265"/>
                      <a:pt x="2669" y="270"/>
                      <a:pt x="2676" y="270"/>
                    </a:cubicBezTo>
                    <a:cubicBezTo>
                      <a:pt x="2682" y="270"/>
                      <a:pt x="2688" y="265"/>
                      <a:pt x="2688" y="258"/>
                    </a:cubicBezTo>
                    <a:cubicBezTo>
                      <a:pt x="2688" y="251"/>
                      <a:pt x="2682" y="246"/>
                      <a:pt x="2676" y="246"/>
                    </a:cubicBezTo>
                    <a:close/>
                    <a:moveTo>
                      <a:pt x="2676" y="215"/>
                    </a:moveTo>
                    <a:cubicBezTo>
                      <a:pt x="2669" y="215"/>
                      <a:pt x="2663" y="221"/>
                      <a:pt x="2663" y="227"/>
                    </a:cubicBezTo>
                    <a:cubicBezTo>
                      <a:pt x="2663" y="234"/>
                      <a:pt x="2669" y="240"/>
                      <a:pt x="2676" y="240"/>
                    </a:cubicBezTo>
                    <a:cubicBezTo>
                      <a:pt x="2682" y="240"/>
                      <a:pt x="2688" y="234"/>
                      <a:pt x="2688" y="227"/>
                    </a:cubicBezTo>
                    <a:cubicBezTo>
                      <a:pt x="2688" y="221"/>
                      <a:pt x="2682" y="215"/>
                      <a:pt x="2676" y="215"/>
                    </a:cubicBezTo>
                    <a:close/>
                    <a:moveTo>
                      <a:pt x="2711" y="369"/>
                    </a:moveTo>
                    <a:cubicBezTo>
                      <a:pt x="2704" y="369"/>
                      <a:pt x="2698" y="374"/>
                      <a:pt x="2698" y="381"/>
                    </a:cubicBezTo>
                    <a:cubicBezTo>
                      <a:pt x="2698" y="388"/>
                      <a:pt x="2704" y="393"/>
                      <a:pt x="2711" y="393"/>
                    </a:cubicBezTo>
                    <a:cubicBezTo>
                      <a:pt x="2717" y="393"/>
                      <a:pt x="2723" y="388"/>
                      <a:pt x="2723" y="381"/>
                    </a:cubicBezTo>
                    <a:cubicBezTo>
                      <a:pt x="2723" y="374"/>
                      <a:pt x="2717" y="369"/>
                      <a:pt x="2711" y="369"/>
                    </a:cubicBezTo>
                    <a:close/>
                    <a:moveTo>
                      <a:pt x="2711" y="430"/>
                    </a:moveTo>
                    <a:cubicBezTo>
                      <a:pt x="2704" y="430"/>
                      <a:pt x="2698" y="436"/>
                      <a:pt x="2698" y="443"/>
                    </a:cubicBezTo>
                    <a:cubicBezTo>
                      <a:pt x="2698" y="449"/>
                      <a:pt x="2704" y="455"/>
                      <a:pt x="2711" y="455"/>
                    </a:cubicBezTo>
                    <a:cubicBezTo>
                      <a:pt x="2717" y="455"/>
                      <a:pt x="2723" y="449"/>
                      <a:pt x="2723" y="443"/>
                    </a:cubicBezTo>
                    <a:cubicBezTo>
                      <a:pt x="2723" y="436"/>
                      <a:pt x="2717" y="430"/>
                      <a:pt x="2711" y="430"/>
                    </a:cubicBezTo>
                    <a:close/>
                    <a:moveTo>
                      <a:pt x="2711" y="338"/>
                    </a:moveTo>
                    <a:cubicBezTo>
                      <a:pt x="2704" y="338"/>
                      <a:pt x="2698" y="344"/>
                      <a:pt x="2698" y="350"/>
                    </a:cubicBezTo>
                    <a:cubicBezTo>
                      <a:pt x="2698" y="357"/>
                      <a:pt x="2704" y="363"/>
                      <a:pt x="2711" y="363"/>
                    </a:cubicBezTo>
                    <a:cubicBezTo>
                      <a:pt x="2717" y="363"/>
                      <a:pt x="2723" y="357"/>
                      <a:pt x="2723" y="350"/>
                    </a:cubicBezTo>
                    <a:cubicBezTo>
                      <a:pt x="2723" y="344"/>
                      <a:pt x="2717" y="338"/>
                      <a:pt x="2711" y="338"/>
                    </a:cubicBezTo>
                    <a:close/>
                    <a:moveTo>
                      <a:pt x="2711" y="246"/>
                    </a:moveTo>
                    <a:cubicBezTo>
                      <a:pt x="2704" y="246"/>
                      <a:pt x="2698" y="251"/>
                      <a:pt x="2698" y="258"/>
                    </a:cubicBezTo>
                    <a:cubicBezTo>
                      <a:pt x="2698" y="265"/>
                      <a:pt x="2704" y="270"/>
                      <a:pt x="2711" y="270"/>
                    </a:cubicBezTo>
                    <a:cubicBezTo>
                      <a:pt x="2717" y="270"/>
                      <a:pt x="2723" y="265"/>
                      <a:pt x="2723" y="258"/>
                    </a:cubicBezTo>
                    <a:cubicBezTo>
                      <a:pt x="2723" y="251"/>
                      <a:pt x="2717" y="246"/>
                      <a:pt x="2711" y="246"/>
                    </a:cubicBezTo>
                    <a:close/>
                    <a:moveTo>
                      <a:pt x="2746" y="430"/>
                    </a:moveTo>
                    <a:cubicBezTo>
                      <a:pt x="2739" y="430"/>
                      <a:pt x="2733" y="436"/>
                      <a:pt x="2733" y="443"/>
                    </a:cubicBezTo>
                    <a:cubicBezTo>
                      <a:pt x="2733" y="449"/>
                      <a:pt x="2739" y="455"/>
                      <a:pt x="2746" y="455"/>
                    </a:cubicBezTo>
                    <a:cubicBezTo>
                      <a:pt x="2752" y="455"/>
                      <a:pt x="2758" y="449"/>
                      <a:pt x="2758" y="443"/>
                    </a:cubicBezTo>
                    <a:cubicBezTo>
                      <a:pt x="2758" y="436"/>
                      <a:pt x="2752" y="430"/>
                      <a:pt x="2746" y="430"/>
                    </a:cubicBezTo>
                    <a:close/>
                    <a:moveTo>
                      <a:pt x="2711" y="277"/>
                    </a:moveTo>
                    <a:cubicBezTo>
                      <a:pt x="2704" y="277"/>
                      <a:pt x="2698" y="282"/>
                      <a:pt x="2698" y="289"/>
                    </a:cubicBezTo>
                    <a:cubicBezTo>
                      <a:pt x="2698" y="296"/>
                      <a:pt x="2704" y="301"/>
                      <a:pt x="2711" y="301"/>
                    </a:cubicBezTo>
                    <a:cubicBezTo>
                      <a:pt x="2717" y="301"/>
                      <a:pt x="2723" y="296"/>
                      <a:pt x="2723" y="289"/>
                    </a:cubicBezTo>
                    <a:cubicBezTo>
                      <a:pt x="2723" y="282"/>
                      <a:pt x="2717" y="277"/>
                      <a:pt x="2711" y="277"/>
                    </a:cubicBezTo>
                    <a:close/>
                    <a:moveTo>
                      <a:pt x="2711" y="307"/>
                    </a:moveTo>
                    <a:cubicBezTo>
                      <a:pt x="2704" y="307"/>
                      <a:pt x="2698" y="313"/>
                      <a:pt x="2698" y="320"/>
                    </a:cubicBezTo>
                    <a:cubicBezTo>
                      <a:pt x="2698" y="326"/>
                      <a:pt x="2704" y="332"/>
                      <a:pt x="2711" y="332"/>
                    </a:cubicBezTo>
                    <a:cubicBezTo>
                      <a:pt x="2717" y="332"/>
                      <a:pt x="2723" y="326"/>
                      <a:pt x="2723" y="320"/>
                    </a:cubicBezTo>
                    <a:cubicBezTo>
                      <a:pt x="2723" y="313"/>
                      <a:pt x="2717" y="307"/>
                      <a:pt x="2711" y="307"/>
                    </a:cubicBezTo>
                    <a:close/>
                    <a:moveTo>
                      <a:pt x="1764" y="246"/>
                    </a:moveTo>
                    <a:cubicBezTo>
                      <a:pt x="1758" y="246"/>
                      <a:pt x="1752" y="251"/>
                      <a:pt x="1752" y="258"/>
                    </a:cubicBezTo>
                    <a:cubicBezTo>
                      <a:pt x="1752" y="265"/>
                      <a:pt x="1758" y="270"/>
                      <a:pt x="1764" y="270"/>
                    </a:cubicBezTo>
                    <a:cubicBezTo>
                      <a:pt x="1771" y="270"/>
                      <a:pt x="1777" y="265"/>
                      <a:pt x="1777" y="258"/>
                    </a:cubicBezTo>
                    <a:cubicBezTo>
                      <a:pt x="1777" y="251"/>
                      <a:pt x="1771" y="246"/>
                      <a:pt x="1764" y="246"/>
                    </a:cubicBezTo>
                    <a:close/>
                    <a:moveTo>
                      <a:pt x="1975" y="246"/>
                    </a:moveTo>
                    <a:cubicBezTo>
                      <a:pt x="1968" y="246"/>
                      <a:pt x="1963" y="251"/>
                      <a:pt x="1963" y="258"/>
                    </a:cubicBezTo>
                    <a:cubicBezTo>
                      <a:pt x="1963" y="265"/>
                      <a:pt x="1968" y="270"/>
                      <a:pt x="1975" y="270"/>
                    </a:cubicBezTo>
                    <a:cubicBezTo>
                      <a:pt x="1981" y="270"/>
                      <a:pt x="1987" y="265"/>
                      <a:pt x="1987" y="258"/>
                    </a:cubicBezTo>
                    <a:cubicBezTo>
                      <a:pt x="1987" y="251"/>
                      <a:pt x="1981" y="246"/>
                      <a:pt x="1975" y="246"/>
                    </a:cubicBezTo>
                    <a:close/>
                    <a:moveTo>
                      <a:pt x="1975" y="277"/>
                    </a:moveTo>
                    <a:cubicBezTo>
                      <a:pt x="1968" y="277"/>
                      <a:pt x="1963" y="282"/>
                      <a:pt x="1963" y="289"/>
                    </a:cubicBezTo>
                    <a:cubicBezTo>
                      <a:pt x="1963" y="296"/>
                      <a:pt x="1968" y="301"/>
                      <a:pt x="1975" y="301"/>
                    </a:cubicBezTo>
                    <a:cubicBezTo>
                      <a:pt x="1981" y="301"/>
                      <a:pt x="1987" y="296"/>
                      <a:pt x="1987" y="289"/>
                    </a:cubicBezTo>
                    <a:cubicBezTo>
                      <a:pt x="1987" y="282"/>
                      <a:pt x="1981" y="277"/>
                      <a:pt x="1975" y="277"/>
                    </a:cubicBezTo>
                    <a:close/>
                    <a:moveTo>
                      <a:pt x="1975" y="338"/>
                    </a:moveTo>
                    <a:cubicBezTo>
                      <a:pt x="1968" y="338"/>
                      <a:pt x="1963" y="344"/>
                      <a:pt x="1963" y="350"/>
                    </a:cubicBezTo>
                    <a:cubicBezTo>
                      <a:pt x="1963" y="357"/>
                      <a:pt x="1968" y="363"/>
                      <a:pt x="1975" y="363"/>
                    </a:cubicBezTo>
                    <a:cubicBezTo>
                      <a:pt x="1981" y="363"/>
                      <a:pt x="1987" y="357"/>
                      <a:pt x="1987" y="350"/>
                    </a:cubicBezTo>
                    <a:cubicBezTo>
                      <a:pt x="1987" y="344"/>
                      <a:pt x="1981" y="338"/>
                      <a:pt x="1975" y="338"/>
                    </a:cubicBezTo>
                    <a:close/>
                    <a:moveTo>
                      <a:pt x="1975" y="307"/>
                    </a:moveTo>
                    <a:cubicBezTo>
                      <a:pt x="1968" y="307"/>
                      <a:pt x="1963" y="313"/>
                      <a:pt x="1963" y="320"/>
                    </a:cubicBezTo>
                    <a:cubicBezTo>
                      <a:pt x="1963" y="326"/>
                      <a:pt x="1968" y="332"/>
                      <a:pt x="1975" y="332"/>
                    </a:cubicBezTo>
                    <a:cubicBezTo>
                      <a:pt x="1981" y="332"/>
                      <a:pt x="1987" y="326"/>
                      <a:pt x="1987" y="320"/>
                    </a:cubicBezTo>
                    <a:cubicBezTo>
                      <a:pt x="1987" y="313"/>
                      <a:pt x="1981" y="307"/>
                      <a:pt x="1975" y="307"/>
                    </a:cubicBezTo>
                    <a:close/>
                    <a:moveTo>
                      <a:pt x="1975" y="400"/>
                    </a:moveTo>
                    <a:cubicBezTo>
                      <a:pt x="1968" y="400"/>
                      <a:pt x="1963" y="405"/>
                      <a:pt x="1963" y="412"/>
                    </a:cubicBezTo>
                    <a:cubicBezTo>
                      <a:pt x="1963" y="419"/>
                      <a:pt x="1968" y="424"/>
                      <a:pt x="1975" y="424"/>
                    </a:cubicBezTo>
                    <a:cubicBezTo>
                      <a:pt x="1981" y="424"/>
                      <a:pt x="1987" y="419"/>
                      <a:pt x="1987" y="412"/>
                    </a:cubicBezTo>
                    <a:cubicBezTo>
                      <a:pt x="1987" y="405"/>
                      <a:pt x="1981" y="400"/>
                      <a:pt x="1975" y="400"/>
                    </a:cubicBezTo>
                    <a:close/>
                    <a:moveTo>
                      <a:pt x="1975" y="369"/>
                    </a:moveTo>
                    <a:cubicBezTo>
                      <a:pt x="1968" y="369"/>
                      <a:pt x="1963" y="374"/>
                      <a:pt x="1963" y="381"/>
                    </a:cubicBezTo>
                    <a:cubicBezTo>
                      <a:pt x="1963" y="388"/>
                      <a:pt x="1968" y="393"/>
                      <a:pt x="1975" y="393"/>
                    </a:cubicBezTo>
                    <a:cubicBezTo>
                      <a:pt x="1981" y="393"/>
                      <a:pt x="1987" y="388"/>
                      <a:pt x="1987" y="381"/>
                    </a:cubicBezTo>
                    <a:cubicBezTo>
                      <a:pt x="1987" y="374"/>
                      <a:pt x="1981" y="369"/>
                      <a:pt x="1975" y="369"/>
                    </a:cubicBezTo>
                    <a:close/>
                    <a:moveTo>
                      <a:pt x="2010" y="461"/>
                    </a:moveTo>
                    <a:cubicBezTo>
                      <a:pt x="2003" y="461"/>
                      <a:pt x="1998" y="467"/>
                      <a:pt x="1998" y="473"/>
                    </a:cubicBezTo>
                    <a:cubicBezTo>
                      <a:pt x="1998" y="480"/>
                      <a:pt x="2003" y="485"/>
                      <a:pt x="2010" y="485"/>
                    </a:cubicBezTo>
                    <a:cubicBezTo>
                      <a:pt x="2016" y="485"/>
                      <a:pt x="2022" y="480"/>
                      <a:pt x="2022" y="473"/>
                    </a:cubicBezTo>
                    <a:cubicBezTo>
                      <a:pt x="2022" y="467"/>
                      <a:pt x="2016" y="461"/>
                      <a:pt x="2010" y="461"/>
                    </a:cubicBezTo>
                    <a:close/>
                    <a:moveTo>
                      <a:pt x="1975" y="430"/>
                    </a:moveTo>
                    <a:cubicBezTo>
                      <a:pt x="1968" y="430"/>
                      <a:pt x="1963" y="436"/>
                      <a:pt x="1963" y="443"/>
                    </a:cubicBezTo>
                    <a:cubicBezTo>
                      <a:pt x="1963" y="449"/>
                      <a:pt x="1968" y="455"/>
                      <a:pt x="1975" y="455"/>
                    </a:cubicBezTo>
                    <a:cubicBezTo>
                      <a:pt x="1981" y="455"/>
                      <a:pt x="1987" y="449"/>
                      <a:pt x="1987" y="443"/>
                    </a:cubicBezTo>
                    <a:cubicBezTo>
                      <a:pt x="1987" y="436"/>
                      <a:pt x="1981" y="430"/>
                      <a:pt x="1975" y="430"/>
                    </a:cubicBezTo>
                    <a:close/>
                    <a:moveTo>
                      <a:pt x="2010" y="492"/>
                    </a:moveTo>
                    <a:cubicBezTo>
                      <a:pt x="2003" y="492"/>
                      <a:pt x="1998" y="497"/>
                      <a:pt x="1998" y="504"/>
                    </a:cubicBezTo>
                    <a:cubicBezTo>
                      <a:pt x="1998" y="511"/>
                      <a:pt x="2003" y="516"/>
                      <a:pt x="2010" y="516"/>
                    </a:cubicBezTo>
                    <a:cubicBezTo>
                      <a:pt x="2016" y="516"/>
                      <a:pt x="2022" y="511"/>
                      <a:pt x="2022" y="504"/>
                    </a:cubicBezTo>
                    <a:cubicBezTo>
                      <a:pt x="2022" y="497"/>
                      <a:pt x="2016" y="492"/>
                      <a:pt x="2010" y="492"/>
                    </a:cubicBezTo>
                    <a:close/>
                    <a:moveTo>
                      <a:pt x="2010" y="523"/>
                    </a:moveTo>
                    <a:cubicBezTo>
                      <a:pt x="2003" y="523"/>
                      <a:pt x="1998" y="528"/>
                      <a:pt x="1998" y="535"/>
                    </a:cubicBezTo>
                    <a:cubicBezTo>
                      <a:pt x="1998" y="542"/>
                      <a:pt x="2003" y="547"/>
                      <a:pt x="2010" y="547"/>
                    </a:cubicBezTo>
                    <a:cubicBezTo>
                      <a:pt x="2016" y="547"/>
                      <a:pt x="2022" y="542"/>
                      <a:pt x="2022" y="535"/>
                    </a:cubicBezTo>
                    <a:cubicBezTo>
                      <a:pt x="2022" y="528"/>
                      <a:pt x="2016" y="523"/>
                      <a:pt x="2010" y="523"/>
                    </a:cubicBezTo>
                    <a:close/>
                    <a:moveTo>
                      <a:pt x="2010" y="553"/>
                    </a:moveTo>
                    <a:cubicBezTo>
                      <a:pt x="2003" y="553"/>
                      <a:pt x="1998" y="559"/>
                      <a:pt x="1998" y="566"/>
                    </a:cubicBezTo>
                    <a:cubicBezTo>
                      <a:pt x="1998" y="572"/>
                      <a:pt x="2003" y="578"/>
                      <a:pt x="2010" y="578"/>
                    </a:cubicBezTo>
                    <a:cubicBezTo>
                      <a:pt x="2016" y="578"/>
                      <a:pt x="2022" y="572"/>
                      <a:pt x="2022" y="566"/>
                    </a:cubicBezTo>
                    <a:cubicBezTo>
                      <a:pt x="2022" y="559"/>
                      <a:pt x="2016" y="553"/>
                      <a:pt x="2010" y="553"/>
                    </a:cubicBezTo>
                    <a:close/>
                    <a:moveTo>
                      <a:pt x="1975" y="215"/>
                    </a:moveTo>
                    <a:cubicBezTo>
                      <a:pt x="1968" y="215"/>
                      <a:pt x="1963" y="221"/>
                      <a:pt x="1963" y="227"/>
                    </a:cubicBezTo>
                    <a:cubicBezTo>
                      <a:pt x="1963" y="234"/>
                      <a:pt x="1968" y="240"/>
                      <a:pt x="1975" y="240"/>
                    </a:cubicBezTo>
                    <a:cubicBezTo>
                      <a:pt x="1981" y="240"/>
                      <a:pt x="1987" y="234"/>
                      <a:pt x="1987" y="227"/>
                    </a:cubicBezTo>
                    <a:cubicBezTo>
                      <a:pt x="1987" y="221"/>
                      <a:pt x="1981" y="215"/>
                      <a:pt x="1975" y="215"/>
                    </a:cubicBezTo>
                    <a:close/>
                    <a:moveTo>
                      <a:pt x="1975" y="553"/>
                    </a:moveTo>
                    <a:cubicBezTo>
                      <a:pt x="1968" y="553"/>
                      <a:pt x="1963" y="559"/>
                      <a:pt x="1963" y="566"/>
                    </a:cubicBezTo>
                    <a:cubicBezTo>
                      <a:pt x="1963" y="572"/>
                      <a:pt x="1968" y="578"/>
                      <a:pt x="1975" y="578"/>
                    </a:cubicBezTo>
                    <a:cubicBezTo>
                      <a:pt x="1981" y="578"/>
                      <a:pt x="1987" y="572"/>
                      <a:pt x="1987" y="566"/>
                    </a:cubicBezTo>
                    <a:cubicBezTo>
                      <a:pt x="1987" y="559"/>
                      <a:pt x="1981" y="553"/>
                      <a:pt x="1975" y="553"/>
                    </a:cubicBezTo>
                    <a:close/>
                    <a:moveTo>
                      <a:pt x="1940" y="307"/>
                    </a:moveTo>
                    <a:cubicBezTo>
                      <a:pt x="1933" y="307"/>
                      <a:pt x="1927" y="313"/>
                      <a:pt x="1927" y="320"/>
                    </a:cubicBezTo>
                    <a:cubicBezTo>
                      <a:pt x="1927" y="326"/>
                      <a:pt x="1933" y="332"/>
                      <a:pt x="1940" y="332"/>
                    </a:cubicBezTo>
                    <a:cubicBezTo>
                      <a:pt x="1946" y="332"/>
                      <a:pt x="1952" y="326"/>
                      <a:pt x="1952" y="320"/>
                    </a:cubicBezTo>
                    <a:cubicBezTo>
                      <a:pt x="1952" y="313"/>
                      <a:pt x="1946" y="307"/>
                      <a:pt x="1940" y="307"/>
                    </a:cubicBezTo>
                    <a:close/>
                    <a:moveTo>
                      <a:pt x="1975" y="461"/>
                    </a:moveTo>
                    <a:cubicBezTo>
                      <a:pt x="1968" y="461"/>
                      <a:pt x="1963" y="467"/>
                      <a:pt x="1963" y="473"/>
                    </a:cubicBezTo>
                    <a:cubicBezTo>
                      <a:pt x="1963" y="480"/>
                      <a:pt x="1968" y="485"/>
                      <a:pt x="1975" y="485"/>
                    </a:cubicBezTo>
                    <a:cubicBezTo>
                      <a:pt x="1981" y="485"/>
                      <a:pt x="1987" y="480"/>
                      <a:pt x="1987" y="473"/>
                    </a:cubicBezTo>
                    <a:cubicBezTo>
                      <a:pt x="1987" y="467"/>
                      <a:pt x="1981" y="461"/>
                      <a:pt x="1975" y="461"/>
                    </a:cubicBezTo>
                    <a:close/>
                    <a:moveTo>
                      <a:pt x="1940" y="369"/>
                    </a:moveTo>
                    <a:cubicBezTo>
                      <a:pt x="1933" y="369"/>
                      <a:pt x="1927" y="374"/>
                      <a:pt x="1927" y="381"/>
                    </a:cubicBezTo>
                    <a:cubicBezTo>
                      <a:pt x="1927" y="388"/>
                      <a:pt x="1933" y="393"/>
                      <a:pt x="1940" y="393"/>
                    </a:cubicBezTo>
                    <a:cubicBezTo>
                      <a:pt x="1946" y="393"/>
                      <a:pt x="1952" y="388"/>
                      <a:pt x="1952" y="381"/>
                    </a:cubicBezTo>
                    <a:cubicBezTo>
                      <a:pt x="1952" y="374"/>
                      <a:pt x="1946" y="369"/>
                      <a:pt x="1940" y="369"/>
                    </a:cubicBezTo>
                    <a:close/>
                    <a:moveTo>
                      <a:pt x="1940" y="400"/>
                    </a:moveTo>
                    <a:cubicBezTo>
                      <a:pt x="1933" y="400"/>
                      <a:pt x="1927" y="405"/>
                      <a:pt x="1927" y="412"/>
                    </a:cubicBezTo>
                    <a:cubicBezTo>
                      <a:pt x="1927" y="419"/>
                      <a:pt x="1933" y="424"/>
                      <a:pt x="1940" y="424"/>
                    </a:cubicBezTo>
                    <a:cubicBezTo>
                      <a:pt x="1946" y="424"/>
                      <a:pt x="1952" y="419"/>
                      <a:pt x="1952" y="412"/>
                    </a:cubicBezTo>
                    <a:cubicBezTo>
                      <a:pt x="1952" y="405"/>
                      <a:pt x="1946" y="400"/>
                      <a:pt x="1940" y="400"/>
                    </a:cubicBezTo>
                    <a:close/>
                    <a:moveTo>
                      <a:pt x="1940" y="430"/>
                    </a:moveTo>
                    <a:cubicBezTo>
                      <a:pt x="1933" y="430"/>
                      <a:pt x="1927" y="436"/>
                      <a:pt x="1927" y="443"/>
                    </a:cubicBezTo>
                    <a:cubicBezTo>
                      <a:pt x="1927" y="449"/>
                      <a:pt x="1933" y="455"/>
                      <a:pt x="1940" y="455"/>
                    </a:cubicBezTo>
                    <a:cubicBezTo>
                      <a:pt x="1946" y="455"/>
                      <a:pt x="1952" y="449"/>
                      <a:pt x="1952" y="443"/>
                    </a:cubicBezTo>
                    <a:cubicBezTo>
                      <a:pt x="1952" y="436"/>
                      <a:pt x="1946" y="430"/>
                      <a:pt x="1940" y="430"/>
                    </a:cubicBezTo>
                    <a:close/>
                    <a:moveTo>
                      <a:pt x="1940" y="338"/>
                    </a:moveTo>
                    <a:cubicBezTo>
                      <a:pt x="1933" y="338"/>
                      <a:pt x="1927" y="344"/>
                      <a:pt x="1927" y="350"/>
                    </a:cubicBezTo>
                    <a:cubicBezTo>
                      <a:pt x="1927" y="357"/>
                      <a:pt x="1933" y="363"/>
                      <a:pt x="1940" y="363"/>
                    </a:cubicBezTo>
                    <a:cubicBezTo>
                      <a:pt x="1946" y="363"/>
                      <a:pt x="1952" y="357"/>
                      <a:pt x="1952" y="350"/>
                    </a:cubicBezTo>
                    <a:cubicBezTo>
                      <a:pt x="1952" y="344"/>
                      <a:pt x="1946" y="338"/>
                      <a:pt x="1940" y="338"/>
                    </a:cubicBezTo>
                    <a:close/>
                    <a:moveTo>
                      <a:pt x="1940" y="277"/>
                    </a:moveTo>
                    <a:cubicBezTo>
                      <a:pt x="1933" y="277"/>
                      <a:pt x="1927" y="282"/>
                      <a:pt x="1927" y="289"/>
                    </a:cubicBezTo>
                    <a:cubicBezTo>
                      <a:pt x="1927" y="296"/>
                      <a:pt x="1933" y="301"/>
                      <a:pt x="1940" y="301"/>
                    </a:cubicBezTo>
                    <a:cubicBezTo>
                      <a:pt x="1946" y="301"/>
                      <a:pt x="1952" y="296"/>
                      <a:pt x="1952" y="289"/>
                    </a:cubicBezTo>
                    <a:cubicBezTo>
                      <a:pt x="1952" y="282"/>
                      <a:pt x="1946" y="277"/>
                      <a:pt x="1940" y="277"/>
                    </a:cubicBezTo>
                    <a:close/>
                    <a:moveTo>
                      <a:pt x="1975" y="492"/>
                    </a:moveTo>
                    <a:cubicBezTo>
                      <a:pt x="1968" y="492"/>
                      <a:pt x="1963" y="497"/>
                      <a:pt x="1963" y="504"/>
                    </a:cubicBezTo>
                    <a:cubicBezTo>
                      <a:pt x="1963" y="511"/>
                      <a:pt x="1968" y="516"/>
                      <a:pt x="1975" y="516"/>
                    </a:cubicBezTo>
                    <a:cubicBezTo>
                      <a:pt x="1981" y="516"/>
                      <a:pt x="1987" y="511"/>
                      <a:pt x="1987" y="504"/>
                    </a:cubicBezTo>
                    <a:cubicBezTo>
                      <a:pt x="1987" y="497"/>
                      <a:pt x="1981" y="492"/>
                      <a:pt x="1975" y="492"/>
                    </a:cubicBezTo>
                    <a:close/>
                    <a:moveTo>
                      <a:pt x="1975" y="523"/>
                    </a:moveTo>
                    <a:cubicBezTo>
                      <a:pt x="1968" y="523"/>
                      <a:pt x="1963" y="528"/>
                      <a:pt x="1963" y="535"/>
                    </a:cubicBezTo>
                    <a:cubicBezTo>
                      <a:pt x="1963" y="542"/>
                      <a:pt x="1968" y="547"/>
                      <a:pt x="1975" y="547"/>
                    </a:cubicBezTo>
                    <a:cubicBezTo>
                      <a:pt x="1981" y="547"/>
                      <a:pt x="1987" y="542"/>
                      <a:pt x="1987" y="535"/>
                    </a:cubicBezTo>
                    <a:cubicBezTo>
                      <a:pt x="1987" y="528"/>
                      <a:pt x="1981" y="523"/>
                      <a:pt x="1975" y="523"/>
                    </a:cubicBezTo>
                    <a:close/>
                    <a:moveTo>
                      <a:pt x="2010" y="430"/>
                    </a:moveTo>
                    <a:cubicBezTo>
                      <a:pt x="2003" y="430"/>
                      <a:pt x="1998" y="436"/>
                      <a:pt x="1998" y="443"/>
                    </a:cubicBezTo>
                    <a:cubicBezTo>
                      <a:pt x="1998" y="449"/>
                      <a:pt x="2003" y="455"/>
                      <a:pt x="2010" y="455"/>
                    </a:cubicBezTo>
                    <a:cubicBezTo>
                      <a:pt x="2016" y="455"/>
                      <a:pt x="2022" y="449"/>
                      <a:pt x="2022" y="443"/>
                    </a:cubicBezTo>
                    <a:cubicBezTo>
                      <a:pt x="2022" y="436"/>
                      <a:pt x="2016" y="430"/>
                      <a:pt x="2010" y="430"/>
                    </a:cubicBezTo>
                    <a:close/>
                    <a:moveTo>
                      <a:pt x="1940" y="246"/>
                    </a:moveTo>
                    <a:cubicBezTo>
                      <a:pt x="1933" y="246"/>
                      <a:pt x="1927" y="251"/>
                      <a:pt x="1927" y="258"/>
                    </a:cubicBezTo>
                    <a:cubicBezTo>
                      <a:pt x="1927" y="265"/>
                      <a:pt x="1933" y="270"/>
                      <a:pt x="1940" y="270"/>
                    </a:cubicBezTo>
                    <a:cubicBezTo>
                      <a:pt x="1946" y="270"/>
                      <a:pt x="1952" y="265"/>
                      <a:pt x="1952" y="258"/>
                    </a:cubicBezTo>
                    <a:cubicBezTo>
                      <a:pt x="1952" y="251"/>
                      <a:pt x="1946" y="246"/>
                      <a:pt x="1940" y="246"/>
                    </a:cubicBezTo>
                    <a:close/>
                    <a:moveTo>
                      <a:pt x="2045" y="246"/>
                    </a:moveTo>
                    <a:cubicBezTo>
                      <a:pt x="2038" y="246"/>
                      <a:pt x="2033" y="251"/>
                      <a:pt x="2033" y="258"/>
                    </a:cubicBezTo>
                    <a:cubicBezTo>
                      <a:pt x="2033" y="265"/>
                      <a:pt x="2038" y="270"/>
                      <a:pt x="2045" y="270"/>
                    </a:cubicBezTo>
                    <a:cubicBezTo>
                      <a:pt x="2052" y="270"/>
                      <a:pt x="2057" y="265"/>
                      <a:pt x="2057" y="258"/>
                    </a:cubicBezTo>
                    <a:cubicBezTo>
                      <a:pt x="2057" y="251"/>
                      <a:pt x="2052" y="246"/>
                      <a:pt x="2045" y="246"/>
                    </a:cubicBezTo>
                    <a:close/>
                    <a:moveTo>
                      <a:pt x="2045" y="277"/>
                    </a:moveTo>
                    <a:cubicBezTo>
                      <a:pt x="2038" y="277"/>
                      <a:pt x="2033" y="282"/>
                      <a:pt x="2033" y="289"/>
                    </a:cubicBezTo>
                    <a:cubicBezTo>
                      <a:pt x="2033" y="296"/>
                      <a:pt x="2038" y="301"/>
                      <a:pt x="2045" y="301"/>
                    </a:cubicBezTo>
                    <a:cubicBezTo>
                      <a:pt x="2052" y="301"/>
                      <a:pt x="2057" y="296"/>
                      <a:pt x="2057" y="289"/>
                    </a:cubicBezTo>
                    <a:cubicBezTo>
                      <a:pt x="2057" y="282"/>
                      <a:pt x="2052" y="277"/>
                      <a:pt x="2045" y="277"/>
                    </a:cubicBezTo>
                    <a:close/>
                    <a:moveTo>
                      <a:pt x="2045" y="307"/>
                    </a:moveTo>
                    <a:cubicBezTo>
                      <a:pt x="2038" y="307"/>
                      <a:pt x="2033" y="313"/>
                      <a:pt x="2033" y="320"/>
                    </a:cubicBezTo>
                    <a:cubicBezTo>
                      <a:pt x="2033" y="326"/>
                      <a:pt x="2038" y="332"/>
                      <a:pt x="2045" y="332"/>
                    </a:cubicBezTo>
                    <a:cubicBezTo>
                      <a:pt x="2052" y="332"/>
                      <a:pt x="2057" y="326"/>
                      <a:pt x="2057" y="320"/>
                    </a:cubicBezTo>
                    <a:cubicBezTo>
                      <a:pt x="2057" y="313"/>
                      <a:pt x="2052" y="307"/>
                      <a:pt x="2045" y="307"/>
                    </a:cubicBezTo>
                    <a:close/>
                    <a:moveTo>
                      <a:pt x="2045" y="369"/>
                    </a:moveTo>
                    <a:cubicBezTo>
                      <a:pt x="2038" y="369"/>
                      <a:pt x="2033" y="374"/>
                      <a:pt x="2033" y="381"/>
                    </a:cubicBezTo>
                    <a:cubicBezTo>
                      <a:pt x="2033" y="388"/>
                      <a:pt x="2038" y="393"/>
                      <a:pt x="2045" y="393"/>
                    </a:cubicBezTo>
                    <a:cubicBezTo>
                      <a:pt x="2052" y="393"/>
                      <a:pt x="2057" y="388"/>
                      <a:pt x="2057" y="381"/>
                    </a:cubicBezTo>
                    <a:cubicBezTo>
                      <a:pt x="2057" y="374"/>
                      <a:pt x="2052" y="369"/>
                      <a:pt x="2045" y="369"/>
                    </a:cubicBezTo>
                    <a:close/>
                    <a:moveTo>
                      <a:pt x="1940" y="461"/>
                    </a:moveTo>
                    <a:cubicBezTo>
                      <a:pt x="1933" y="461"/>
                      <a:pt x="1927" y="467"/>
                      <a:pt x="1927" y="473"/>
                    </a:cubicBezTo>
                    <a:cubicBezTo>
                      <a:pt x="1927" y="480"/>
                      <a:pt x="1933" y="485"/>
                      <a:pt x="1940" y="485"/>
                    </a:cubicBezTo>
                    <a:cubicBezTo>
                      <a:pt x="1946" y="485"/>
                      <a:pt x="1952" y="480"/>
                      <a:pt x="1952" y="473"/>
                    </a:cubicBezTo>
                    <a:cubicBezTo>
                      <a:pt x="1952" y="467"/>
                      <a:pt x="1946" y="461"/>
                      <a:pt x="1940" y="461"/>
                    </a:cubicBezTo>
                    <a:close/>
                    <a:moveTo>
                      <a:pt x="2045" y="338"/>
                    </a:moveTo>
                    <a:cubicBezTo>
                      <a:pt x="2038" y="338"/>
                      <a:pt x="2033" y="344"/>
                      <a:pt x="2033" y="350"/>
                    </a:cubicBezTo>
                    <a:cubicBezTo>
                      <a:pt x="2033" y="357"/>
                      <a:pt x="2038" y="363"/>
                      <a:pt x="2045" y="363"/>
                    </a:cubicBezTo>
                    <a:cubicBezTo>
                      <a:pt x="2052" y="363"/>
                      <a:pt x="2057" y="357"/>
                      <a:pt x="2057" y="350"/>
                    </a:cubicBezTo>
                    <a:cubicBezTo>
                      <a:pt x="2057" y="344"/>
                      <a:pt x="2052" y="338"/>
                      <a:pt x="2045" y="338"/>
                    </a:cubicBezTo>
                    <a:close/>
                    <a:moveTo>
                      <a:pt x="2010" y="400"/>
                    </a:moveTo>
                    <a:cubicBezTo>
                      <a:pt x="2003" y="400"/>
                      <a:pt x="1998" y="405"/>
                      <a:pt x="1998" y="412"/>
                    </a:cubicBezTo>
                    <a:cubicBezTo>
                      <a:pt x="1998" y="419"/>
                      <a:pt x="2003" y="424"/>
                      <a:pt x="2010" y="424"/>
                    </a:cubicBezTo>
                    <a:cubicBezTo>
                      <a:pt x="2016" y="424"/>
                      <a:pt x="2022" y="419"/>
                      <a:pt x="2022" y="412"/>
                    </a:cubicBezTo>
                    <a:cubicBezTo>
                      <a:pt x="2022" y="405"/>
                      <a:pt x="2016" y="400"/>
                      <a:pt x="2010" y="400"/>
                    </a:cubicBezTo>
                    <a:close/>
                    <a:moveTo>
                      <a:pt x="2080" y="523"/>
                    </a:moveTo>
                    <a:cubicBezTo>
                      <a:pt x="2073" y="523"/>
                      <a:pt x="2068" y="528"/>
                      <a:pt x="2068" y="535"/>
                    </a:cubicBezTo>
                    <a:cubicBezTo>
                      <a:pt x="2068" y="542"/>
                      <a:pt x="2073" y="547"/>
                      <a:pt x="2080" y="547"/>
                    </a:cubicBezTo>
                    <a:cubicBezTo>
                      <a:pt x="2087" y="547"/>
                      <a:pt x="2092" y="542"/>
                      <a:pt x="2092" y="535"/>
                    </a:cubicBezTo>
                    <a:cubicBezTo>
                      <a:pt x="2092" y="528"/>
                      <a:pt x="2087" y="523"/>
                      <a:pt x="2080" y="523"/>
                    </a:cubicBezTo>
                    <a:close/>
                    <a:moveTo>
                      <a:pt x="2080" y="492"/>
                    </a:moveTo>
                    <a:cubicBezTo>
                      <a:pt x="2073" y="492"/>
                      <a:pt x="2068" y="497"/>
                      <a:pt x="2068" y="504"/>
                    </a:cubicBezTo>
                    <a:cubicBezTo>
                      <a:pt x="2068" y="511"/>
                      <a:pt x="2073" y="516"/>
                      <a:pt x="2080" y="516"/>
                    </a:cubicBezTo>
                    <a:cubicBezTo>
                      <a:pt x="2087" y="516"/>
                      <a:pt x="2092" y="511"/>
                      <a:pt x="2092" y="504"/>
                    </a:cubicBezTo>
                    <a:cubicBezTo>
                      <a:pt x="2092" y="497"/>
                      <a:pt x="2087" y="492"/>
                      <a:pt x="2080" y="492"/>
                    </a:cubicBezTo>
                    <a:close/>
                    <a:moveTo>
                      <a:pt x="2080" y="584"/>
                    </a:moveTo>
                    <a:cubicBezTo>
                      <a:pt x="2073" y="584"/>
                      <a:pt x="2068" y="590"/>
                      <a:pt x="2068" y="596"/>
                    </a:cubicBezTo>
                    <a:cubicBezTo>
                      <a:pt x="2068" y="603"/>
                      <a:pt x="2073" y="608"/>
                      <a:pt x="2080" y="608"/>
                    </a:cubicBezTo>
                    <a:cubicBezTo>
                      <a:pt x="2087" y="608"/>
                      <a:pt x="2092" y="603"/>
                      <a:pt x="2092" y="596"/>
                    </a:cubicBezTo>
                    <a:cubicBezTo>
                      <a:pt x="2092" y="590"/>
                      <a:pt x="2087" y="584"/>
                      <a:pt x="2080" y="584"/>
                    </a:cubicBezTo>
                    <a:close/>
                    <a:moveTo>
                      <a:pt x="2045" y="215"/>
                    </a:moveTo>
                    <a:cubicBezTo>
                      <a:pt x="2038" y="215"/>
                      <a:pt x="2033" y="221"/>
                      <a:pt x="2033" y="227"/>
                    </a:cubicBezTo>
                    <a:cubicBezTo>
                      <a:pt x="2033" y="234"/>
                      <a:pt x="2038" y="240"/>
                      <a:pt x="2045" y="240"/>
                    </a:cubicBezTo>
                    <a:cubicBezTo>
                      <a:pt x="2052" y="240"/>
                      <a:pt x="2057" y="234"/>
                      <a:pt x="2057" y="227"/>
                    </a:cubicBezTo>
                    <a:cubicBezTo>
                      <a:pt x="2057" y="221"/>
                      <a:pt x="2052" y="215"/>
                      <a:pt x="2045" y="215"/>
                    </a:cubicBezTo>
                    <a:close/>
                    <a:moveTo>
                      <a:pt x="2045" y="400"/>
                    </a:moveTo>
                    <a:cubicBezTo>
                      <a:pt x="2038" y="400"/>
                      <a:pt x="2033" y="405"/>
                      <a:pt x="2033" y="412"/>
                    </a:cubicBezTo>
                    <a:cubicBezTo>
                      <a:pt x="2033" y="419"/>
                      <a:pt x="2038" y="424"/>
                      <a:pt x="2045" y="424"/>
                    </a:cubicBezTo>
                    <a:cubicBezTo>
                      <a:pt x="2052" y="424"/>
                      <a:pt x="2057" y="419"/>
                      <a:pt x="2057" y="412"/>
                    </a:cubicBezTo>
                    <a:cubicBezTo>
                      <a:pt x="2057" y="405"/>
                      <a:pt x="2052" y="400"/>
                      <a:pt x="2045" y="400"/>
                    </a:cubicBezTo>
                    <a:close/>
                    <a:moveTo>
                      <a:pt x="2080" y="553"/>
                    </a:moveTo>
                    <a:cubicBezTo>
                      <a:pt x="2073" y="553"/>
                      <a:pt x="2068" y="559"/>
                      <a:pt x="2068" y="566"/>
                    </a:cubicBezTo>
                    <a:cubicBezTo>
                      <a:pt x="2068" y="572"/>
                      <a:pt x="2073" y="578"/>
                      <a:pt x="2080" y="578"/>
                    </a:cubicBezTo>
                    <a:cubicBezTo>
                      <a:pt x="2087" y="578"/>
                      <a:pt x="2092" y="572"/>
                      <a:pt x="2092" y="566"/>
                    </a:cubicBezTo>
                    <a:cubicBezTo>
                      <a:pt x="2092" y="559"/>
                      <a:pt x="2087" y="553"/>
                      <a:pt x="2080" y="553"/>
                    </a:cubicBezTo>
                    <a:close/>
                    <a:moveTo>
                      <a:pt x="2290" y="338"/>
                    </a:moveTo>
                    <a:cubicBezTo>
                      <a:pt x="2283" y="338"/>
                      <a:pt x="2278" y="344"/>
                      <a:pt x="2278" y="350"/>
                    </a:cubicBezTo>
                    <a:cubicBezTo>
                      <a:pt x="2278" y="357"/>
                      <a:pt x="2283" y="363"/>
                      <a:pt x="2290" y="363"/>
                    </a:cubicBezTo>
                    <a:cubicBezTo>
                      <a:pt x="2297" y="363"/>
                      <a:pt x="2302" y="357"/>
                      <a:pt x="2302" y="350"/>
                    </a:cubicBezTo>
                    <a:cubicBezTo>
                      <a:pt x="2302" y="344"/>
                      <a:pt x="2297" y="338"/>
                      <a:pt x="2290" y="338"/>
                    </a:cubicBezTo>
                    <a:close/>
                    <a:moveTo>
                      <a:pt x="2010" y="277"/>
                    </a:moveTo>
                    <a:cubicBezTo>
                      <a:pt x="2003" y="277"/>
                      <a:pt x="1998" y="282"/>
                      <a:pt x="1998" y="289"/>
                    </a:cubicBezTo>
                    <a:cubicBezTo>
                      <a:pt x="1998" y="296"/>
                      <a:pt x="2003" y="301"/>
                      <a:pt x="2010" y="301"/>
                    </a:cubicBezTo>
                    <a:cubicBezTo>
                      <a:pt x="2016" y="301"/>
                      <a:pt x="2022" y="296"/>
                      <a:pt x="2022" y="289"/>
                    </a:cubicBezTo>
                    <a:cubicBezTo>
                      <a:pt x="2022" y="282"/>
                      <a:pt x="2016" y="277"/>
                      <a:pt x="2010" y="277"/>
                    </a:cubicBezTo>
                    <a:close/>
                    <a:moveTo>
                      <a:pt x="2045" y="430"/>
                    </a:moveTo>
                    <a:cubicBezTo>
                      <a:pt x="2038" y="430"/>
                      <a:pt x="2033" y="436"/>
                      <a:pt x="2033" y="443"/>
                    </a:cubicBezTo>
                    <a:cubicBezTo>
                      <a:pt x="2033" y="449"/>
                      <a:pt x="2038" y="455"/>
                      <a:pt x="2045" y="455"/>
                    </a:cubicBezTo>
                    <a:cubicBezTo>
                      <a:pt x="2052" y="455"/>
                      <a:pt x="2057" y="449"/>
                      <a:pt x="2057" y="443"/>
                    </a:cubicBezTo>
                    <a:cubicBezTo>
                      <a:pt x="2057" y="436"/>
                      <a:pt x="2052" y="430"/>
                      <a:pt x="2045" y="430"/>
                    </a:cubicBezTo>
                    <a:close/>
                    <a:moveTo>
                      <a:pt x="2010" y="369"/>
                    </a:moveTo>
                    <a:cubicBezTo>
                      <a:pt x="2003" y="369"/>
                      <a:pt x="1998" y="374"/>
                      <a:pt x="1998" y="381"/>
                    </a:cubicBezTo>
                    <a:cubicBezTo>
                      <a:pt x="1998" y="388"/>
                      <a:pt x="2003" y="393"/>
                      <a:pt x="2010" y="393"/>
                    </a:cubicBezTo>
                    <a:cubicBezTo>
                      <a:pt x="2016" y="393"/>
                      <a:pt x="2022" y="388"/>
                      <a:pt x="2022" y="381"/>
                    </a:cubicBezTo>
                    <a:cubicBezTo>
                      <a:pt x="2022" y="374"/>
                      <a:pt x="2016" y="369"/>
                      <a:pt x="2010" y="369"/>
                    </a:cubicBezTo>
                    <a:close/>
                    <a:moveTo>
                      <a:pt x="2010" y="246"/>
                    </a:moveTo>
                    <a:cubicBezTo>
                      <a:pt x="2003" y="246"/>
                      <a:pt x="1998" y="251"/>
                      <a:pt x="1998" y="258"/>
                    </a:cubicBezTo>
                    <a:cubicBezTo>
                      <a:pt x="1998" y="265"/>
                      <a:pt x="2003" y="270"/>
                      <a:pt x="2010" y="270"/>
                    </a:cubicBezTo>
                    <a:cubicBezTo>
                      <a:pt x="2016" y="270"/>
                      <a:pt x="2022" y="265"/>
                      <a:pt x="2022" y="258"/>
                    </a:cubicBezTo>
                    <a:cubicBezTo>
                      <a:pt x="2022" y="251"/>
                      <a:pt x="2016" y="246"/>
                      <a:pt x="2010" y="246"/>
                    </a:cubicBezTo>
                    <a:close/>
                    <a:moveTo>
                      <a:pt x="2010" y="338"/>
                    </a:moveTo>
                    <a:cubicBezTo>
                      <a:pt x="2003" y="338"/>
                      <a:pt x="1998" y="344"/>
                      <a:pt x="1998" y="350"/>
                    </a:cubicBezTo>
                    <a:cubicBezTo>
                      <a:pt x="1998" y="357"/>
                      <a:pt x="2003" y="363"/>
                      <a:pt x="2010" y="363"/>
                    </a:cubicBezTo>
                    <a:cubicBezTo>
                      <a:pt x="2016" y="363"/>
                      <a:pt x="2022" y="357"/>
                      <a:pt x="2022" y="350"/>
                    </a:cubicBezTo>
                    <a:cubicBezTo>
                      <a:pt x="2022" y="344"/>
                      <a:pt x="2016" y="338"/>
                      <a:pt x="2010" y="338"/>
                    </a:cubicBezTo>
                    <a:close/>
                    <a:moveTo>
                      <a:pt x="2045" y="461"/>
                    </a:moveTo>
                    <a:cubicBezTo>
                      <a:pt x="2038" y="461"/>
                      <a:pt x="2033" y="467"/>
                      <a:pt x="2033" y="473"/>
                    </a:cubicBezTo>
                    <a:cubicBezTo>
                      <a:pt x="2033" y="480"/>
                      <a:pt x="2038" y="485"/>
                      <a:pt x="2045" y="485"/>
                    </a:cubicBezTo>
                    <a:cubicBezTo>
                      <a:pt x="2052" y="485"/>
                      <a:pt x="2057" y="480"/>
                      <a:pt x="2057" y="473"/>
                    </a:cubicBezTo>
                    <a:cubicBezTo>
                      <a:pt x="2057" y="467"/>
                      <a:pt x="2052" y="461"/>
                      <a:pt x="2045" y="461"/>
                    </a:cubicBezTo>
                    <a:close/>
                    <a:moveTo>
                      <a:pt x="2010" y="215"/>
                    </a:moveTo>
                    <a:cubicBezTo>
                      <a:pt x="2003" y="215"/>
                      <a:pt x="1998" y="221"/>
                      <a:pt x="1998" y="227"/>
                    </a:cubicBezTo>
                    <a:cubicBezTo>
                      <a:pt x="1998" y="234"/>
                      <a:pt x="2003" y="240"/>
                      <a:pt x="2010" y="240"/>
                    </a:cubicBezTo>
                    <a:cubicBezTo>
                      <a:pt x="2016" y="240"/>
                      <a:pt x="2022" y="234"/>
                      <a:pt x="2022" y="227"/>
                    </a:cubicBezTo>
                    <a:cubicBezTo>
                      <a:pt x="2022" y="221"/>
                      <a:pt x="2016" y="215"/>
                      <a:pt x="2010" y="215"/>
                    </a:cubicBezTo>
                    <a:close/>
                    <a:moveTo>
                      <a:pt x="2045" y="492"/>
                    </a:moveTo>
                    <a:cubicBezTo>
                      <a:pt x="2038" y="492"/>
                      <a:pt x="2033" y="497"/>
                      <a:pt x="2033" y="504"/>
                    </a:cubicBezTo>
                    <a:cubicBezTo>
                      <a:pt x="2033" y="511"/>
                      <a:pt x="2038" y="516"/>
                      <a:pt x="2045" y="516"/>
                    </a:cubicBezTo>
                    <a:cubicBezTo>
                      <a:pt x="2052" y="516"/>
                      <a:pt x="2057" y="511"/>
                      <a:pt x="2057" y="504"/>
                    </a:cubicBezTo>
                    <a:cubicBezTo>
                      <a:pt x="2057" y="497"/>
                      <a:pt x="2052" y="492"/>
                      <a:pt x="2045" y="492"/>
                    </a:cubicBezTo>
                    <a:close/>
                    <a:moveTo>
                      <a:pt x="2045" y="553"/>
                    </a:moveTo>
                    <a:cubicBezTo>
                      <a:pt x="2038" y="553"/>
                      <a:pt x="2033" y="559"/>
                      <a:pt x="2033" y="566"/>
                    </a:cubicBezTo>
                    <a:cubicBezTo>
                      <a:pt x="2033" y="572"/>
                      <a:pt x="2038" y="578"/>
                      <a:pt x="2045" y="578"/>
                    </a:cubicBezTo>
                    <a:cubicBezTo>
                      <a:pt x="2052" y="578"/>
                      <a:pt x="2057" y="572"/>
                      <a:pt x="2057" y="566"/>
                    </a:cubicBezTo>
                    <a:cubicBezTo>
                      <a:pt x="2057" y="559"/>
                      <a:pt x="2052" y="553"/>
                      <a:pt x="2045" y="553"/>
                    </a:cubicBezTo>
                    <a:close/>
                    <a:moveTo>
                      <a:pt x="2045" y="523"/>
                    </a:moveTo>
                    <a:cubicBezTo>
                      <a:pt x="2038" y="523"/>
                      <a:pt x="2033" y="528"/>
                      <a:pt x="2033" y="535"/>
                    </a:cubicBezTo>
                    <a:cubicBezTo>
                      <a:pt x="2033" y="542"/>
                      <a:pt x="2038" y="547"/>
                      <a:pt x="2045" y="547"/>
                    </a:cubicBezTo>
                    <a:cubicBezTo>
                      <a:pt x="2052" y="547"/>
                      <a:pt x="2057" y="542"/>
                      <a:pt x="2057" y="535"/>
                    </a:cubicBezTo>
                    <a:cubicBezTo>
                      <a:pt x="2057" y="528"/>
                      <a:pt x="2052" y="523"/>
                      <a:pt x="2045" y="523"/>
                    </a:cubicBezTo>
                    <a:close/>
                    <a:moveTo>
                      <a:pt x="1835" y="492"/>
                    </a:moveTo>
                    <a:cubicBezTo>
                      <a:pt x="1828" y="492"/>
                      <a:pt x="1822" y="497"/>
                      <a:pt x="1822" y="504"/>
                    </a:cubicBezTo>
                    <a:cubicBezTo>
                      <a:pt x="1822" y="511"/>
                      <a:pt x="1828" y="516"/>
                      <a:pt x="1835" y="516"/>
                    </a:cubicBezTo>
                    <a:cubicBezTo>
                      <a:pt x="1841" y="516"/>
                      <a:pt x="1847" y="511"/>
                      <a:pt x="1847" y="504"/>
                    </a:cubicBezTo>
                    <a:cubicBezTo>
                      <a:pt x="1847" y="497"/>
                      <a:pt x="1841" y="492"/>
                      <a:pt x="1835" y="492"/>
                    </a:cubicBezTo>
                    <a:close/>
                    <a:moveTo>
                      <a:pt x="1800" y="277"/>
                    </a:moveTo>
                    <a:cubicBezTo>
                      <a:pt x="1793" y="277"/>
                      <a:pt x="1787" y="282"/>
                      <a:pt x="1787" y="289"/>
                    </a:cubicBezTo>
                    <a:cubicBezTo>
                      <a:pt x="1787" y="296"/>
                      <a:pt x="1793" y="301"/>
                      <a:pt x="1800" y="301"/>
                    </a:cubicBezTo>
                    <a:cubicBezTo>
                      <a:pt x="1806" y="301"/>
                      <a:pt x="1812" y="296"/>
                      <a:pt x="1812" y="289"/>
                    </a:cubicBezTo>
                    <a:cubicBezTo>
                      <a:pt x="1812" y="282"/>
                      <a:pt x="1806" y="277"/>
                      <a:pt x="1800" y="277"/>
                    </a:cubicBezTo>
                    <a:close/>
                    <a:moveTo>
                      <a:pt x="1800" y="307"/>
                    </a:moveTo>
                    <a:cubicBezTo>
                      <a:pt x="1793" y="307"/>
                      <a:pt x="1787" y="313"/>
                      <a:pt x="1787" y="320"/>
                    </a:cubicBezTo>
                    <a:cubicBezTo>
                      <a:pt x="1787" y="326"/>
                      <a:pt x="1793" y="332"/>
                      <a:pt x="1800" y="332"/>
                    </a:cubicBezTo>
                    <a:cubicBezTo>
                      <a:pt x="1806" y="332"/>
                      <a:pt x="1812" y="326"/>
                      <a:pt x="1812" y="320"/>
                    </a:cubicBezTo>
                    <a:cubicBezTo>
                      <a:pt x="1812" y="313"/>
                      <a:pt x="1806" y="307"/>
                      <a:pt x="1800" y="307"/>
                    </a:cubicBezTo>
                    <a:close/>
                    <a:moveTo>
                      <a:pt x="1800" y="400"/>
                    </a:moveTo>
                    <a:cubicBezTo>
                      <a:pt x="1793" y="400"/>
                      <a:pt x="1787" y="405"/>
                      <a:pt x="1787" y="412"/>
                    </a:cubicBezTo>
                    <a:cubicBezTo>
                      <a:pt x="1787" y="419"/>
                      <a:pt x="1793" y="424"/>
                      <a:pt x="1800" y="424"/>
                    </a:cubicBezTo>
                    <a:cubicBezTo>
                      <a:pt x="1806" y="424"/>
                      <a:pt x="1812" y="419"/>
                      <a:pt x="1812" y="412"/>
                    </a:cubicBezTo>
                    <a:cubicBezTo>
                      <a:pt x="1812" y="405"/>
                      <a:pt x="1806" y="400"/>
                      <a:pt x="1800" y="400"/>
                    </a:cubicBezTo>
                    <a:close/>
                    <a:moveTo>
                      <a:pt x="1800" y="246"/>
                    </a:moveTo>
                    <a:cubicBezTo>
                      <a:pt x="1793" y="246"/>
                      <a:pt x="1787" y="251"/>
                      <a:pt x="1787" y="258"/>
                    </a:cubicBezTo>
                    <a:cubicBezTo>
                      <a:pt x="1787" y="265"/>
                      <a:pt x="1793" y="270"/>
                      <a:pt x="1800" y="270"/>
                    </a:cubicBezTo>
                    <a:cubicBezTo>
                      <a:pt x="1806" y="270"/>
                      <a:pt x="1812" y="265"/>
                      <a:pt x="1812" y="258"/>
                    </a:cubicBezTo>
                    <a:cubicBezTo>
                      <a:pt x="1812" y="251"/>
                      <a:pt x="1806" y="246"/>
                      <a:pt x="1800" y="246"/>
                    </a:cubicBezTo>
                    <a:close/>
                    <a:moveTo>
                      <a:pt x="1800" y="338"/>
                    </a:moveTo>
                    <a:cubicBezTo>
                      <a:pt x="1793" y="338"/>
                      <a:pt x="1787" y="344"/>
                      <a:pt x="1787" y="350"/>
                    </a:cubicBezTo>
                    <a:cubicBezTo>
                      <a:pt x="1787" y="357"/>
                      <a:pt x="1793" y="363"/>
                      <a:pt x="1800" y="363"/>
                    </a:cubicBezTo>
                    <a:cubicBezTo>
                      <a:pt x="1806" y="363"/>
                      <a:pt x="1812" y="357"/>
                      <a:pt x="1812" y="350"/>
                    </a:cubicBezTo>
                    <a:cubicBezTo>
                      <a:pt x="1812" y="344"/>
                      <a:pt x="1806" y="338"/>
                      <a:pt x="1800" y="338"/>
                    </a:cubicBezTo>
                    <a:close/>
                    <a:moveTo>
                      <a:pt x="1800" y="369"/>
                    </a:moveTo>
                    <a:cubicBezTo>
                      <a:pt x="1793" y="369"/>
                      <a:pt x="1787" y="374"/>
                      <a:pt x="1787" y="381"/>
                    </a:cubicBezTo>
                    <a:cubicBezTo>
                      <a:pt x="1787" y="388"/>
                      <a:pt x="1793" y="393"/>
                      <a:pt x="1800" y="393"/>
                    </a:cubicBezTo>
                    <a:cubicBezTo>
                      <a:pt x="1806" y="393"/>
                      <a:pt x="1812" y="388"/>
                      <a:pt x="1812" y="381"/>
                    </a:cubicBezTo>
                    <a:cubicBezTo>
                      <a:pt x="1812" y="374"/>
                      <a:pt x="1806" y="369"/>
                      <a:pt x="1800" y="369"/>
                    </a:cubicBezTo>
                    <a:close/>
                    <a:moveTo>
                      <a:pt x="2080" y="461"/>
                    </a:moveTo>
                    <a:cubicBezTo>
                      <a:pt x="2073" y="461"/>
                      <a:pt x="2068" y="467"/>
                      <a:pt x="2068" y="473"/>
                    </a:cubicBezTo>
                    <a:cubicBezTo>
                      <a:pt x="2068" y="480"/>
                      <a:pt x="2073" y="485"/>
                      <a:pt x="2080" y="485"/>
                    </a:cubicBezTo>
                    <a:cubicBezTo>
                      <a:pt x="2087" y="485"/>
                      <a:pt x="2092" y="480"/>
                      <a:pt x="2092" y="473"/>
                    </a:cubicBezTo>
                    <a:cubicBezTo>
                      <a:pt x="2092" y="467"/>
                      <a:pt x="2087" y="461"/>
                      <a:pt x="2080" y="461"/>
                    </a:cubicBezTo>
                    <a:close/>
                    <a:moveTo>
                      <a:pt x="1835" y="369"/>
                    </a:moveTo>
                    <a:cubicBezTo>
                      <a:pt x="1828" y="369"/>
                      <a:pt x="1822" y="374"/>
                      <a:pt x="1822" y="381"/>
                    </a:cubicBezTo>
                    <a:cubicBezTo>
                      <a:pt x="1822" y="388"/>
                      <a:pt x="1828" y="393"/>
                      <a:pt x="1835" y="393"/>
                    </a:cubicBezTo>
                    <a:cubicBezTo>
                      <a:pt x="1841" y="393"/>
                      <a:pt x="1847" y="388"/>
                      <a:pt x="1847" y="381"/>
                    </a:cubicBezTo>
                    <a:cubicBezTo>
                      <a:pt x="1847" y="374"/>
                      <a:pt x="1841" y="369"/>
                      <a:pt x="1835" y="369"/>
                    </a:cubicBezTo>
                    <a:close/>
                    <a:moveTo>
                      <a:pt x="1835" y="400"/>
                    </a:moveTo>
                    <a:cubicBezTo>
                      <a:pt x="1828" y="400"/>
                      <a:pt x="1822" y="405"/>
                      <a:pt x="1822" y="412"/>
                    </a:cubicBezTo>
                    <a:cubicBezTo>
                      <a:pt x="1822" y="419"/>
                      <a:pt x="1828" y="424"/>
                      <a:pt x="1835" y="424"/>
                    </a:cubicBezTo>
                    <a:cubicBezTo>
                      <a:pt x="1841" y="424"/>
                      <a:pt x="1847" y="419"/>
                      <a:pt x="1847" y="412"/>
                    </a:cubicBezTo>
                    <a:cubicBezTo>
                      <a:pt x="1847" y="405"/>
                      <a:pt x="1841" y="400"/>
                      <a:pt x="1835" y="400"/>
                    </a:cubicBezTo>
                    <a:close/>
                    <a:moveTo>
                      <a:pt x="1835" y="461"/>
                    </a:moveTo>
                    <a:cubicBezTo>
                      <a:pt x="1828" y="461"/>
                      <a:pt x="1822" y="467"/>
                      <a:pt x="1822" y="473"/>
                    </a:cubicBezTo>
                    <a:cubicBezTo>
                      <a:pt x="1822" y="480"/>
                      <a:pt x="1828" y="485"/>
                      <a:pt x="1835" y="485"/>
                    </a:cubicBezTo>
                    <a:cubicBezTo>
                      <a:pt x="1841" y="485"/>
                      <a:pt x="1847" y="480"/>
                      <a:pt x="1847" y="473"/>
                    </a:cubicBezTo>
                    <a:cubicBezTo>
                      <a:pt x="1847" y="467"/>
                      <a:pt x="1841" y="461"/>
                      <a:pt x="1835" y="461"/>
                    </a:cubicBezTo>
                    <a:close/>
                    <a:moveTo>
                      <a:pt x="1835" y="430"/>
                    </a:moveTo>
                    <a:cubicBezTo>
                      <a:pt x="1828" y="430"/>
                      <a:pt x="1822" y="436"/>
                      <a:pt x="1822" y="443"/>
                    </a:cubicBezTo>
                    <a:cubicBezTo>
                      <a:pt x="1822" y="449"/>
                      <a:pt x="1828" y="455"/>
                      <a:pt x="1835" y="455"/>
                    </a:cubicBezTo>
                    <a:cubicBezTo>
                      <a:pt x="1841" y="455"/>
                      <a:pt x="1847" y="449"/>
                      <a:pt x="1847" y="443"/>
                    </a:cubicBezTo>
                    <a:cubicBezTo>
                      <a:pt x="1847" y="436"/>
                      <a:pt x="1841" y="430"/>
                      <a:pt x="1835" y="430"/>
                    </a:cubicBezTo>
                    <a:close/>
                    <a:moveTo>
                      <a:pt x="1764" y="738"/>
                    </a:moveTo>
                    <a:cubicBezTo>
                      <a:pt x="1758" y="738"/>
                      <a:pt x="1752" y="743"/>
                      <a:pt x="1752" y="750"/>
                    </a:cubicBezTo>
                    <a:cubicBezTo>
                      <a:pt x="1752" y="757"/>
                      <a:pt x="1758" y="762"/>
                      <a:pt x="1764" y="762"/>
                    </a:cubicBezTo>
                    <a:cubicBezTo>
                      <a:pt x="1771" y="762"/>
                      <a:pt x="1777" y="757"/>
                      <a:pt x="1777" y="750"/>
                    </a:cubicBezTo>
                    <a:cubicBezTo>
                      <a:pt x="1777" y="743"/>
                      <a:pt x="1771" y="738"/>
                      <a:pt x="1764" y="738"/>
                    </a:cubicBezTo>
                    <a:close/>
                    <a:moveTo>
                      <a:pt x="1764" y="461"/>
                    </a:moveTo>
                    <a:cubicBezTo>
                      <a:pt x="1758" y="461"/>
                      <a:pt x="1752" y="467"/>
                      <a:pt x="1752" y="473"/>
                    </a:cubicBezTo>
                    <a:cubicBezTo>
                      <a:pt x="1752" y="480"/>
                      <a:pt x="1758" y="485"/>
                      <a:pt x="1764" y="485"/>
                    </a:cubicBezTo>
                    <a:cubicBezTo>
                      <a:pt x="1771" y="485"/>
                      <a:pt x="1777" y="480"/>
                      <a:pt x="1777" y="473"/>
                    </a:cubicBezTo>
                    <a:cubicBezTo>
                      <a:pt x="1777" y="467"/>
                      <a:pt x="1771" y="461"/>
                      <a:pt x="1764" y="461"/>
                    </a:cubicBezTo>
                    <a:close/>
                    <a:moveTo>
                      <a:pt x="1764" y="430"/>
                    </a:moveTo>
                    <a:cubicBezTo>
                      <a:pt x="1758" y="430"/>
                      <a:pt x="1752" y="436"/>
                      <a:pt x="1752" y="443"/>
                    </a:cubicBezTo>
                    <a:cubicBezTo>
                      <a:pt x="1752" y="449"/>
                      <a:pt x="1758" y="455"/>
                      <a:pt x="1764" y="455"/>
                    </a:cubicBezTo>
                    <a:cubicBezTo>
                      <a:pt x="1771" y="455"/>
                      <a:pt x="1777" y="449"/>
                      <a:pt x="1777" y="443"/>
                    </a:cubicBezTo>
                    <a:cubicBezTo>
                      <a:pt x="1777" y="436"/>
                      <a:pt x="1771" y="430"/>
                      <a:pt x="1764" y="430"/>
                    </a:cubicBezTo>
                    <a:close/>
                    <a:moveTo>
                      <a:pt x="1835" y="338"/>
                    </a:moveTo>
                    <a:cubicBezTo>
                      <a:pt x="1828" y="338"/>
                      <a:pt x="1822" y="344"/>
                      <a:pt x="1822" y="350"/>
                    </a:cubicBezTo>
                    <a:cubicBezTo>
                      <a:pt x="1822" y="357"/>
                      <a:pt x="1828" y="363"/>
                      <a:pt x="1835" y="363"/>
                    </a:cubicBezTo>
                    <a:cubicBezTo>
                      <a:pt x="1841" y="363"/>
                      <a:pt x="1847" y="357"/>
                      <a:pt x="1847" y="350"/>
                    </a:cubicBezTo>
                    <a:cubicBezTo>
                      <a:pt x="1847" y="344"/>
                      <a:pt x="1841" y="338"/>
                      <a:pt x="1835" y="338"/>
                    </a:cubicBezTo>
                    <a:close/>
                    <a:moveTo>
                      <a:pt x="1764" y="400"/>
                    </a:moveTo>
                    <a:cubicBezTo>
                      <a:pt x="1758" y="400"/>
                      <a:pt x="1752" y="405"/>
                      <a:pt x="1752" y="412"/>
                    </a:cubicBezTo>
                    <a:cubicBezTo>
                      <a:pt x="1752" y="419"/>
                      <a:pt x="1758" y="424"/>
                      <a:pt x="1764" y="424"/>
                    </a:cubicBezTo>
                    <a:cubicBezTo>
                      <a:pt x="1771" y="424"/>
                      <a:pt x="1777" y="419"/>
                      <a:pt x="1777" y="412"/>
                    </a:cubicBezTo>
                    <a:cubicBezTo>
                      <a:pt x="1777" y="405"/>
                      <a:pt x="1771" y="400"/>
                      <a:pt x="1764" y="400"/>
                    </a:cubicBezTo>
                    <a:close/>
                    <a:moveTo>
                      <a:pt x="1764" y="492"/>
                    </a:moveTo>
                    <a:cubicBezTo>
                      <a:pt x="1758" y="492"/>
                      <a:pt x="1752" y="497"/>
                      <a:pt x="1752" y="504"/>
                    </a:cubicBezTo>
                    <a:cubicBezTo>
                      <a:pt x="1752" y="511"/>
                      <a:pt x="1758" y="516"/>
                      <a:pt x="1764" y="516"/>
                    </a:cubicBezTo>
                    <a:cubicBezTo>
                      <a:pt x="1771" y="516"/>
                      <a:pt x="1777" y="511"/>
                      <a:pt x="1777" y="504"/>
                    </a:cubicBezTo>
                    <a:cubicBezTo>
                      <a:pt x="1777" y="497"/>
                      <a:pt x="1771" y="492"/>
                      <a:pt x="1764" y="492"/>
                    </a:cubicBezTo>
                    <a:close/>
                    <a:moveTo>
                      <a:pt x="1764" y="307"/>
                    </a:moveTo>
                    <a:cubicBezTo>
                      <a:pt x="1758" y="307"/>
                      <a:pt x="1752" y="313"/>
                      <a:pt x="1752" y="320"/>
                    </a:cubicBezTo>
                    <a:cubicBezTo>
                      <a:pt x="1752" y="326"/>
                      <a:pt x="1758" y="332"/>
                      <a:pt x="1764" y="332"/>
                    </a:cubicBezTo>
                    <a:cubicBezTo>
                      <a:pt x="1771" y="332"/>
                      <a:pt x="1777" y="326"/>
                      <a:pt x="1777" y="320"/>
                    </a:cubicBezTo>
                    <a:cubicBezTo>
                      <a:pt x="1777" y="313"/>
                      <a:pt x="1771" y="307"/>
                      <a:pt x="1764" y="307"/>
                    </a:cubicBezTo>
                    <a:close/>
                    <a:moveTo>
                      <a:pt x="1800" y="461"/>
                    </a:moveTo>
                    <a:cubicBezTo>
                      <a:pt x="1793" y="461"/>
                      <a:pt x="1787" y="467"/>
                      <a:pt x="1787" y="473"/>
                    </a:cubicBezTo>
                    <a:cubicBezTo>
                      <a:pt x="1787" y="480"/>
                      <a:pt x="1793" y="485"/>
                      <a:pt x="1800" y="485"/>
                    </a:cubicBezTo>
                    <a:cubicBezTo>
                      <a:pt x="1806" y="485"/>
                      <a:pt x="1812" y="480"/>
                      <a:pt x="1812" y="473"/>
                    </a:cubicBezTo>
                    <a:cubicBezTo>
                      <a:pt x="1812" y="467"/>
                      <a:pt x="1806" y="461"/>
                      <a:pt x="1800" y="461"/>
                    </a:cubicBezTo>
                    <a:close/>
                    <a:moveTo>
                      <a:pt x="1800" y="492"/>
                    </a:moveTo>
                    <a:cubicBezTo>
                      <a:pt x="1793" y="492"/>
                      <a:pt x="1787" y="497"/>
                      <a:pt x="1787" y="504"/>
                    </a:cubicBezTo>
                    <a:cubicBezTo>
                      <a:pt x="1787" y="511"/>
                      <a:pt x="1793" y="516"/>
                      <a:pt x="1800" y="516"/>
                    </a:cubicBezTo>
                    <a:cubicBezTo>
                      <a:pt x="1806" y="516"/>
                      <a:pt x="1812" y="511"/>
                      <a:pt x="1812" y="504"/>
                    </a:cubicBezTo>
                    <a:cubicBezTo>
                      <a:pt x="1812" y="497"/>
                      <a:pt x="1806" y="492"/>
                      <a:pt x="1800" y="492"/>
                    </a:cubicBezTo>
                    <a:close/>
                    <a:moveTo>
                      <a:pt x="1800" y="430"/>
                    </a:moveTo>
                    <a:cubicBezTo>
                      <a:pt x="1793" y="430"/>
                      <a:pt x="1787" y="436"/>
                      <a:pt x="1787" y="443"/>
                    </a:cubicBezTo>
                    <a:cubicBezTo>
                      <a:pt x="1787" y="449"/>
                      <a:pt x="1793" y="455"/>
                      <a:pt x="1800" y="455"/>
                    </a:cubicBezTo>
                    <a:cubicBezTo>
                      <a:pt x="1806" y="455"/>
                      <a:pt x="1812" y="449"/>
                      <a:pt x="1812" y="443"/>
                    </a:cubicBezTo>
                    <a:cubicBezTo>
                      <a:pt x="1812" y="436"/>
                      <a:pt x="1806" y="430"/>
                      <a:pt x="1800" y="430"/>
                    </a:cubicBezTo>
                    <a:close/>
                    <a:moveTo>
                      <a:pt x="1764" y="769"/>
                    </a:moveTo>
                    <a:cubicBezTo>
                      <a:pt x="1758" y="769"/>
                      <a:pt x="1752" y="774"/>
                      <a:pt x="1752" y="781"/>
                    </a:cubicBezTo>
                    <a:cubicBezTo>
                      <a:pt x="1752" y="787"/>
                      <a:pt x="1758" y="793"/>
                      <a:pt x="1764" y="793"/>
                    </a:cubicBezTo>
                    <a:cubicBezTo>
                      <a:pt x="1771" y="793"/>
                      <a:pt x="1777" y="787"/>
                      <a:pt x="1777" y="781"/>
                    </a:cubicBezTo>
                    <a:cubicBezTo>
                      <a:pt x="1777" y="774"/>
                      <a:pt x="1771" y="769"/>
                      <a:pt x="1764" y="769"/>
                    </a:cubicBezTo>
                    <a:close/>
                    <a:moveTo>
                      <a:pt x="1764" y="369"/>
                    </a:moveTo>
                    <a:cubicBezTo>
                      <a:pt x="1758" y="369"/>
                      <a:pt x="1752" y="374"/>
                      <a:pt x="1752" y="381"/>
                    </a:cubicBezTo>
                    <a:cubicBezTo>
                      <a:pt x="1752" y="388"/>
                      <a:pt x="1758" y="393"/>
                      <a:pt x="1764" y="393"/>
                    </a:cubicBezTo>
                    <a:cubicBezTo>
                      <a:pt x="1771" y="393"/>
                      <a:pt x="1777" y="388"/>
                      <a:pt x="1777" y="381"/>
                    </a:cubicBezTo>
                    <a:cubicBezTo>
                      <a:pt x="1777" y="374"/>
                      <a:pt x="1771" y="369"/>
                      <a:pt x="1764" y="369"/>
                    </a:cubicBezTo>
                    <a:close/>
                    <a:moveTo>
                      <a:pt x="1870" y="277"/>
                    </a:moveTo>
                    <a:cubicBezTo>
                      <a:pt x="1863" y="277"/>
                      <a:pt x="1857" y="282"/>
                      <a:pt x="1857" y="289"/>
                    </a:cubicBezTo>
                    <a:cubicBezTo>
                      <a:pt x="1857" y="296"/>
                      <a:pt x="1863" y="301"/>
                      <a:pt x="1870" y="301"/>
                    </a:cubicBezTo>
                    <a:cubicBezTo>
                      <a:pt x="1876" y="301"/>
                      <a:pt x="1882" y="296"/>
                      <a:pt x="1882" y="289"/>
                    </a:cubicBezTo>
                    <a:cubicBezTo>
                      <a:pt x="1882" y="282"/>
                      <a:pt x="1876" y="277"/>
                      <a:pt x="1870" y="277"/>
                    </a:cubicBezTo>
                    <a:close/>
                    <a:moveTo>
                      <a:pt x="1905" y="430"/>
                    </a:moveTo>
                    <a:cubicBezTo>
                      <a:pt x="1898" y="430"/>
                      <a:pt x="1892" y="436"/>
                      <a:pt x="1892" y="443"/>
                    </a:cubicBezTo>
                    <a:cubicBezTo>
                      <a:pt x="1892" y="449"/>
                      <a:pt x="1898" y="455"/>
                      <a:pt x="1905" y="455"/>
                    </a:cubicBezTo>
                    <a:cubicBezTo>
                      <a:pt x="1911" y="455"/>
                      <a:pt x="1917" y="449"/>
                      <a:pt x="1917" y="443"/>
                    </a:cubicBezTo>
                    <a:cubicBezTo>
                      <a:pt x="1917" y="436"/>
                      <a:pt x="1911" y="430"/>
                      <a:pt x="1905" y="430"/>
                    </a:cubicBezTo>
                    <a:close/>
                    <a:moveTo>
                      <a:pt x="1905" y="523"/>
                    </a:moveTo>
                    <a:cubicBezTo>
                      <a:pt x="1898" y="523"/>
                      <a:pt x="1892" y="528"/>
                      <a:pt x="1892" y="535"/>
                    </a:cubicBezTo>
                    <a:cubicBezTo>
                      <a:pt x="1892" y="542"/>
                      <a:pt x="1898" y="547"/>
                      <a:pt x="1905" y="547"/>
                    </a:cubicBezTo>
                    <a:cubicBezTo>
                      <a:pt x="1911" y="547"/>
                      <a:pt x="1917" y="542"/>
                      <a:pt x="1917" y="535"/>
                    </a:cubicBezTo>
                    <a:cubicBezTo>
                      <a:pt x="1917" y="528"/>
                      <a:pt x="1911" y="523"/>
                      <a:pt x="1905" y="523"/>
                    </a:cubicBezTo>
                    <a:close/>
                    <a:moveTo>
                      <a:pt x="1905" y="369"/>
                    </a:moveTo>
                    <a:cubicBezTo>
                      <a:pt x="1898" y="369"/>
                      <a:pt x="1892" y="374"/>
                      <a:pt x="1892" y="381"/>
                    </a:cubicBezTo>
                    <a:cubicBezTo>
                      <a:pt x="1892" y="388"/>
                      <a:pt x="1898" y="393"/>
                      <a:pt x="1905" y="393"/>
                    </a:cubicBezTo>
                    <a:cubicBezTo>
                      <a:pt x="1911" y="393"/>
                      <a:pt x="1917" y="388"/>
                      <a:pt x="1917" y="381"/>
                    </a:cubicBezTo>
                    <a:cubicBezTo>
                      <a:pt x="1917" y="374"/>
                      <a:pt x="1911" y="369"/>
                      <a:pt x="1905" y="369"/>
                    </a:cubicBezTo>
                    <a:close/>
                    <a:moveTo>
                      <a:pt x="1905" y="461"/>
                    </a:moveTo>
                    <a:cubicBezTo>
                      <a:pt x="1898" y="461"/>
                      <a:pt x="1892" y="467"/>
                      <a:pt x="1892" y="473"/>
                    </a:cubicBezTo>
                    <a:cubicBezTo>
                      <a:pt x="1892" y="480"/>
                      <a:pt x="1898" y="485"/>
                      <a:pt x="1905" y="485"/>
                    </a:cubicBezTo>
                    <a:cubicBezTo>
                      <a:pt x="1911" y="485"/>
                      <a:pt x="1917" y="480"/>
                      <a:pt x="1917" y="473"/>
                    </a:cubicBezTo>
                    <a:cubicBezTo>
                      <a:pt x="1917" y="467"/>
                      <a:pt x="1911" y="461"/>
                      <a:pt x="1905" y="461"/>
                    </a:cubicBezTo>
                    <a:close/>
                    <a:moveTo>
                      <a:pt x="1905" y="492"/>
                    </a:moveTo>
                    <a:cubicBezTo>
                      <a:pt x="1898" y="492"/>
                      <a:pt x="1892" y="497"/>
                      <a:pt x="1892" y="504"/>
                    </a:cubicBezTo>
                    <a:cubicBezTo>
                      <a:pt x="1892" y="511"/>
                      <a:pt x="1898" y="516"/>
                      <a:pt x="1905" y="516"/>
                    </a:cubicBezTo>
                    <a:cubicBezTo>
                      <a:pt x="1911" y="516"/>
                      <a:pt x="1917" y="511"/>
                      <a:pt x="1917" y="504"/>
                    </a:cubicBezTo>
                    <a:cubicBezTo>
                      <a:pt x="1917" y="497"/>
                      <a:pt x="1911" y="492"/>
                      <a:pt x="1905" y="492"/>
                    </a:cubicBezTo>
                    <a:close/>
                    <a:moveTo>
                      <a:pt x="1905" y="400"/>
                    </a:moveTo>
                    <a:cubicBezTo>
                      <a:pt x="1898" y="400"/>
                      <a:pt x="1892" y="405"/>
                      <a:pt x="1892" y="412"/>
                    </a:cubicBezTo>
                    <a:cubicBezTo>
                      <a:pt x="1892" y="419"/>
                      <a:pt x="1898" y="424"/>
                      <a:pt x="1905" y="424"/>
                    </a:cubicBezTo>
                    <a:cubicBezTo>
                      <a:pt x="1911" y="424"/>
                      <a:pt x="1917" y="419"/>
                      <a:pt x="1917" y="412"/>
                    </a:cubicBezTo>
                    <a:cubicBezTo>
                      <a:pt x="1917" y="405"/>
                      <a:pt x="1911" y="400"/>
                      <a:pt x="1905" y="400"/>
                    </a:cubicBezTo>
                    <a:close/>
                    <a:moveTo>
                      <a:pt x="1940" y="553"/>
                    </a:moveTo>
                    <a:cubicBezTo>
                      <a:pt x="1933" y="553"/>
                      <a:pt x="1927" y="559"/>
                      <a:pt x="1927" y="566"/>
                    </a:cubicBezTo>
                    <a:cubicBezTo>
                      <a:pt x="1927" y="572"/>
                      <a:pt x="1933" y="578"/>
                      <a:pt x="1940" y="578"/>
                    </a:cubicBezTo>
                    <a:cubicBezTo>
                      <a:pt x="1946" y="578"/>
                      <a:pt x="1952" y="572"/>
                      <a:pt x="1952" y="566"/>
                    </a:cubicBezTo>
                    <a:cubicBezTo>
                      <a:pt x="1952" y="559"/>
                      <a:pt x="1946" y="553"/>
                      <a:pt x="1940" y="553"/>
                    </a:cubicBezTo>
                    <a:close/>
                    <a:moveTo>
                      <a:pt x="1905" y="338"/>
                    </a:moveTo>
                    <a:cubicBezTo>
                      <a:pt x="1898" y="338"/>
                      <a:pt x="1892" y="344"/>
                      <a:pt x="1892" y="350"/>
                    </a:cubicBezTo>
                    <a:cubicBezTo>
                      <a:pt x="1892" y="357"/>
                      <a:pt x="1898" y="363"/>
                      <a:pt x="1905" y="363"/>
                    </a:cubicBezTo>
                    <a:cubicBezTo>
                      <a:pt x="1911" y="363"/>
                      <a:pt x="1917" y="357"/>
                      <a:pt x="1917" y="350"/>
                    </a:cubicBezTo>
                    <a:cubicBezTo>
                      <a:pt x="1917" y="344"/>
                      <a:pt x="1911" y="338"/>
                      <a:pt x="1905" y="338"/>
                    </a:cubicBezTo>
                    <a:close/>
                    <a:moveTo>
                      <a:pt x="1835" y="277"/>
                    </a:moveTo>
                    <a:cubicBezTo>
                      <a:pt x="1828" y="277"/>
                      <a:pt x="1822" y="282"/>
                      <a:pt x="1822" y="289"/>
                    </a:cubicBezTo>
                    <a:cubicBezTo>
                      <a:pt x="1822" y="296"/>
                      <a:pt x="1828" y="301"/>
                      <a:pt x="1835" y="301"/>
                    </a:cubicBezTo>
                    <a:cubicBezTo>
                      <a:pt x="1841" y="301"/>
                      <a:pt x="1847" y="296"/>
                      <a:pt x="1847" y="289"/>
                    </a:cubicBezTo>
                    <a:cubicBezTo>
                      <a:pt x="1847" y="282"/>
                      <a:pt x="1841" y="277"/>
                      <a:pt x="1835" y="277"/>
                    </a:cubicBezTo>
                    <a:close/>
                    <a:moveTo>
                      <a:pt x="1905" y="246"/>
                    </a:moveTo>
                    <a:cubicBezTo>
                      <a:pt x="1898" y="246"/>
                      <a:pt x="1892" y="251"/>
                      <a:pt x="1892" y="258"/>
                    </a:cubicBezTo>
                    <a:cubicBezTo>
                      <a:pt x="1892" y="265"/>
                      <a:pt x="1898" y="270"/>
                      <a:pt x="1905" y="270"/>
                    </a:cubicBezTo>
                    <a:cubicBezTo>
                      <a:pt x="1911" y="270"/>
                      <a:pt x="1917" y="265"/>
                      <a:pt x="1917" y="258"/>
                    </a:cubicBezTo>
                    <a:cubicBezTo>
                      <a:pt x="1917" y="251"/>
                      <a:pt x="1911" y="246"/>
                      <a:pt x="1905" y="246"/>
                    </a:cubicBezTo>
                    <a:close/>
                    <a:moveTo>
                      <a:pt x="1905" y="307"/>
                    </a:moveTo>
                    <a:cubicBezTo>
                      <a:pt x="1898" y="307"/>
                      <a:pt x="1892" y="313"/>
                      <a:pt x="1892" y="320"/>
                    </a:cubicBezTo>
                    <a:cubicBezTo>
                      <a:pt x="1892" y="326"/>
                      <a:pt x="1898" y="332"/>
                      <a:pt x="1905" y="332"/>
                    </a:cubicBezTo>
                    <a:cubicBezTo>
                      <a:pt x="1911" y="332"/>
                      <a:pt x="1917" y="326"/>
                      <a:pt x="1917" y="320"/>
                    </a:cubicBezTo>
                    <a:cubicBezTo>
                      <a:pt x="1917" y="313"/>
                      <a:pt x="1911" y="307"/>
                      <a:pt x="1905" y="307"/>
                    </a:cubicBezTo>
                    <a:close/>
                    <a:moveTo>
                      <a:pt x="1940" y="523"/>
                    </a:moveTo>
                    <a:cubicBezTo>
                      <a:pt x="1933" y="523"/>
                      <a:pt x="1927" y="528"/>
                      <a:pt x="1927" y="535"/>
                    </a:cubicBezTo>
                    <a:cubicBezTo>
                      <a:pt x="1927" y="542"/>
                      <a:pt x="1933" y="547"/>
                      <a:pt x="1940" y="547"/>
                    </a:cubicBezTo>
                    <a:cubicBezTo>
                      <a:pt x="1946" y="547"/>
                      <a:pt x="1952" y="542"/>
                      <a:pt x="1952" y="535"/>
                    </a:cubicBezTo>
                    <a:cubicBezTo>
                      <a:pt x="1952" y="528"/>
                      <a:pt x="1946" y="523"/>
                      <a:pt x="1940" y="523"/>
                    </a:cubicBezTo>
                    <a:close/>
                    <a:moveTo>
                      <a:pt x="1870" y="461"/>
                    </a:moveTo>
                    <a:cubicBezTo>
                      <a:pt x="1863" y="461"/>
                      <a:pt x="1857" y="467"/>
                      <a:pt x="1857" y="473"/>
                    </a:cubicBezTo>
                    <a:cubicBezTo>
                      <a:pt x="1857" y="480"/>
                      <a:pt x="1863" y="485"/>
                      <a:pt x="1870" y="485"/>
                    </a:cubicBezTo>
                    <a:cubicBezTo>
                      <a:pt x="1876" y="485"/>
                      <a:pt x="1882" y="480"/>
                      <a:pt x="1882" y="473"/>
                    </a:cubicBezTo>
                    <a:cubicBezTo>
                      <a:pt x="1882" y="467"/>
                      <a:pt x="1876" y="461"/>
                      <a:pt x="1870" y="461"/>
                    </a:cubicBezTo>
                    <a:close/>
                    <a:moveTo>
                      <a:pt x="1870" y="492"/>
                    </a:moveTo>
                    <a:cubicBezTo>
                      <a:pt x="1863" y="492"/>
                      <a:pt x="1857" y="497"/>
                      <a:pt x="1857" y="504"/>
                    </a:cubicBezTo>
                    <a:cubicBezTo>
                      <a:pt x="1857" y="511"/>
                      <a:pt x="1863" y="516"/>
                      <a:pt x="1870" y="516"/>
                    </a:cubicBezTo>
                    <a:cubicBezTo>
                      <a:pt x="1876" y="516"/>
                      <a:pt x="1882" y="511"/>
                      <a:pt x="1882" y="504"/>
                    </a:cubicBezTo>
                    <a:cubicBezTo>
                      <a:pt x="1882" y="497"/>
                      <a:pt x="1876" y="492"/>
                      <a:pt x="1870" y="492"/>
                    </a:cubicBezTo>
                    <a:close/>
                    <a:moveTo>
                      <a:pt x="1835" y="246"/>
                    </a:moveTo>
                    <a:cubicBezTo>
                      <a:pt x="1828" y="246"/>
                      <a:pt x="1822" y="251"/>
                      <a:pt x="1822" y="258"/>
                    </a:cubicBezTo>
                    <a:cubicBezTo>
                      <a:pt x="1822" y="265"/>
                      <a:pt x="1828" y="270"/>
                      <a:pt x="1835" y="270"/>
                    </a:cubicBezTo>
                    <a:cubicBezTo>
                      <a:pt x="1841" y="270"/>
                      <a:pt x="1847" y="265"/>
                      <a:pt x="1847" y="258"/>
                    </a:cubicBezTo>
                    <a:cubicBezTo>
                      <a:pt x="1847" y="251"/>
                      <a:pt x="1841" y="246"/>
                      <a:pt x="1835" y="246"/>
                    </a:cubicBezTo>
                    <a:close/>
                    <a:moveTo>
                      <a:pt x="1870" y="523"/>
                    </a:moveTo>
                    <a:cubicBezTo>
                      <a:pt x="1863" y="523"/>
                      <a:pt x="1857" y="528"/>
                      <a:pt x="1857" y="535"/>
                    </a:cubicBezTo>
                    <a:cubicBezTo>
                      <a:pt x="1857" y="542"/>
                      <a:pt x="1863" y="547"/>
                      <a:pt x="1870" y="547"/>
                    </a:cubicBezTo>
                    <a:cubicBezTo>
                      <a:pt x="1876" y="547"/>
                      <a:pt x="1882" y="542"/>
                      <a:pt x="1882" y="535"/>
                    </a:cubicBezTo>
                    <a:cubicBezTo>
                      <a:pt x="1882" y="528"/>
                      <a:pt x="1876" y="523"/>
                      <a:pt x="1870" y="523"/>
                    </a:cubicBezTo>
                    <a:close/>
                    <a:moveTo>
                      <a:pt x="1870" y="430"/>
                    </a:moveTo>
                    <a:cubicBezTo>
                      <a:pt x="1863" y="430"/>
                      <a:pt x="1857" y="436"/>
                      <a:pt x="1857" y="443"/>
                    </a:cubicBezTo>
                    <a:cubicBezTo>
                      <a:pt x="1857" y="449"/>
                      <a:pt x="1863" y="455"/>
                      <a:pt x="1870" y="455"/>
                    </a:cubicBezTo>
                    <a:cubicBezTo>
                      <a:pt x="1876" y="455"/>
                      <a:pt x="1882" y="449"/>
                      <a:pt x="1882" y="443"/>
                    </a:cubicBezTo>
                    <a:cubicBezTo>
                      <a:pt x="1882" y="436"/>
                      <a:pt x="1876" y="430"/>
                      <a:pt x="1870" y="430"/>
                    </a:cubicBezTo>
                    <a:close/>
                    <a:moveTo>
                      <a:pt x="1870" y="369"/>
                    </a:moveTo>
                    <a:cubicBezTo>
                      <a:pt x="1863" y="369"/>
                      <a:pt x="1857" y="374"/>
                      <a:pt x="1857" y="381"/>
                    </a:cubicBezTo>
                    <a:cubicBezTo>
                      <a:pt x="1857" y="388"/>
                      <a:pt x="1863" y="393"/>
                      <a:pt x="1870" y="393"/>
                    </a:cubicBezTo>
                    <a:cubicBezTo>
                      <a:pt x="1876" y="393"/>
                      <a:pt x="1882" y="388"/>
                      <a:pt x="1882" y="381"/>
                    </a:cubicBezTo>
                    <a:cubicBezTo>
                      <a:pt x="1882" y="374"/>
                      <a:pt x="1876" y="369"/>
                      <a:pt x="1870" y="369"/>
                    </a:cubicBezTo>
                    <a:close/>
                    <a:moveTo>
                      <a:pt x="1870" y="307"/>
                    </a:moveTo>
                    <a:cubicBezTo>
                      <a:pt x="1863" y="307"/>
                      <a:pt x="1857" y="313"/>
                      <a:pt x="1857" y="320"/>
                    </a:cubicBezTo>
                    <a:cubicBezTo>
                      <a:pt x="1857" y="326"/>
                      <a:pt x="1863" y="332"/>
                      <a:pt x="1870" y="332"/>
                    </a:cubicBezTo>
                    <a:cubicBezTo>
                      <a:pt x="1876" y="332"/>
                      <a:pt x="1882" y="326"/>
                      <a:pt x="1882" y="320"/>
                    </a:cubicBezTo>
                    <a:cubicBezTo>
                      <a:pt x="1882" y="313"/>
                      <a:pt x="1876" y="307"/>
                      <a:pt x="1870" y="307"/>
                    </a:cubicBezTo>
                    <a:close/>
                    <a:moveTo>
                      <a:pt x="1940" y="492"/>
                    </a:moveTo>
                    <a:cubicBezTo>
                      <a:pt x="1933" y="492"/>
                      <a:pt x="1927" y="497"/>
                      <a:pt x="1927" y="504"/>
                    </a:cubicBezTo>
                    <a:cubicBezTo>
                      <a:pt x="1927" y="511"/>
                      <a:pt x="1933" y="516"/>
                      <a:pt x="1940" y="516"/>
                    </a:cubicBezTo>
                    <a:cubicBezTo>
                      <a:pt x="1946" y="516"/>
                      <a:pt x="1952" y="511"/>
                      <a:pt x="1952" y="504"/>
                    </a:cubicBezTo>
                    <a:cubicBezTo>
                      <a:pt x="1952" y="497"/>
                      <a:pt x="1946" y="492"/>
                      <a:pt x="1940" y="492"/>
                    </a:cubicBezTo>
                    <a:close/>
                    <a:moveTo>
                      <a:pt x="1870" y="338"/>
                    </a:moveTo>
                    <a:cubicBezTo>
                      <a:pt x="1863" y="338"/>
                      <a:pt x="1857" y="344"/>
                      <a:pt x="1857" y="350"/>
                    </a:cubicBezTo>
                    <a:cubicBezTo>
                      <a:pt x="1857" y="357"/>
                      <a:pt x="1863" y="363"/>
                      <a:pt x="1870" y="363"/>
                    </a:cubicBezTo>
                    <a:cubicBezTo>
                      <a:pt x="1876" y="363"/>
                      <a:pt x="1882" y="357"/>
                      <a:pt x="1882" y="350"/>
                    </a:cubicBezTo>
                    <a:cubicBezTo>
                      <a:pt x="1882" y="344"/>
                      <a:pt x="1876" y="338"/>
                      <a:pt x="1870" y="338"/>
                    </a:cubicBezTo>
                    <a:close/>
                    <a:moveTo>
                      <a:pt x="1870" y="246"/>
                    </a:moveTo>
                    <a:cubicBezTo>
                      <a:pt x="1863" y="246"/>
                      <a:pt x="1857" y="251"/>
                      <a:pt x="1857" y="258"/>
                    </a:cubicBezTo>
                    <a:cubicBezTo>
                      <a:pt x="1857" y="265"/>
                      <a:pt x="1863" y="270"/>
                      <a:pt x="1870" y="270"/>
                    </a:cubicBezTo>
                    <a:cubicBezTo>
                      <a:pt x="1876" y="270"/>
                      <a:pt x="1882" y="265"/>
                      <a:pt x="1882" y="258"/>
                    </a:cubicBezTo>
                    <a:cubicBezTo>
                      <a:pt x="1882" y="251"/>
                      <a:pt x="1876" y="246"/>
                      <a:pt x="1870" y="246"/>
                    </a:cubicBezTo>
                    <a:close/>
                    <a:moveTo>
                      <a:pt x="1870" y="400"/>
                    </a:moveTo>
                    <a:cubicBezTo>
                      <a:pt x="1863" y="400"/>
                      <a:pt x="1857" y="405"/>
                      <a:pt x="1857" y="412"/>
                    </a:cubicBezTo>
                    <a:cubicBezTo>
                      <a:pt x="1857" y="419"/>
                      <a:pt x="1863" y="424"/>
                      <a:pt x="1870" y="424"/>
                    </a:cubicBezTo>
                    <a:cubicBezTo>
                      <a:pt x="1876" y="424"/>
                      <a:pt x="1882" y="419"/>
                      <a:pt x="1882" y="412"/>
                    </a:cubicBezTo>
                    <a:cubicBezTo>
                      <a:pt x="1882" y="405"/>
                      <a:pt x="1876" y="400"/>
                      <a:pt x="1870" y="400"/>
                    </a:cubicBezTo>
                    <a:close/>
                    <a:moveTo>
                      <a:pt x="2010" y="307"/>
                    </a:moveTo>
                    <a:cubicBezTo>
                      <a:pt x="2003" y="307"/>
                      <a:pt x="1998" y="313"/>
                      <a:pt x="1998" y="320"/>
                    </a:cubicBezTo>
                    <a:cubicBezTo>
                      <a:pt x="1998" y="326"/>
                      <a:pt x="2003" y="332"/>
                      <a:pt x="2010" y="332"/>
                    </a:cubicBezTo>
                    <a:cubicBezTo>
                      <a:pt x="2016" y="332"/>
                      <a:pt x="2022" y="326"/>
                      <a:pt x="2022" y="320"/>
                    </a:cubicBezTo>
                    <a:cubicBezTo>
                      <a:pt x="2022" y="313"/>
                      <a:pt x="2016" y="307"/>
                      <a:pt x="2010" y="307"/>
                    </a:cubicBezTo>
                    <a:close/>
                    <a:moveTo>
                      <a:pt x="2220" y="277"/>
                    </a:moveTo>
                    <a:cubicBezTo>
                      <a:pt x="2213" y="277"/>
                      <a:pt x="2208" y="282"/>
                      <a:pt x="2208" y="289"/>
                    </a:cubicBezTo>
                    <a:cubicBezTo>
                      <a:pt x="2208" y="296"/>
                      <a:pt x="2213" y="301"/>
                      <a:pt x="2220" y="301"/>
                    </a:cubicBezTo>
                    <a:cubicBezTo>
                      <a:pt x="2227" y="301"/>
                      <a:pt x="2232" y="296"/>
                      <a:pt x="2232" y="289"/>
                    </a:cubicBezTo>
                    <a:cubicBezTo>
                      <a:pt x="2232" y="282"/>
                      <a:pt x="2227" y="277"/>
                      <a:pt x="2220" y="277"/>
                    </a:cubicBezTo>
                    <a:close/>
                    <a:moveTo>
                      <a:pt x="2220" y="307"/>
                    </a:moveTo>
                    <a:cubicBezTo>
                      <a:pt x="2213" y="307"/>
                      <a:pt x="2208" y="313"/>
                      <a:pt x="2208" y="320"/>
                    </a:cubicBezTo>
                    <a:cubicBezTo>
                      <a:pt x="2208" y="326"/>
                      <a:pt x="2213" y="332"/>
                      <a:pt x="2220" y="332"/>
                    </a:cubicBezTo>
                    <a:cubicBezTo>
                      <a:pt x="2227" y="332"/>
                      <a:pt x="2232" y="326"/>
                      <a:pt x="2232" y="320"/>
                    </a:cubicBezTo>
                    <a:cubicBezTo>
                      <a:pt x="2232" y="313"/>
                      <a:pt x="2227" y="307"/>
                      <a:pt x="2220" y="307"/>
                    </a:cubicBezTo>
                    <a:close/>
                    <a:moveTo>
                      <a:pt x="2220" y="369"/>
                    </a:moveTo>
                    <a:cubicBezTo>
                      <a:pt x="2213" y="369"/>
                      <a:pt x="2208" y="374"/>
                      <a:pt x="2208" y="381"/>
                    </a:cubicBezTo>
                    <a:cubicBezTo>
                      <a:pt x="2208" y="388"/>
                      <a:pt x="2213" y="393"/>
                      <a:pt x="2220" y="393"/>
                    </a:cubicBezTo>
                    <a:cubicBezTo>
                      <a:pt x="2227" y="393"/>
                      <a:pt x="2232" y="388"/>
                      <a:pt x="2232" y="381"/>
                    </a:cubicBezTo>
                    <a:cubicBezTo>
                      <a:pt x="2232" y="374"/>
                      <a:pt x="2227" y="369"/>
                      <a:pt x="2220" y="369"/>
                    </a:cubicBezTo>
                    <a:close/>
                    <a:moveTo>
                      <a:pt x="2220" y="338"/>
                    </a:moveTo>
                    <a:cubicBezTo>
                      <a:pt x="2213" y="338"/>
                      <a:pt x="2208" y="344"/>
                      <a:pt x="2208" y="350"/>
                    </a:cubicBezTo>
                    <a:cubicBezTo>
                      <a:pt x="2208" y="357"/>
                      <a:pt x="2213" y="363"/>
                      <a:pt x="2220" y="363"/>
                    </a:cubicBezTo>
                    <a:cubicBezTo>
                      <a:pt x="2227" y="363"/>
                      <a:pt x="2232" y="357"/>
                      <a:pt x="2232" y="350"/>
                    </a:cubicBezTo>
                    <a:cubicBezTo>
                      <a:pt x="2232" y="344"/>
                      <a:pt x="2227" y="338"/>
                      <a:pt x="2220" y="338"/>
                    </a:cubicBezTo>
                    <a:close/>
                    <a:moveTo>
                      <a:pt x="2220" y="430"/>
                    </a:moveTo>
                    <a:cubicBezTo>
                      <a:pt x="2213" y="430"/>
                      <a:pt x="2208" y="436"/>
                      <a:pt x="2208" y="443"/>
                    </a:cubicBezTo>
                    <a:cubicBezTo>
                      <a:pt x="2208" y="449"/>
                      <a:pt x="2213" y="455"/>
                      <a:pt x="2220" y="455"/>
                    </a:cubicBezTo>
                    <a:cubicBezTo>
                      <a:pt x="2227" y="455"/>
                      <a:pt x="2232" y="449"/>
                      <a:pt x="2232" y="443"/>
                    </a:cubicBezTo>
                    <a:cubicBezTo>
                      <a:pt x="2232" y="436"/>
                      <a:pt x="2227" y="430"/>
                      <a:pt x="2220" y="430"/>
                    </a:cubicBezTo>
                    <a:close/>
                    <a:moveTo>
                      <a:pt x="2255" y="584"/>
                    </a:moveTo>
                    <a:cubicBezTo>
                      <a:pt x="2248" y="584"/>
                      <a:pt x="2243" y="590"/>
                      <a:pt x="2243" y="596"/>
                    </a:cubicBezTo>
                    <a:cubicBezTo>
                      <a:pt x="2243" y="603"/>
                      <a:pt x="2248" y="608"/>
                      <a:pt x="2255" y="608"/>
                    </a:cubicBezTo>
                    <a:cubicBezTo>
                      <a:pt x="2262" y="608"/>
                      <a:pt x="2267" y="603"/>
                      <a:pt x="2267" y="596"/>
                    </a:cubicBezTo>
                    <a:cubicBezTo>
                      <a:pt x="2267" y="590"/>
                      <a:pt x="2262" y="584"/>
                      <a:pt x="2255" y="584"/>
                    </a:cubicBezTo>
                    <a:close/>
                    <a:moveTo>
                      <a:pt x="2220" y="246"/>
                    </a:moveTo>
                    <a:cubicBezTo>
                      <a:pt x="2213" y="246"/>
                      <a:pt x="2208" y="251"/>
                      <a:pt x="2208" y="258"/>
                    </a:cubicBezTo>
                    <a:cubicBezTo>
                      <a:pt x="2208" y="265"/>
                      <a:pt x="2213" y="270"/>
                      <a:pt x="2220" y="270"/>
                    </a:cubicBezTo>
                    <a:cubicBezTo>
                      <a:pt x="2227" y="270"/>
                      <a:pt x="2232" y="265"/>
                      <a:pt x="2232" y="258"/>
                    </a:cubicBezTo>
                    <a:cubicBezTo>
                      <a:pt x="2232" y="251"/>
                      <a:pt x="2227" y="246"/>
                      <a:pt x="2220" y="246"/>
                    </a:cubicBezTo>
                    <a:close/>
                    <a:moveTo>
                      <a:pt x="2255" y="646"/>
                    </a:moveTo>
                    <a:cubicBezTo>
                      <a:pt x="2248" y="646"/>
                      <a:pt x="2243" y="651"/>
                      <a:pt x="2243" y="658"/>
                    </a:cubicBezTo>
                    <a:cubicBezTo>
                      <a:pt x="2243" y="664"/>
                      <a:pt x="2248" y="670"/>
                      <a:pt x="2255" y="670"/>
                    </a:cubicBezTo>
                    <a:cubicBezTo>
                      <a:pt x="2262" y="670"/>
                      <a:pt x="2267" y="664"/>
                      <a:pt x="2267" y="658"/>
                    </a:cubicBezTo>
                    <a:cubicBezTo>
                      <a:pt x="2267" y="651"/>
                      <a:pt x="2262" y="646"/>
                      <a:pt x="2255" y="646"/>
                    </a:cubicBezTo>
                    <a:close/>
                    <a:moveTo>
                      <a:pt x="2255" y="615"/>
                    </a:moveTo>
                    <a:cubicBezTo>
                      <a:pt x="2248" y="615"/>
                      <a:pt x="2243" y="620"/>
                      <a:pt x="2243" y="627"/>
                    </a:cubicBezTo>
                    <a:cubicBezTo>
                      <a:pt x="2243" y="634"/>
                      <a:pt x="2248" y="639"/>
                      <a:pt x="2255" y="639"/>
                    </a:cubicBezTo>
                    <a:cubicBezTo>
                      <a:pt x="2262" y="639"/>
                      <a:pt x="2267" y="634"/>
                      <a:pt x="2267" y="627"/>
                    </a:cubicBezTo>
                    <a:cubicBezTo>
                      <a:pt x="2267" y="620"/>
                      <a:pt x="2262" y="615"/>
                      <a:pt x="2255" y="615"/>
                    </a:cubicBezTo>
                    <a:close/>
                    <a:moveTo>
                      <a:pt x="2220" y="184"/>
                    </a:moveTo>
                    <a:cubicBezTo>
                      <a:pt x="2213" y="184"/>
                      <a:pt x="2208" y="190"/>
                      <a:pt x="2208" y="197"/>
                    </a:cubicBezTo>
                    <a:cubicBezTo>
                      <a:pt x="2208" y="203"/>
                      <a:pt x="2213" y="209"/>
                      <a:pt x="2220" y="209"/>
                    </a:cubicBezTo>
                    <a:cubicBezTo>
                      <a:pt x="2227" y="209"/>
                      <a:pt x="2232" y="203"/>
                      <a:pt x="2232" y="197"/>
                    </a:cubicBezTo>
                    <a:cubicBezTo>
                      <a:pt x="2232" y="190"/>
                      <a:pt x="2227" y="184"/>
                      <a:pt x="2220" y="184"/>
                    </a:cubicBezTo>
                    <a:close/>
                    <a:moveTo>
                      <a:pt x="2080" y="430"/>
                    </a:moveTo>
                    <a:cubicBezTo>
                      <a:pt x="2073" y="430"/>
                      <a:pt x="2068" y="436"/>
                      <a:pt x="2068" y="443"/>
                    </a:cubicBezTo>
                    <a:cubicBezTo>
                      <a:pt x="2068" y="449"/>
                      <a:pt x="2073" y="455"/>
                      <a:pt x="2080" y="455"/>
                    </a:cubicBezTo>
                    <a:cubicBezTo>
                      <a:pt x="2087" y="455"/>
                      <a:pt x="2092" y="449"/>
                      <a:pt x="2092" y="443"/>
                    </a:cubicBezTo>
                    <a:cubicBezTo>
                      <a:pt x="2092" y="436"/>
                      <a:pt x="2087" y="430"/>
                      <a:pt x="2080" y="430"/>
                    </a:cubicBezTo>
                    <a:close/>
                    <a:moveTo>
                      <a:pt x="2220" y="461"/>
                    </a:moveTo>
                    <a:cubicBezTo>
                      <a:pt x="2213" y="461"/>
                      <a:pt x="2208" y="467"/>
                      <a:pt x="2208" y="473"/>
                    </a:cubicBezTo>
                    <a:cubicBezTo>
                      <a:pt x="2208" y="480"/>
                      <a:pt x="2213" y="485"/>
                      <a:pt x="2220" y="485"/>
                    </a:cubicBezTo>
                    <a:cubicBezTo>
                      <a:pt x="2227" y="485"/>
                      <a:pt x="2232" y="480"/>
                      <a:pt x="2232" y="473"/>
                    </a:cubicBezTo>
                    <a:cubicBezTo>
                      <a:pt x="2232" y="467"/>
                      <a:pt x="2227" y="461"/>
                      <a:pt x="2220" y="461"/>
                    </a:cubicBezTo>
                    <a:close/>
                    <a:moveTo>
                      <a:pt x="2220" y="400"/>
                    </a:moveTo>
                    <a:cubicBezTo>
                      <a:pt x="2213" y="400"/>
                      <a:pt x="2208" y="405"/>
                      <a:pt x="2208" y="412"/>
                    </a:cubicBezTo>
                    <a:cubicBezTo>
                      <a:pt x="2208" y="419"/>
                      <a:pt x="2213" y="424"/>
                      <a:pt x="2220" y="424"/>
                    </a:cubicBezTo>
                    <a:cubicBezTo>
                      <a:pt x="2227" y="424"/>
                      <a:pt x="2232" y="419"/>
                      <a:pt x="2232" y="412"/>
                    </a:cubicBezTo>
                    <a:cubicBezTo>
                      <a:pt x="2232" y="405"/>
                      <a:pt x="2227" y="400"/>
                      <a:pt x="2220" y="400"/>
                    </a:cubicBezTo>
                    <a:close/>
                    <a:moveTo>
                      <a:pt x="2220" y="492"/>
                    </a:moveTo>
                    <a:cubicBezTo>
                      <a:pt x="2213" y="492"/>
                      <a:pt x="2208" y="497"/>
                      <a:pt x="2208" y="504"/>
                    </a:cubicBezTo>
                    <a:cubicBezTo>
                      <a:pt x="2208" y="511"/>
                      <a:pt x="2213" y="516"/>
                      <a:pt x="2220" y="516"/>
                    </a:cubicBezTo>
                    <a:cubicBezTo>
                      <a:pt x="2227" y="516"/>
                      <a:pt x="2232" y="511"/>
                      <a:pt x="2232" y="504"/>
                    </a:cubicBezTo>
                    <a:cubicBezTo>
                      <a:pt x="2232" y="497"/>
                      <a:pt x="2227" y="492"/>
                      <a:pt x="2220" y="492"/>
                    </a:cubicBezTo>
                    <a:close/>
                    <a:moveTo>
                      <a:pt x="2185" y="184"/>
                    </a:moveTo>
                    <a:cubicBezTo>
                      <a:pt x="2178" y="184"/>
                      <a:pt x="2173" y="190"/>
                      <a:pt x="2173" y="197"/>
                    </a:cubicBezTo>
                    <a:cubicBezTo>
                      <a:pt x="2173" y="203"/>
                      <a:pt x="2178" y="209"/>
                      <a:pt x="2185" y="209"/>
                    </a:cubicBezTo>
                    <a:cubicBezTo>
                      <a:pt x="2192" y="209"/>
                      <a:pt x="2197" y="203"/>
                      <a:pt x="2197" y="197"/>
                    </a:cubicBezTo>
                    <a:cubicBezTo>
                      <a:pt x="2197" y="190"/>
                      <a:pt x="2192" y="184"/>
                      <a:pt x="2185" y="184"/>
                    </a:cubicBezTo>
                    <a:close/>
                    <a:moveTo>
                      <a:pt x="2185" y="246"/>
                    </a:moveTo>
                    <a:cubicBezTo>
                      <a:pt x="2178" y="246"/>
                      <a:pt x="2173" y="251"/>
                      <a:pt x="2173" y="258"/>
                    </a:cubicBezTo>
                    <a:cubicBezTo>
                      <a:pt x="2173" y="265"/>
                      <a:pt x="2178" y="270"/>
                      <a:pt x="2185" y="270"/>
                    </a:cubicBezTo>
                    <a:cubicBezTo>
                      <a:pt x="2192" y="270"/>
                      <a:pt x="2197" y="265"/>
                      <a:pt x="2197" y="258"/>
                    </a:cubicBezTo>
                    <a:cubicBezTo>
                      <a:pt x="2197" y="251"/>
                      <a:pt x="2192" y="246"/>
                      <a:pt x="2185" y="246"/>
                    </a:cubicBezTo>
                    <a:close/>
                    <a:moveTo>
                      <a:pt x="2185" y="277"/>
                    </a:moveTo>
                    <a:cubicBezTo>
                      <a:pt x="2178" y="277"/>
                      <a:pt x="2173" y="282"/>
                      <a:pt x="2173" y="289"/>
                    </a:cubicBezTo>
                    <a:cubicBezTo>
                      <a:pt x="2173" y="296"/>
                      <a:pt x="2178" y="301"/>
                      <a:pt x="2185" y="301"/>
                    </a:cubicBezTo>
                    <a:cubicBezTo>
                      <a:pt x="2192" y="301"/>
                      <a:pt x="2197" y="296"/>
                      <a:pt x="2197" y="289"/>
                    </a:cubicBezTo>
                    <a:cubicBezTo>
                      <a:pt x="2197" y="282"/>
                      <a:pt x="2192" y="277"/>
                      <a:pt x="2185" y="277"/>
                    </a:cubicBezTo>
                    <a:close/>
                    <a:moveTo>
                      <a:pt x="2185" y="307"/>
                    </a:moveTo>
                    <a:cubicBezTo>
                      <a:pt x="2178" y="307"/>
                      <a:pt x="2173" y="313"/>
                      <a:pt x="2173" y="320"/>
                    </a:cubicBezTo>
                    <a:cubicBezTo>
                      <a:pt x="2173" y="326"/>
                      <a:pt x="2178" y="332"/>
                      <a:pt x="2185" y="332"/>
                    </a:cubicBezTo>
                    <a:cubicBezTo>
                      <a:pt x="2192" y="332"/>
                      <a:pt x="2197" y="326"/>
                      <a:pt x="2197" y="320"/>
                    </a:cubicBezTo>
                    <a:cubicBezTo>
                      <a:pt x="2197" y="313"/>
                      <a:pt x="2192" y="307"/>
                      <a:pt x="2185" y="307"/>
                    </a:cubicBezTo>
                    <a:close/>
                    <a:moveTo>
                      <a:pt x="2185" y="215"/>
                    </a:moveTo>
                    <a:cubicBezTo>
                      <a:pt x="2178" y="215"/>
                      <a:pt x="2173" y="221"/>
                      <a:pt x="2173" y="227"/>
                    </a:cubicBezTo>
                    <a:cubicBezTo>
                      <a:pt x="2173" y="234"/>
                      <a:pt x="2178" y="240"/>
                      <a:pt x="2185" y="240"/>
                    </a:cubicBezTo>
                    <a:cubicBezTo>
                      <a:pt x="2192" y="240"/>
                      <a:pt x="2197" y="234"/>
                      <a:pt x="2197" y="227"/>
                    </a:cubicBezTo>
                    <a:cubicBezTo>
                      <a:pt x="2197" y="221"/>
                      <a:pt x="2192" y="215"/>
                      <a:pt x="2185" y="215"/>
                    </a:cubicBezTo>
                    <a:close/>
                    <a:moveTo>
                      <a:pt x="2220" y="553"/>
                    </a:moveTo>
                    <a:cubicBezTo>
                      <a:pt x="2213" y="553"/>
                      <a:pt x="2208" y="559"/>
                      <a:pt x="2208" y="566"/>
                    </a:cubicBezTo>
                    <a:cubicBezTo>
                      <a:pt x="2208" y="572"/>
                      <a:pt x="2213" y="578"/>
                      <a:pt x="2220" y="578"/>
                    </a:cubicBezTo>
                    <a:cubicBezTo>
                      <a:pt x="2227" y="578"/>
                      <a:pt x="2232" y="572"/>
                      <a:pt x="2232" y="566"/>
                    </a:cubicBezTo>
                    <a:cubicBezTo>
                      <a:pt x="2232" y="559"/>
                      <a:pt x="2227" y="553"/>
                      <a:pt x="2220" y="553"/>
                    </a:cubicBezTo>
                    <a:close/>
                    <a:moveTo>
                      <a:pt x="2220" y="646"/>
                    </a:moveTo>
                    <a:cubicBezTo>
                      <a:pt x="2213" y="646"/>
                      <a:pt x="2208" y="651"/>
                      <a:pt x="2208" y="658"/>
                    </a:cubicBezTo>
                    <a:cubicBezTo>
                      <a:pt x="2208" y="664"/>
                      <a:pt x="2213" y="670"/>
                      <a:pt x="2220" y="670"/>
                    </a:cubicBezTo>
                    <a:cubicBezTo>
                      <a:pt x="2227" y="670"/>
                      <a:pt x="2232" y="664"/>
                      <a:pt x="2232" y="658"/>
                    </a:cubicBezTo>
                    <a:cubicBezTo>
                      <a:pt x="2232" y="651"/>
                      <a:pt x="2227" y="646"/>
                      <a:pt x="2220" y="646"/>
                    </a:cubicBezTo>
                    <a:close/>
                    <a:moveTo>
                      <a:pt x="2220" y="523"/>
                    </a:moveTo>
                    <a:cubicBezTo>
                      <a:pt x="2213" y="523"/>
                      <a:pt x="2208" y="528"/>
                      <a:pt x="2208" y="535"/>
                    </a:cubicBezTo>
                    <a:cubicBezTo>
                      <a:pt x="2208" y="542"/>
                      <a:pt x="2213" y="547"/>
                      <a:pt x="2220" y="547"/>
                    </a:cubicBezTo>
                    <a:cubicBezTo>
                      <a:pt x="2227" y="547"/>
                      <a:pt x="2232" y="542"/>
                      <a:pt x="2232" y="535"/>
                    </a:cubicBezTo>
                    <a:cubicBezTo>
                      <a:pt x="2232" y="528"/>
                      <a:pt x="2227" y="523"/>
                      <a:pt x="2220" y="523"/>
                    </a:cubicBezTo>
                    <a:close/>
                    <a:moveTo>
                      <a:pt x="2220" y="615"/>
                    </a:moveTo>
                    <a:cubicBezTo>
                      <a:pt x="2213" y="615"/>
                      <a:pt x="2208" y="620"/>
                      <a:pt x="2208" y="627"/>
                    </a:cubicBezTo>
                    <a:cubicBezTo>
                      <a:pt x="2208" y="634"/>
                      <a:pt x="2213" y="639"/>
                      <a:pt x="2220" y="639"/>
                    </a:cubicBezTo>
                    <a:cubicBezTo>
                      <a:pt x="2227" y="639"/>
                      <a:pt x="2232" y="634"/>
                      <a:pt x="2232" y="627"/>
                    </a:cubicBezTo>
                    <a:cubicBezTo>
                      <a:pt x="2232" y="620"/>
                      <a:pt x="2227" y="615"/>
                      <a:pt x="2220" y="615"/>
                    </a:cubicBezTo>
                    <a:close/>
                    <a:moveTo>
                      <a:pt x="2220" y="584"/>
                    </a:moveTo>
                    <a:cubicBezTo>
                      <a:pt x="2213" y="584"/>
                      <a:pt x="2208" y="590"/>
                      <a:pt x="2208" y="596"/>
                    </a:cubicBezTo>
                    <a:cubicBezTo>
                      <a:pt x="2208" y="603"/>
                      <a:pt x="2213" y="608"/>
                      <a:pt x="2220" y="608"/>
                    </a:cubicBezTo>
                    <a:cubicBezTo>
                      <a:pt x="2227" y="608"/>
                      <a:pt x="2232" y="603"/>
                      <a:pt x="2232" y="596"/>
                    </a:cubicBezTo>
                    <a:cubicBezTo>
                      <a:pt x="2232" y="590"/>
                      <a:pt x="2227" y="584"/>
                      <a:pt x="2220" y="584"/>
                    </a:cubicBezTo>
                    <a:close/>
                    <a:moveTo>
                      <a:pt x="2220" y="215"/>
                    </a:moveTo>
                    <a:cubicBezTo>
                      <a:pt x="2213" y="215"/>
                      <a:pt x="2208" y="221"/>
                      <a:pt x="2208" y="227"/>
                    </a:cubicBezTo>
                    <a:cubicBezTo>
                      <a:pt x="2208" y="234"/>
                      <a:pt x="2213" y="240"/>
                      <a:pt x="2220" y="240"/>
                    </a:cubicBezTo>
                    <a:cubicBezTo>
                      <a:pt x="2227" y="240"/>
                      <a:pt x="2232" y="234"/>
                      <a:pt x="2232" y="227"/>
                    </a:cubicBezTo>
                    <a:cubicBezTo>
                      <a:pt x="2232" y="221"/>
                      <a:pt x="2227" y="215"/>
                      <a:pt x="2220" y="215"/>
                    </a:cubicBezTo>
                    <a:close/>
                    <a:moveTo>
                      <a:pt x="2290" y="584"/>
                    </a:moveTo>
                    <a:cubicBezTo>
                      <a:pt x="2283" y="584"/>
                      <a:pt x="2278" y="590"/>
                      <a:pt x="2278" y="596"/>
                    </a:cubicBezTo>
                    <a:cubicBezTo>
                      <a:pt x="2278" y="603"/>
                      <a:pt x="2283" y="608"/>
                      <a:pt x="2290" y="608"/>
                    </a:cubicBezTo>
                    <a:cubicBezTo>
                      <a:pt x="2297" y="608"/>
                      <a:pt x="2302" y="603"/>
                      <a:pt x="2302" y="596"/>
                    </a:cubicBezTo>
                    <a:cubicBezTo>
                      <a:pt x="2302" y="590"/>
                      <a:pt x="2297" y="584"/>
                      <a:pt x="2290" y="584"/>
                    </a:cubicBezTo>
                    <a:close/>
                    <a:moveTo>
                      <a:pt x="2290" y="553"/>
                    </a:moveTo>
                    <a:cubicBezTo>
                      <a:pt x="2283" y="553"/>
                      <a:pt x="2278" y="559"/>
                      <a:pt x="2278" y="566"/>
                    </a:cubicBezTo>
                    <a:cubicBezTo>
                      <a:pt x="2278" y="572"/>
                      <a:pt x="2283" y="578"/>
                      <a:pt x="2290" y="578"/>
                    </a:cubicBezTo>
                    <a:cubicBezTo>
                      <a:pt x="2297" y="578"/>
                      <a:pt x="2302" y="572"/>
                      <a:pt x="2302" y="566"/>
                    </a:cubicBezTo>
                    <a:cubicBezTo>
                      <a:pt x="2302" y="559"/>
                      <a:pt x="2297" y="553"/>
                      <a:pt x="2290" y="553"/>
                    </a:cubicBezTo>
                    <a:close/>
                    <a:moveTo>
                      <a:pt x="2255" y="184"/>
                    </a:moveTo>
                    <a:cubicBezTo>
                      <a:pt x="2248" y="184"/>
                      <a:pt x="2243" y="190"/>
                      <a:pt x="2243" y="197"/>
                    </a:cubicBezTo>
                    <a:cubicBezTo>
                      <a:pt x="2243" y="203"/>
                      <a:pt x="2248" y="209"/>
                      <a:pt x="2255" y="209"/>
                    </a:cubicBezTo>
                    <a:cubicBezTo>
                      <a:pt x="2262" y="209"/>
                      <a:pt x="2267" y="203"/>
                      <a:pt x="2267" y="197"/>
                    </a:cubicBezTo>
                    <a:cubicBezTo>
                      <a:pt x="2267" y="190"/>
                      <a:pt x="2262" y="184"/>
                      <a:pt x="2255" y="184"/>
                    </a:cubicBezTo>
                    <a:close/>
                    <a:moveTo>
                      <a:pt x="2290" y="646"/>
                    </a:moveTo>
                    <a:cubicBezTo>
                      <a:pt x="2283" y="646"/>
                      <a:pt x="2278" y="651"/>
                      <a:pt x="2278" y="658"/>
                    </a:cubicBezTo>
                    <a:cubicBezTo>
                      <a:pt x="2278" y="664"/>
                      <a:pt x="2283" y="670"/>
                      <a:pt x="2290" y="670"/>
                    </a:cubicBezTo>
                    <a:cubicBezTo>
                      <a:pt x="2297" y="670"/>
                      <a:pt x="2302" y="664"/>
                      <a:pt x="2302" y="658"/>
                    </a:cubicBezTo>
                    <a:cubicBezTo>
                      <a:pt x="2302" y="651"/>
                      <a:pt x="2297" y="646"/>
                      <a:pt x="2290" y="646"/>
                    </a:cubicBezTo>
                    <a:close/>
                    <a:moveTo>
                      <a:pt x="2290" y="523"/>
                    </a:moveTo>
                    <a:cubicBezTo>
                      <a:pt x="2283" y="523"/>
                      <a:pt x="2278" y="528"/>
                      <a:pt x="2278" y="535"/>
                    </a:cubicBezTo>
                    <a:cubicBezTo>
                      <a:pt x="2278" y="542"/>
                      <a:pt x="2283" y="547"/>
                      <a:pt x="2290" y="547"/>
                    </a:cubicBezTo>
                    <a:cubicBezTo>
                      <a:pt x="2297" y="547"/>
                      <a:pt x="2302" y="542"/>
                      <a:pt x="2302" y="535"/>
                    </a:cubicBezTo>
                    <a:cubicBezTo>
                      <a:pt x="2302" y="528"/>
                      <a:pt x="2297" y="523"/>
                      <a:pt x="2290" y="523"/>
                    </a:cubicBezTo>
                    <a:close/>
                    <a:moveTo>
                      <a:pt x="2290" y="615"/>
                    </a:moveTo>
                    <a:cubicBezTo>
                      <a:pt x="2283" y="615"/>
                      <a:pt x="2278" y="620"/>
                      <a:pt x="2278" y="627"/>
                    </a:cubicBezTo>
                    <a:cubicBezTo>
                      <a:pt x="2278" y="634"/>
                      <a:pt x="2283" y="639"/>
                      <a:pt x="2290" y="639"/>
                    </a:cubicBezTo>
                    <a:cubicBezTo>
                      <a:pt x="2297" y="639"/>
                      <a:pt x="2302" y="634"/>
                      <a:pt x="2302" y="627"/>
                    </a:cubicBezTo>
                    <a:cubicBezTo>
                      <a:pt x="2302" y="620"/>
                      <a:pt x="2297" y="615"/>
                      <a:pt x="2290" y="615"/>
                    </a:cubicBezTo>
                    <a:close/>
                    <a:moveTo>
                      <a:pt x="2290" y="492"/>
                    </a:moveTo>
                    <a:cubicBezTo>
                      <a:pt x="2283" y="492"/>
                      <a:pt x="2278" y="497"/>
                      <a:pt x="2278" y="504"/>
                    </a:cubicBezTo>
                    <a:cubicBezTo>
                      <a:pt x="2278" y="511"/>
                      <a:pt x="2283" y="516"/>
                      <a:pt x="2290" y="516"/>
                    </a:cubicBezTo>
                    <a:cubicBezTo>
                      <a:pt x="2297" y="516"/>
                      <a:pt x="2302" y="511"/>
                      <a:pt x="2302" y="504"/>
                    </a:cubicBezTo>
                    <a:cubicBezTo>
                      <a:pt x="2302" y="497"/>
                      <a:pt x="2297" y="492"/>
                      <a:pt x="2290" y="492"/>
                    </a:cubicBezTo>
                    <a:close/>
                    <a:moveTo>
                      <a:pt x="2290" y="400"/>
                    </a:moveTo>
                    <a:cubicBezTo>
                      <a:pt x="2283" y="400"/>
                      <a:pt x="2278" y="405"/>
                      <a:pt x="2278" y="412"/>
                    </a:cubicBezTo>
                    <a:cubicBezTo>
                      <a:pt x="2278" y="419"/>
                      <a:pt x="2283" y="424"/>
                      <a:pt x="2290" y="424"/>
                    </a:cubicBezTo>
                    <a:cubicBezTo>
                      <a:pt x="2297" y="424"/>
                      <a:pt x="2302" y="419"/>
                      <a:pt x="2302" y="412"/>
                    </a:cubicBezTo>
                    <a:cubicBezTo>
                      <a:pt x="2302" y="405"/>
                      <a:pt x="2297" y="400"/>
                      <a:pt x="2290" y="400"/>
                    </a:cubicBezTo>
                    <a:close/>
                    <a:moveTo>
                      <a:pt x="2290" y="369"/>
                    </a:moveTo>
                    <a:cubicBezTo>
                      <a:pt x="2283" y="369"/>
                      <a:pt x="2278" y="374"/>
                      <a:pt x="2278" y="381"/>
                    </a:cubicBezTo>
                    <a:cubicBezTo>
                      <a:pt x="2278" y="388"/>
                      <a:pt x="2283" y="393"/>
                      <a:pt x="2290" y="393"/>
                    </a:cubicBezTo>
                    <a:cubicBezTo>
                      <a:pt x="2297" y="393"/>
                      <a:pt x="2302" y="388"/>
                      <a:pt x="2302" y="381"/>
                    </a:cubicBezTo>
                    <a:cubicBezTo>
                      <a:pt x="2302" y="374"/>
                      <a:pt x="2297" y="369"/>
                      <a:pt x="2290" y="369"/>
                    </a:cubicBezTo>
                    <a:close/>
                    <a:moveTo>
                      <a:pt x="2290" y="430"/>
                    </a:moveTo>
                    <a:cubicBezTo>
                      <a:pt x="2283" y="430"/>
                      <a:pt x="2278" y="436"/>
                      <a:pt x="2278" y="443"/>
                    </a:cubicBezTo>
                    <a:cubicBezTo>
                      <a:pt x="2278" y="449"/>
                      <a:pt x="2283" y="455"/>
                      <a:pt x="2290" y="455"/>
                    </a:cubicBezTo>
                    <a:cubicBezTo>
                      <a:pt x="2297" y="455"/>
                      <a:pt x="2302" y="449"/>
                      <a:pt x="2302" y="443"/>
                    </a:cubicBezTo>
                    <a:cubicBezTo>
                      <a:pt x="2302" y="436"/>
                      <a:pt x="2297" y="430"/>
                      <a:pt x="2290" y="430"/>
                    </a:cubicBezTo>
                    <a:close/>
                    <a:moveTo>
                      <a:pt x="2290" y="461"/>
                    </a:moveTo>
                    <a:cubicBezTo>
                      <a:pt x="2283" y="461"/>
                      <a:pt x="2278" y="467"/>
                      <a:pt x="2278" y="473"/>
                    </a:cubicBezTo>
                    <a:cubicBezTo>
                      <a:pt x="2278" y="480"/>
                      <a:pt x="2283" y="485"/>
                      <a:pt x="2290" y="485"/>
                    </a:cubicBezTo>
                    <a:cubicBezTo>
                      <a:pt x="2297" y="485"/>
                      <a:pt x="2302" y="480"/>
                      <a:pt x="2302" y="473"/>
                    </a:cubicBezTo>
                    <a:cubicBezTo>
                      <a:pt x="2302" y="467"/>
                      <a:pt x="2297" y="461"/>
                      <a:pt x="2290" y="461"/>
                    </a:cubicBezTo>
                    <a:close/>
                    <a:moveTo>
                      <a:pt x="2255" y="553"/>
                    </a:moveTo>
                    <a:cubicBezTo>
                      <a:pt x="2248" y="553"/>
                      <a:pt x="2243" y="559"/>
                      <a:pt x="2243" y="566"/>
                    </a:cubicBezTo>
                    <a:cubicBezTo>
                      <a:pt x="2243" y="572"/>
                      <a:pt x="2248" y="578"/>
                      <a:pt x="2255" y="578"/>
                    </a:cubicBezTo>
                    <a:cubicBezTo>
                      <a:pt x="2262" y="578"/>
                      <a:pt x="2267" y="572"/>
                      <a:pt x="2267" y="566"/>
                    </a:cubicBezTo>
                    <a:cubicBezTo>
                      <a:pt x="2267" y="559"/>
                      <a:pt x="2262" y="553"/>
                      <a:pt x="2255" y="553"/>
                    </a:cubicBezTo>
                    <a:close/>
                    <a:moveTo>
                      <a:pt x="2255" y="400"/>
                    </a:moveTo>
                    <a:cubicBezTo>
                      <a:pt x="2248" y="400"/>
                      <a:pt x="2243" y="405"/>
                      <a:pt x="2243" y="412"/>
                    </a:cubicBezTo>
                    <a:cubicBezTo>
                      <a:pt x="2243" y="419"/>
                      <a:pt x="2248" y="424"/>
                      <a:pt x="2255" y="424"/>
                    </a:cubicBezTo>
                    <a:cubicBezTo>
                      <a:pt x="2262" y="424"/>
                      <a:pt x="2267" y="419"/>
                      <a:pt x="2267" y="412"/>
                    </a:cubicBezTo>
                    <a:cubicBezTo>
                      <a:pt x="2267" y="405"/>
                      <a:pt x="2262" y="400"/>
                      <a:pt x="2255" y="400"/>
                    </a:cubicBezTo>
                    <a:close/>
                    <a:moveTo>
                      <a:pt x="2255" y="430"/>
                    </a:moveTo>
                    <a:cubicBezTo>
                      <a:pt x="2248" y="430"/>
                      <a:pt x="2243" y="436"/>
                      <a:pt x="2243" y="443"/>
                    </a:cubicBezTo>
                    <a:cubicBezTo>
                      <a:pt x="2243" y="449"/>
                      <a:pt x="2248" y="455"/>
                      <a:pt x="2255" y="455"/>
                    </a:cubicBezTo>
                    <a:cubicBezTo>
                      <a:pt x="2262" y="455"/>
                      <a:pt x="2267" y="449"/>
                      <a:pt x="2267" y="443"/>
                    </a:cubicBezTo>
                    <a:cubicBezTo>
                      <a:pt x="2267" y="436"/>
                      <a:pt x="2262" y="430"/>
                      <a:pt x="2255" y="430"/>
                    </a:cubicBezTo>
                    <a:close/>
                    <a:moveTo>
                      <a:pt x="2255" y="461"/>
                    </a:moveTo>
                    <a:cubicBezTo>
                      <a:pt x="2248" y="461"/>
                      <a:pt x="2243" y="467"/>
                      <a:pt x="2243" y="473"/>
                    </a:cubicBezTo>
                    <a:cubicBezTo>
                      <a:pt x="2243" y="480"/>
                      <a:pt x="2248" y="485"/>
                      <a:pt x="2255" y="485"/>
                    </a:cubicBezTo>
                    <a:cubicBezTo>
                      <a:pt x="2262" y="485"/>
                      <a:pt x="2267" y="480"/>
                      <a:pt x="2267" y="473"/>
                    </a:cubicBezTo>
                    <a:cubicBezTo>
                      <a:pt x="2267" y="467"/>
                      <a:pt x="2262" y="461"/>
                      <a:pt x="2255" y="461"/>
                    </a:cubicBezTo>
                    <a:close/>
                    <a:moveTo>
                      <a:pt x="2255" y="492"/>
                    </a:moveTo>
                    <a:cubicBezTo>
                      <a:pt x="2248" y="492"/>
                      <a:pt x="2243" y="497"/>
                      <a:pt x="2243" y="504"/>
                    </a:cubicBezTo>
                    <a:cubicBezTo>
                      <a:pt x="2243" y="511"/>
                      <a:pt x="2248" y="516"/>
                      <a:pt x="2255" y="516"/>
                    </a:cubicBezTo>
                    <a:cubicBezTo>
                      <a:pt x="2262" y="516"/>
                      <a:pt x="2267" y="511"/>
                      <a:pt x="2267" y="504"/>
                    </a:cubicBezTo>
                    <a:cubicBezTo>
                      <a:pt x="2267" y="497"/>
                      <a:pt x="2262" y="492"/>
                      <a:pt x="2255" y="492"/>
                    </a:cubicBezTo>
                    <a:close/>
                    <a:moveTo>
                      <a:pt x="2255" y="523"/>
                    </a:moveTo>
                    <a:cubicBezTo>
                      <a:pt x="2248" y="523"/>
                      <a:pt x="2243" y="528"/>
                      <a:pt x="2243" y="535"/>
                    </a:cubicBezTo>
                    <a:cubicBezTo>
                      <a:pt x="2243" y="542"/>
                      <a:pt x="2248" y="547"/>
                      <a:pt x="2255" y="547"/>
                    </a:cubicBezTo>
                    <a:cubicBezTo>
                      <a:pt x="2262" y="547"/>
                      <a:pt x="2267" y="542"/>
                      <a:pt x="2267" y="535"/>
                    </a:cubicBezTo>
                    <a:cubicBezTo>
                      <a:pt x="2267" y="528"/>
                      <a:pt x="2262" y="523"/>
                      <a:pt x="2255" y="523"/>
                    </a:cubicBezTo>
                    <a:close/>
                    <a:moveTo>
                      <a:pt x="2255" y="307"/>
                    </a:moveTo>
                    <a:cubicBezTo>
                      <a:pt x="2248" y="307"/>
                      <a:pt x="2243" y="313"/>
                      <a:pt x="2243" y="320"/>
                    </a:cubicBezTo>
                    <a:cubicBezTo>
                      <a:pt x="2243" y="326"/>
                      <a:pt x="2248" y="332"/>
                      <a:pt x="2255" y="332"/>
                    </a:cubicBezTo>
                    <a:cubicBezTo>
                      <a:pt x="2262" y="332"/>
                      <a:pt x="2267" y="326"/>
                      <a:pt x="2267" y="320"/>
                    </a:cubicBezTo>
                    <a:cubicBezTo>
                      <a:pt x="2267" y="313"/>
                      <a:pt x="2262" y="307"/>
                      <a:pt x="2255" y="307"/>
                    </a:cubicBezTo>
                    <a:close/>
                    <a:moveTo>
                      <a:pt x="2255" y="246"/>
                    </a:moveTo>
                    <a:cubicBezTo>
                      <a:pt x="2248" y="246"/>
                      <a:pt x="2243" y="251"/>
                      <a:pt x="2243" y="258"/>
                    </a:cubicBezTo>
                    <a:cubicBezTo>
                      <a:pt x="2243" y="265"/>
                      <a:pt x="2248" y="270"/>
                      <a:pt x="2255" y="270"/>
                    </a:cubicBezTo>
                    <a:cubicBezTo>
                      <a:pt x="2262" y="270"/>
                      <a:pt x="2267" y="265"/>
                      <a:pt x="2267" y="258"/>
                    </a:cubicBezTo>
                    <a:cubicBezTo>
                      <a:pt x="2267" y="251"/>
                      <a:pt x="2262" y="246"/>
                      <a:pt x="2255" y="246"/>
                    </a:cubicBezTo>
                    <a:close/>
                    <a:moveTo>
                      <a:pt x="2255" y="369"/>
                    </a:moveTo>
                    <a:cubicBezTo>
                      <a:pt x="2248" y="369"/>
                      <a:pt x="2243" y="374"/>
                      <a:pt x="2243" y="381"/>
                    </a:cubicBezTo>
                    <a:cubicBezTo>
                      <a:pt x="2243" y="388"/>
                      <a:pt x="2248" y="393"/>
                      <a:pt x="2255" y="393"/>
                    </a:cubicBezTo>
                    <a:cubicBezTo>
                      <a:pt x="2262" y="393"/>
                      <a:pt x="2267" y="388"/>
                      <a:pt x="2267" y="381"/>
                    </a:cubicBezTo>
                    <a:cubicBezTo>
                      <a:pt x="2267" y="374"/>
                      <a:pt x="2262" y="369"/>
                      <a:pt x="2255" y="369"/>
                    </a:cubicBezTo>
                    <a:close/>
                    <a:moveTo>
                      <a:pt x="2255" y="277"/>
                    </a:moveTo>
                    <a:cubicBezTo>
                      <a:pt x="2248" y="277"/>
                      <a:pt x="2243" y="282"/>
                      <a:pt x="2243" y="289"/>
                    </a:cubicBezTo>
                    <a:cubicBezTo>
                      <a:pt x="2243" y="296"/>
                      <a:pt x="2248" y="301"/>
                      <a:pt x="2255" y="301"/>
                    </a:cubicBezTo>
                    <a:cubicBezTo>
                      <a:pt x="2262" y="301"/>
                      <a:pt x="2267" y="296"/>
                      <a:pt x="2267" y="289"/>
                    </a:cubicBezTo>
                    <a:cubicBezTo>
                      <a:pt x="2267" y="282"/>
                      <a:pt x="2262" y="277"/>
                      <a:pt x="2255" y="277"/>
                    </a:cubicBezTo>
                    <a:close/>
                    <a:moveTo>
                      <a:pt x="2255" y="215"/>
                    </a:moveTo>
                    <a:cubicBezTo>
                      <a:pt x="2248" y="215"/>
                      <a:pt x="2243" y="221"/>
                      <a:pt x="2243" y="227"/>
                    </a:cubicBezTo>
                    <a:cubicBezTo>
                      <a:pt x="2243" y="234"/>
                      <a:pt x="2248" y="240"/>
                      <a:pt x="2255" y="240"/>
                    </a:cubicBezTo>
                    <a:cubicBezTo>
                      <a:pt x="2262" y="240"/>
                      <a:pt x="2267" y="234"/>
                      <a:pt x="2267" y="227"/>
                    </a:cubicBezTo>
                    <a:cubicBezTo>
                      <a:pt x="2267" y="221"/>
                      <a:pt x="2262" y="215"/>
                      <a:pt x="2255" y="215"/>
                    </a:cubicBezTo>
                    <a:close/>
                    <a:moveTo>
                      <a:pt x="2255" y="338"/>
                    </a:moveTo>
                    <a:cubicBezTo>
                      <a:pt x="2248" y="338"/>
                      <a:pt x="2243" y="344"/>
                      <a:pt x="2243" y="350"/>
                    </a:cubicBezTo>
                    <a:cubicBezTo>
                      <a:pt x="2243" y="357"/>
                      <a:pt x="2248" y="363"/>
                      <a:pt x="2255" y="363"/>
                    </a:cubicBezTo>
                    <a:cubicBezTo>
                      <a:pt x="2262" y="363"/>
                      <a:pt x="2267" y="357"/>
                      <a:pt x="2267" y="350"/>
                    </a:cubicBezTo>
                    <a:cubicBezTo>
                      <a:pt x="2267" y="344"/>
                      <a:pt x="2262" y="338"/>
                      <a:pt x="2255" y="338"/>
                    </a:cubicBezTo>
                    <a:close/>
                    <a:moveTo>
                      <a:pt x="2185" y="338"/>
                    </a:moveTo>
                    <a:cubicBezTo>
                      <a:pt x="2178" y="338"/>
                      <a:pt x="2173" y="344"/>
                      <a:pt x="2173" y="350"/>
                    </a:cubicBezTo>
                    <a:cubicBezTo>
                      <a:pt x="2173" y="357"/>
                      <a:pt x="2178" y="363"/>
                      <a:pt x="2185" y="363"/>
                    </a:cubicBezTo>
                    <a:cubicBezTo>
                      <a:pt x="2192" y="363"/>
                      <a:pt x="2197" y="357"/>
                      <a:pt x="2197" y="350"/>
                    </a:cubicBezTo>
                    <a:cubicBezTo>
                      <a:pt x="2197" y="344"/>
                      <a:pt x="2192" y="338"/>
                      <a:pt x="2185" y="338"/>
                    </a:cubicBezTo>
                    <a:close/>
                    <a:moveTo>
                      <a:pt x="2150" y="615"/>
                    </a:moveTo>
                    <a:cubicBezTo>
                      <a:pt x="2143" y="615"/>
                      <a:pt x="2138" y="620"/>
                      <a:pt x="2138" y="627"/>
                    </a:cubicBezTo>
                    <a:cubicBezTo>
                      <a:pt x="2138" y="634"/>
                      <a:pt x="2143" y="639"/>
                      <a:pt x="2150" y="639"/>
                    </a:cubicBezTo>
                    <a:cubicBezTo>
                      <a:pt x="2157" y="639"/>
                      <a:pt x="2162" y="634"/>
                      <a:pt x="2162" y="627"/>
                    </a:cubicBezTo>
                    <a:cubicBezTo>
                      <a:pt x="2162" y="620"/>
                      <a:pt x="2157" y="615"/>
                      <a:pt x="2150" y="615"/>
                    </a:cubicBezTo>
                    <a:close/>
                    <a:moveTo>
                      <a:pt x="2115" y="400"/>
                    </a:moveTo>
                    <a:cubicBezTo>
                      <a:pt x="2108" y="400"/>
                      <a:pt x="2103" y="405"/>
                      <a:pt x="2103" y="412"/>
                    </a:cubicBezTo>
                    <a:cubicBezTo>
                      <a:pt x="2103" y="419"/>
                      <a:pt x="2108" y="424"/>
                      <a:pt x="2115" y="424"/>
                    </a:cubicBezTo>
                    <a:cubicBezTo>
                      <a:pt x="2122" y="424"/>
                      <a:pt x="2127" y="419"/>
                      <a:pt x="2127" y="412"/>
                    </a:cubicBezTo>
                    <a:cubicBezTo>
                      <a:pt x="2127" y="405"/>
                      <a:pt x="2122" y="400"/>
                      <a:pt x="2115" y="400"/>
                    </a:cubicBezTo>
                    <a:close/>
                    <a:moveTo>
                      <a:pt x="2115" y="369"/>
                    </a:moveTo>
                    <a:cubicBezTo>
                      <a:pt x="2108" y="369"/>
                      <a:pt x="2103" y="374"/>
                      <a:pt x="2103" y="381"/>
                    </a:cubicBezTo>
                    <a:cubicBezTo>
                      <a:pt x="2103" y="388"/>
                      <a:pt x="2108" y="393"/>
                      <a:pt x="2115" y="393"/>
                    </a:cubicBezTo>
                    <a:cubicBezTo>
                      <a:pt x="2122" y="393"/>
                      <a:pt x="2127" y="388"/>
                      <a:pt x="2127" y="381"/>
                    </a:cubicBezTo>
                    <a:cubicBezTo>
                      <a:pt x="2127" y="374"/>
                      <a:pt x="2122" y="369"/>
                      <a:pt x="2115" y="369"/>
                    </a:cubicBezTo>
                    <a:close/>
                    <a:moveTo>
                      <a:pt x="2115" y="461"/>
                    </a:moveTo>
                    <a:cubicBezTo>
                      <a:pt x="2108" y="461"/>
                      <a:pt x="2103" y="467"/>
                      <a:pt x="2103" y="473"/>
                    </a:cubicBezTo>
                    <a:cubicBezTo>
                      <a:pt x="2103" y="480"/>
                      <a:pt x="2108" y="485"/>
                      <a:pt x="2115" y="485"/>
                    </a:cubicBezTo>
                    <a:cubicBezTo>
                      <a:pt x="2122" y="485"/>
                      <a:pt x="2127" y="480"/>
                      <a:pt x="2127" y="473"/>
                    </a:cubicBezTo>
                    <a:cubicBezTo>
                      <a:pt x="2127" y="467"/>
                      <a:pt x="2122" y="461"/>
                      <a:pt x="2115" y="461"/>
                    </a:cubicBezTo>
                    <a:close/>
                    <a:moveTo>
                      <a:pt x="2115" y="430"/>
                    </a:moveTo>
                    <a:cubicBezTo>
                      <a:pt x="2108" y="430"/>
                      <a:pt x="2103" y="436"/>
                      <a:pt x="2103" y="443"/>
                    </a:cubicBezTo>
                    <a:cubicBezTo>
                      <a:pt x="2103" y="449"/>
                      <a:pt x="2108" y="455"/>
                      <a:pt x="2115" y="455"/>
                    </a:cubicBezTo>
                    <a:cubicBezTo>
                      <a:pt x="2122" y="455"/>
                      <a:pt x="2127" y="449"/>
                      <a:pt x="2127" y="443"/>
                    </a:cubicBezTo>
                    <a:cubicBezTo>
                      <a:pt x="2127" y="436"/>
                      <a:pt x="2122" y="430"/>
                      <a:pt x="2115" y="430"/>
                    </a:cubicBezTo>
                    <a:close/>
                    <a:moveTo>
                      <a:pt x="2115" y="246"/>
                    </a:moveTo>
                    <a:cubicBezTo>
                      <a:pt x="2108" y="246"/>
                      <a:pt x="2103" y="251"/>
                      <a:pt x="2103" y="258"/>
                    </a:cubicBezTo>
                    <a:cubicBezTo>
                      <a:pt x="2103" y="265"/>
                      <a:pt x="2108" y="270"/>
                      <a:pt x="2115" y="270"/>
                    </a:cubicBezTo>
                    <a:cubicBezTo>
                      <a:pt x="2122" y="270"/>
                      <a:pt x="2127" y="265"/>
                      <a:pt x="2127" y="258"/>
                    </a:cubicBezTo>
                    <a:cubicBezTo>
                      <a:pt x="2127" y="251"/>
                      <a:pt x="2122" y="246"/>
                      <a:pt x="2115" y="246"/>
                    </a:cubicBezTo>
                    <a:close/>
                    <a:moveTo>
                      <a:pt x="2185" y="369"/>
                    </a:moveTo>
                    <a:cubicBezTo>
                      <a:pt x="2178" y="369"/>
                      <a:pt x="2173" y="374"/>
                      <a:pt x="2173" y="381"/>
                    </a:cubicBezTo>
                    <a:cubicBezTo>
                      <a:pt x="2173" y="388"/>
                      <a:pt x="2178" y="393"/>
                      <a:pt x="2185" y="393"/>
                    </a:cubicBezTo>
                    <a:cubicBezTo>
                      <a:pt x="2192" y="393"/>
                      <a:pt x="2197" y="388"/>
                      <a:pt x="2197" y="381"/>
                    </a:cubicBezTo>
                    <a:cubicBezTo>
                      <a:pt x="2197" y="374"/>
                      <a:pt x="2192" y="369"/>
                      <a:pt x="2185" y="369"/>
                    </a:cubicBezTo>
                    <a:close/>
                    <a:moveTo>
                      <a:pt x="2115" y="215"/>
                    </a:moveTo>
                    <a:cubicBezTo>
                      <a:pt x="2108" y="215"/>
                      <a:pt x="2103" y="221"/>
                      <a:pt x="2103" y="227"/>
                    </a:cubicBezTo>
                    <a:cubicBezTo>
                      <a:pt x="2103" y="234"/>
                      <a:pt x="2108" y="240"/>
                      <a:pt x="2115" y="240"/>
                    </a:cubicBezTo>
                    <a:cubicBezTo>
                      <a:pt x="2122" y="240"/>
                      <a:pt x="2127" y="234"/>
                      <a:pt x="2127" y="227"/>
                    </a:cubicBezTo>
                    <a:cubicBezTo>
                      <a:pt x="2127" y="221"/>
                      <a:pt x="2122" y="215"/>
                      <a:pt x="2115" y="215"/>
                    </a:cubicBezTo>
                    <a:close/>
                    <a:moveTo>
                      <a:pt x="2115" y="307"/>
                    </a:moveTo>
                    <a:cubicBezTo>
                      <a:pt x="2108" y="307"/>
                      <a:pt x="2103" y="313"/>
                      <a:pt x="2103" y="320"/>
                    </a:cubicBezTo>
                    <a:cubicBezTo>
                      <a:pt x="2103" y="326"/>
                      <a:pt x="2108" y="332"/>
                      <a:pt x="2115" y="332"/>
                    </a:cubicBezTo>
                    <a:cubicBezTo>
                      <a:pt x="2122" y="332"/>
                      <a:pt x="2127" y="326"/>
                      <a:pt x="2127" y="320"/>
                    </a:cubicBezTo>
                    <a:cubicBezTo>
                      <a:pt x="2127" y="313"/>
                      <a:pt x="2122" y="307"/>
                      <a:pt x="2115" y="307"/>
                    </a:cubicBezTo>
                    <a:close/>
                    <a:moveTo>
                      <a:pt x="2115" y="277"/>
                    </a:moveTo>
                    <a:cubicBezTo>
                      <a:pt x="2108" y="277"/>
                      <a:pt x="2103" y="282"/>
                      <a:pt x="2103" y="289"/>
                    </a:cubicBezTo>
                    <a:cubicBezTo>
                      <a:pt x="2103" y="296"/>
                      <a:pt x="2108" y="301"/>
                      <a:pt x="2115" y="301"/>
                    </a:cubicBezTo>
                    <a:cubicBezTo>
                      <a:pt x="2122" y="301"/>
                      <a:pt x="2127" y="296"/>
                      <a:pt x="2127" y="289"/>
                    </a:cubicBezTo>
                    <a:cubicBezTo>
                      <a:pt x="2127" y="282"/>
                      <a:pt x="2122" y="277"/>
                      <a:pt x="2115" y="277"/>
                    </a:cubicBezTo>
                    <a:close/>
                    <a:moveTo>
                      <a:pt x="2115" y="492"/>
                    </a:moveTo>
                    <a:cubicBezTo>
                      <a:pt x="2108" y="492"/>
                      <a:pt x="2103" y="497"/>
                      <a:pt x="2103" y="504"/>
                    </a:cubicBezTo>
                    <a:cubicBezTo>
                      <a:pt x="2103" y="511"/>
                      <a:pt x="2108" y="516"/>
                      <a:pt x="2115" y="516"/>
                    </a:cubicBezTo>
                    <a:cubicBezTo>
                      <a:pt x="2122" y="516"/>
                      <a:pt x="2127" y="511"/>
                      <a:pt x="2127" y="504"/>
                    </a:cubicBezTo>
                    <a:cubicBezTo>
                      <a:pt x="2127" y="497"/>
                      <a:pt x="2122" y="492"/>
                      <a:pt x="2115" y="492"/>
                    </a:cubicBezTo>
                    <a:close/>
                    <a:moveTo>
                      <a:pt x="2115" y="338"/>
                    </a:moveTo>
                    <a:cubicBezTo>
                      <a:pt x="2108" y="338"/>
                      <a:pt x="2103" y="344"/>
                      <a:pt x="2103" y="350"/>
                    </a:cubicBezTo>
                    <a:cubicBezTo>
                      <a:pt x="2103" y="357"/>
                      <a:pt x="2108" y="363"/>
                      <a:pt x="2115" y="363"/>
                    </a:cubicBezTo>
                    <a:cubicBezTo>
                      <a:pt x="2122" y="363"/>
                      <a:pt x="2127" y="357"/>
                      <a:pt x="2127" y="350"/>
                    </a:cubicBezTo>
                    <a:cubicBezTo>
                      <a:pt x="2127" y="344"/>
                      <a:pt x="2122" y="338"/>
                      <a:pt x="2115" y="338"/>
                    </a:cubicBezTo>
                    <a:close/>
                    <a:moveTo>
                      <a:pt x="2080" y="338"/>
                    </a:moveTo>
                    <a:cubicBezTo>
                      <a:pt x="2073" y="338"/>
                      <a:pt x="2068" y="344"/>
                      <a:pt x="2068" y="350"/>
                    </a:cubicBezTo>
                    <a:cubicBezTo>
                      <a:pt x="2068" y="357"/>
                      <a:pt x="2073" y="363"/>
                      <a:pt x="2080" y="363"/>
                    </a:cubicBezTo>
                    <a:cubicBezTo>
                      <a:pt x="2087" y="363"/>
                      <a:pt x="2092" y="357"/>
                      <a:pt x="2092" y="350"/>
                    </a:cubicBezTo>
                    <a:cubicBezTo>
                      <a:pt x="2092" y="344"/>
                      <a:pt x="2087" y="338"/>
                      <a:pt x="2080" y="338"/>
                    </a:cubicBezTo>
                    <a:close/>
                    <a:moveTo>
                      <a:pt x="2080" y="307"/>
                    </a:moveTo>
                    <a:cubicBezTo>
                      <a:pt x="2073" y="307"/>
                      <a:pt x="2068" y="313"/>
                      <a:pt x="2068" y="320"/>
                    </a:cubicBezTo>
                    <a:cubicBezTo>
                      <a:pt x="2068" y="326"/>
                      <a:pt x="2073" y="332"/>
                      <a:pt x="2080" y="332"/>
                    </a:cubicBezTo>
                    <a:cubicBezTo>
                      <a:pt x="2087" y="332"/>
                      <a:pt x="2092" y="326"/>
                      <a:pt x="2092" y="320"/>
                    </a:cubicBezTo>
                    <a:cubicBezTo>
                      <a:pt x="2092" y="313"/>
                      <a:pt x="2087" y="307"/>
                      <a:pt x="2080" y="307"/>
                    </a:cubicBezTo>
                    <a:close/>
                    <a:moveTo>
                      <a:pt x="2115" y="523"/>
                    </a:moveTo>
                    <a:cubicBezTo>
                      <a:pt x="2108" y="523"/>
                      <a:pt x="2103" y="528"/>
                      <a:pt x="2103" y="535"/>
                    </a:cubicBezTo>
                    <a:cubicBezTo>
                      <a:pt x="2103" y="542"/>
                      <a:pt x="2108" y="547"/>
                      <a:pt x="2115" y="547"/>
                    </a:cubicBezTo>
                    <a:cubicBezTo>
                      <a:pt x="2122" y="547"/>
                      <a:pt x="2127" y="542"/>
                      <a:pt x="2127" y="535"/>
                    </a:cubicBezTo>
                    <a:cubicBezTo>
                      <a:pt x="2127" y="528"/>
                      <a:pt x="2122" y="523"/>
                      <a:pt x="2115" y="523"/>
                    </a:cubicBezTo>
                    <a:close/>
                    <a:moveTo>
                      <a:pt x="2080" y="400"/>
                    </a:moveTo>
                    <a:cubicBezTo>
                      <a:pt x="2073" y="400"/>
                      <a:pt x="2068" y="405"/>
                      <a:pt x="2068" y="412"/>
                    </a:cubicBezTo>
                    <a:cubicBezTo>
                      <a:pt x="2068" y="419"/>
                      <a:pt x="2073" y="424"/>
                      <a:pt x="2080" y="424"/>
                    </a:cubicBezTo>
                    <a:cubicBezTo>
                      <a:pt x="2087" y="424"/>
                      <a:pt x="2092" y="419"/>
                      <a:pt x="2092" y="412"/>
                    </a:cubicBezTo>
                    <a:cubicBezTo>
                      <a:pt x="2092" y="405"/>
                      <a:pt x="2087" y="400"/>
                      <a:pt x="2080" y="400"/>
                    </a:cubicBezTo>
                    <a:close/>
                    <a:moveTo>
                      <a:pt x="2080" y="277"/>
                    </a:moveTo>
                    <a:cubicBezTo>
                      <a:pt x="2073" y="277"/>
                      <a:pt x="2068" y="282"/>
                      <a:pt x="2068" y="289"/>
                    </a:cubicBezTo>
                    <a:cubicBezTo>
                      <a:pt x="2068" y="296"/>
                      <a:pt x="2073" y="301"/>
                      <a:pt x="2080" y="301"/>
                    </a:cubicBezTo>
                    <a:cubicBezTo>
                      <a:pt x="2087" y="301"/>
                      <a:pt x="2092" y="296"/>
                      <a:pt x="2092" y="289"/>
                    </a:cubicBezTo>
                    <a:cubicBezTo>
                      <a:pt x="2092" y="282"/>
                      <a:pt x="2087" y="277"/>
                      <a:pt x="2080" y="277"/>
                    </a:cubicBezTo>
                    <a:close/>
                    <a:moveTo>
                      <a:pt x="2080" y="369"/>
                    </a:moveTo>
                    <a:cubicBezTo>
                      <a:pt x="2073" y="369"/>
                      <a:pt x="2068" y="374"/>
                      <a:pt x="2068" y="381"/>
                    </a:cubicBezTo>
                    <a:cubicBezTo>
                      <a:pt x="2068" y="388"/>
                      <a:pt x="2073" y="393"/>
                      <a:pt x="2080" y="393"/>
                    </a:cubicBezTo>
                    <a:cubicBezTo>
                      <a:pt x="2087" y="393"/>
                      <a:pt x="2092" y="388"/>
                      <a:pt x="2092" y="381"/>
                    </a:cubicBezTo>
                    <a:cubicBezTo>
                      <a:pt x="2092" y="374"/>
                      <a:pt x="2087" y="369"/>
                      <a:pt x="2080" y="369"/>
                    </a:cubicBezTo>
                    <a:close/>
                    <a:moveTo>
                      <a:pt x="2115" y="553"/>
                    </a:moveTo>
                    <a:cubicBezTo>
                      <a:pt x="2108" y="553"/>
                      <a:pt x="2103" y="559"/>
                      <a:pt x="2103" y="566"/>
                    </a:cubicBezTo>
                    <a:cubicBezTo>
                      <a:pt x="2103" y="572"/>
                      <a:pt x="2108" y="578"/>
                      <a:pt x="2115" y="578"/>
                    </a:cubicBezTo>
                    <a:cubicBezTo>
                      <a:pt x="2122" y="578"/>
                      <a:pt x="2127" y="572"/>
                      <a:pt x="2127" y="566"/>
                    </a:cubicBezTo>
                    <a:cubicBezTo>
                      <a:pt x="2127" y="559"/>
                      <a:pt x="2122" y="553"/>
                      <a:pt x="2115" y="553"/>
                    </a:cubicBezTo>
                    <a:close/>
                    <a:moveTo>
                      <a:pt x="2115" y="584"/>
                    </a:moveTo>
                    <a:cubicBezTo>
                      <a:pt x="2108" y="584"/>
                      <a:pt x="2103" y="590"/>
                      <a:pt x="2103" y="596"/>
                    </a:cubicBezTo>
                    <a:cubicBezTo>
                      <a:pt x="2103" y="603"/>
                      <a:pt x="2108" y="608"/>
                      <a:pt x="2115" y="608"/>
                    </a:cubicBezTo>
                    <a:cubicBezTo>
                      <a:pt x="2122" y="608"/>
                      <a:pt x="2127" y="603"/>
                      <a:pt x="2127" y="596"/>
                    </a:cubicBezTo>
                    <a:cubicBezTo>
                      <a:pt x="2127" y="590"/>
                      <a:pt x="2122" y="584"/>
                      <a:pt x="2115" y="584"/>
                    </a:cubicBezTo>
                    <a:close/>
                    <a:moveTo>
                      <a:pt x="2115" y="615"/>
                    </a:moveTo>
                    <a:cubicBezTo>
                      <a:pt x="2108" y="615"/>
                      <a:pt x="2103" y="620"/>
                      <a:pt x="2103" y="627"/>
                    </a:cubicBezTo>
                    <a:cubicBezTo>
                      <a:pt x="2103" y="634"/>
                      <a:pt x="2108" y="639"/>
                      <a:pt x="2115" y="639"/>
                    </a:cubicBezTo>
                    <a:cubicBezTo>
                      <a:pt x="2122" y="639"/>
                      <a:pt x="2127" y="634"/>
                      <a:pt x="2127" y="627"/>
                    </a:cubicBezTo>
                    <a:cubicBezTo>
                      <a:pt x="2127" y="620"/>
                      <a:pt x="2122" y="615"/>
                      <a:pt x="2115" y="615"/>
                    </a:cubicBezTo>
                    <a:close/>
                    <a:moveTo>
                      <a:pt x="2080" y="246"/>
                    </a:moveTo>
                    <a:cubicBezTo>
                      <a:pt x="2073" y="246"/>
                      <a:pt x="2068" y="251"/>
                      <a:pt x="2068" y="258"/>
                    </a:cubicBezTo>
                    <a:cubicBezTo>
                      <a:pt x="2068" y="265"/>
                      <a:pt x="2073" y="270"/>
                      <a:pt x="2080" y="270"/>
                    </a:cubicBezTo>
                    <a:cubicBezTo>
                      <a:pt x="2087" y="270"/>
                      <a:pt x="2092" y="265"/>
                      <a:pt x="2092" y="258"/>
                    </a:cubicBezTo>
                    <a:cubicBezTo>
                      <a:pt x="2092" y="251"/>
                      <a:pt x="2087" y="246"/>
                      <a:pt x="2080" y="246"/>
                    </a:cubicBezTo>
                    <a:close/>
                    <a:moveTo>
                      <a:pt x="2080" y="215"/>
                    </a:moveTo>
                    <a:cubicBezTo>
                      <a:pt x="2073" y="215"/>
                      <a:pt x="2068" y="221"/>
                      <a:pt x="2068" y="227"/>
                    </a:cubicBezTo>
                    <a:cubicBezTo>
                      <a:pt x="2068" y="234"/>
                      <a:pt x="2073" y="240"/>
                      <a:pt x="2080" y="240"/>
                    </a:cubicBezTo>
                    <a:cubicBezTo>
                      <a:pt x="2087" y="240"/>
                      <a:pt x="2092" y="234"/>
                      <a:pt x="2092" y="227"/>
                    </a:cubicBezTo>
                    <a:cubicBezTo>
                      <a:pt x="2092" y="221"/>
                      <a:pt x="2087" y="215"/>
                      <a:pt x="2080" y="215"/>
                    </a:cubicBezTo>
                    <a:close/>
                    <a:moveTo>
                      <a:pt x="2150" y="646"/>
                    </a:moveTo>
                    <a:cubicBezTo>
                      <a:pt x="2143" y="646"/>
                      <a:pt x="2138" y="651"/>
                      <a:pt x="2138" y="658"/>
                    </a:cubicBezTo>
                    <a:cubicBezTo>
                      <a:pt x="2138" y="664"/>
                      <a:pt x="2143" y="670"/>
                      <a:pt x="2150" y="670"/>
                    </a:cubicBezTo>
                    <a:cubicBezTo>
                      <a:pt x="2157" y="670"/>
                      <a:pt x="2162" y="664"/>
                      <a:pt x="2162" y="658"/>
                    </a:cubicBezTo>
                    <a:cubicBezTo>
                      <a:pt x="2162" y="651"/>
                      <a:pt x="2157" y="646"/>
                      <a:pt x="2150" y="646"/>
                    </a:cubicBezTo>
                    <a:close/>
                    <a:moveTo>
                      <a:pt x="2185" y="553"/>
                    </a:moveTo>
                    <a:cubicBezTo>
                      <a:pt x="2178" y="553"/>
                      <a:pt x="2173" y="559"/>
                      <a:pt x="2173" y="566"/>
                    </a:cubicBezTo>
                    <a:cubicBezTo>
                      <a:pt x="2173" y="572"/>
                      <a:pt x="2178" y="578"/>
                      <a:pt x="2185" y="578"/>
                    </a:cubicBezTo>
                    <a:cubicBezTo>
                      <a:pt x="2192" y="578"/>
                      <a:pt x="2197" y="572"/>
                      <a:pt x="2197" y="566"/>
                    </a:cubicBezTo>
                    <a:cubicBezTo>
                      <a:pt x="2197" y="559"/>
                      <a:pt x="2192" y="553"/>
                      <a:pt x="2185" y="553"/>
                    </a:cubicBezTo>
                    <a:close/>
                    <a:moveTo>
                      <a:pt x="2185" y="615"/>
                    </a:moveTo>
                    <a:cubicBezTo>
                      <a:pt x="2178" y="615"/>
                      <a:pt x="2173" y="620"/>
                      <a:pt x="2173" y="627"/>
                    </a:cubicBezTo>
                    <a:cubicBezTo>
                      <a:pt x="2173" y="634"/>
                      <a:pt x="2178" y="639"/>
                      <a:pt x="2185" y="639"/>
                    </a:cubicBezTo>
                    <a:cubicBezTo>
                      <a:pt x="2192" y="639"/>
                      <a:pt x="2197" y="634"/>
                      <a:pt x="2197" y="627"/>
                    </a:cubicBezTo>
                    <a:cubicBezTo>
                      <a:pt x="2197" y="620"/>
                      <a:pt x="2192" y="615"/>
                      <a:pt x="2185" y="615"/>
                    </a:cubicBezTo>
                    <a:close/>
                    <a:moveTo>
                      <a:pt x="2185" y="584"/>
                    </a:moveTo>
                    <a:cubicBezTo>
                      <a:pt x="2178" y="584"/>
                      <a:pt x="2173" y="590"/>
                      <a:pt x="2173" y="596"/>
                    </a:cubicBezTo>
                    <a:cubicBezTo>
                      <a:pt x="2173" y="603"/>
                      <a:pt x="2178" y="608"/>
                      <a:pt x="2185" y="608"/>
                    </a:cubicBezTo>
                    <a:cubicBezTo>
                      <a:pt x="2192" y="608"/>
                      <a:pt x="2197" y="603"/>
                      <a:pt x="2197" y="596"/>
                    </a:cubicBezTo>
                    <a:cubicBezTo>
                      <a:pt x="2197" y="590"/>
                      <a:pt x="2192" y="584"/>
                      <a:pt x="2185" y="584"/>
                    </a:cubicBezTo>
                    <a:close/>
                    <a:moveTo>
                      <a:pt x="2150" y="184"/>
                    </a:moveTo>
                    <a:cubicBezTo>
                      <a:pt x="2143" y="184"/>
                      <a:pt x="2138" y="190"/>
                      <a:pt x="2138" y="197"/>
                    </a:cubicBezTo>
                    <a:cubicBezTo>
                      <a:pt x="2138" y="203"/>
                      <a:pt x="2143" y="209"/>
                      <a:pt x="2150" y="209"/>
                    </a:cubicBezTo>
                    <a:cubicBezTo>
                      <a:pt x="2157" y="209"/>
                      <a:pt x="2162" y="203"/>
                      <a:pt x="2162" y="197"/>
                    </a:cubicBezTo>
                    <a:cubicBezTo>
                      <a:pt x="2162" y="190"/>
                      <a:pt x="2157" y="184"/>
                      <a:pt x="2150" y="184"/>
                    </a:cubicBezTo>
                    <a:close/>
                    <a:moveTo>
                      <a:pt x="2185" y="646"/>
                    </a:moveTo>
                    <a:cubicBezTo>
                      <a:pt x="2178" y="646"/>
                      <a:pt x="2173" y="651"/>
                      <a:pt x="2173" y="658"/>
                    </a:cubicBezTo>
                    <a:cubicBezTo>
                      <a:pt x="2173" y="664"/>
                      <a:pt x="2178" y="670"/>
                      <a:pt x="2185" y="670"/>
                    </a:cubicBezTo>
                    <a:cubicBezTo>
                      <a:pt x="2192" y="670"/>
                      <a:pt x="2197" y="664"/>
                      <a:pt x="2197" y="658"/>
                    </a:cubicBezTo>
                    <a:cubicBezTo>
                      <a:pt x="2197" y="651"/>
                      <a:pt x="2192" y="646"/>
                      <a:pt x="2185" y="646"/>
                    </a:cubicBezTo>
                    <a:close/>
                    <a:moveTo>
                      <a:pt x="2185" y="400"/>
                    </a:moveTo>
                    <a:cubicBezTo>
                      <a:pt x="2178" y="400"/>
                      <a:pt x="2173" y="405"/>
                      <a:pt x="2173" y="412"/>
                    </a:cubicBezTo>
                    <a:cubicBezTo>
                      <a:pt x="2173" y="419"/>
                      <a:pt x="2178" y="424"/>
                      <a:pt x="2185" y="424"/>
                    </a:cubicBezTo>
                    <a:cubicBezTo>
                      <a:pt x="2192" y="424"/>
                      <a:pt x="2197" y="419"/>
                      <a:pt x="2197" y="412"/>
                    </a:cubicBezTo>
                    <a:cubicBezTo>
                      <a:pt x="2197" y="405"/>
                      <a:pt x="2192" y="400"/>
                      <a:pt x="2185" y="400"/>
                    </a:cubicBezTo>
                    <a:close/>
                    <a:moveTo>
                      <a:pt x="2150" y="215"/>
                    </a:moveTo>
                    <a:cubicBezTo>
                      <a:pt x="2143" y="215"/>
                      <a:pt x="2138" y="221"/>
                      <a:pt x="2138" y="227"/>
                    </a:cubicBezTo>
                    <a:cubicBezTo>
                      <a:pt x="2138" y="234"/>
                      <a:pt x="2143" y="240"/>
                      <a:pt x="2150" y="240"/>
                    </a:cubicBezTo>
                    <a:cubicBezTo>
                      <a:pt x="2157" y="240"/>
                      <a:pt x="2162" y="234"/>
                      <a:pt x="2162" y="227"/>
                    </a:cubicBezTo>
                    <a:cubicBezTo>
                      <a:pt x="2162" y="221"/>
                      <a:pt x="2157" y="215"/>
                      <a:pt x="2150" y="215"/>
                    </a:cubicBezTo>
                    <a:close/>
                    <a:moveTo>
                      <a:pt x="2185" y="430"/>
                    </a:moveTo>
                    <a:cubicBezTo>
                      <a:pt x="2178" y="430"/>
                      <a:pt x="2173" y="436"/>
                      <a:pt x="2173" y="443"/>
                    </a:cubicBezTo>
                    <a:cubicBezTo>
                      <a:pt x="2173" y="449"/>
                      <a:pt x="2178" y="455"/>
                      <a:pt x="2185" y="455"/>
                    </a:cubicBezTo>
                    <a:cubicBezTo>
                      <a:pt x="2192" y="455"/>
                      <a:pt x="2197" y="449"/>
                      <a:pt x="2197" y="443"/>
                    </a:cubicBezTo>
                    <a:cubicBezTo>
                      <a:pt x="2197" y="436"/>
                      <a:pt x="2192" y="430"/>
                      <a:pt x="2185" y="430"/>
                    </a:cubicBezTo>
                    <a:close/>
                    <a:moveTo>
                      <a:pt x="2185" y="492"/>
                    </a:moveTo>
                    <a:cubicBezTo>
                      <a:pt x="2178" y="492"/>
                      <a:pt x="2173" y="497"/>
                      <a:pt x="2173" y="504"/>
                    </a:cubicBezTo>
                    <a:cubicBezTo>
                      <a:pt x="2173" y="511"/>
                      <a:pt x="2178" y="516"/>
                      <a:pt x="2185" y="516"/>
                    </a:cubicBezTo>
                    <a:cubicBezTo>
                      <a:pt x="2192" y="516"/>
                      <a:pt x="2197" y="511"/>
                      <a:pt x="2197" y="504"/>
                    </a:cubicBezTo>
                    <a:cubicBezTo>
                      <a:pt x="2197" y="497"/>
                      <a:pt x="2192" y="492"/>
                      <a:pt x="2185" y="492"/>
                    </a:cubicBezTo>
                    <a:close/>
                    <a:moveTo>
                      <a:pt x="2185" y="523"/>
                    </a:moveTo>
                    <a:cubicBezTo>
                      <a:pt x="2178" y="523"/>
                      <a:pt x="2173" y="528"/>
                      <a:pt x="2173" y="535"/>
                    </a:cubicBezTo>
                    <a:cubicBezTo>
                      <a:pt x="2173" y="542"/>
                      <a:pt x="2178" y="547"/>
                      <a:pt x="2185" y="547"/>
                    </a:cubicBezTo>
                    <a:cubicBezTo>
                      <a:pt x="2192" y="547"/>
                      <a:pt x="2197" y="542"/>
                      <a:pt x="2197" y="535"/>
                    </a:cubicBezTo>
                    <a:cubicBezTo>
                      <a:pt x="2197" y="528"/>
                      <a:pt x="2192" y="523"/>
                      <a:pt x="2185" y="523"/>
                    </a:cubicBezTo>
                    <a:close/>
                    <a:moveTo>
                      <a:pt x="2185" y="461"/>
                    </a:moveTo>
                    <a:cubicBezTo>
                      <a:pt x="2178" y="461"/>
                      <a:pt x="2173" y="467"/>
                      <a:pt x="2173" y="473"/>
                    </a:cubicBezTo>
                    <a:cubicBezTo>
                      <a:pt x="2173" y="480"/>
                      <a:pt x="2178" y="485"/>
                      <a:pt x="2185" y="485"/>
                    </a:cubicBezTo>
                    <a:cubicBezTo>
                      <a:pt x="2192" y="485"/>
                      <a:pt x="2197" y="480"/>
                      <a:pt x="2197" y="473"/>
                    </a:cubicBezTo>
                    <a:cubicBezTo>
                      <a:pt x="2197" y="467"/>
                      <a:pt x="2192" y="461"/>
                      <a:pt x="2185" y="461"/>
                    </a:cubicBezTo>
                    <a:close/>
                    <a:moveTo>
                      <a:pt x="2150" y="307"/>
                    </a:moveTo>
                    <a:cubicBezTo>
                      <a:pt x="2143" y="307"/>
                      <a:pt x="2138" y="313"/>
                      <a:pt x="2138" y="320"/>
                    </a:cubicBezTo>
                    <a:cubicBezTo>
                      <a:pt x="2138" y="326"/>
                      <a:pt x="2143" y="332"/>
                      <a:pt x="2150" y="332"/>
                    </a:cubicBezTo>
                    <a:cubicBezTo>
                      <a:pt x="2157" y="332"/>
                      <a:pt x="2162" y="326"/>
                      <a:pt x="2162" y="320"/>
                    </a:cubicBezTo>
                    <a:cubicBezTo>
                      <a:pt x="2162" y="313"/>
                      <a:pt x="2157" y="307"/>
                      <a:pt x="2150" y="307"/>
                    </a:cubicBezTo>
                    <a:close/>
                    <a:moveTo>
                      <a:pt x="2150" y="430"/>
                    </a:moveTo>
                    <a:cubicBezTo>
                      <a:pt x="2143" y="430"/>
                      <a:pt x="2138" y="436"/>
                      <a:pt x="2138" y="443"/>
                    </a:cubicBezTo>
                    <a:cubicBezTo>
                      <a:pt x="2138" y="449"/>
                      <a:pt x="2143" y="455"/>
                      <a:pt x="2150" y="455"/>
                    </a:cubicBezTo>
                    <a:cubicBezTo>
                      <a:pt x="2157" y="455"/>
                      <a:pt x="2162" y="449"/>
                      <a:pt x="2162" y="443"/>
                    </a:cubicBezTo>
                    <a:cubicBezTo>
                      <a:pt x="2162" y="436"/>
                      <a:pt x="2157" y="430"/>
                      <a:pt x="2150" y="430"/>
                    </a:cubicBezTo>
                    <a:close/>
                    <a:moveTo>
                      <a:pt x="2150" y="492"/>
                    </a:moveTo>
                    <a:cubicBezTo>
                      <a:pt x="2143" y="492"/>
                      <a:pt x="2138" y="497"/>
                      <a:pt x="2138" y="504"/>
                    </a:cubicBezTo>
                    <a:cubicBezTo>
                      <a:pt x="2138" y="511"/>
                      <a:pt x="2143" y="516"/>
                      <a:pt x="2150" y="516"/>
                    </a:cubicBezTo>
                    <a:cubicBezTo>
                      <a:pt x="2157" y="516"/>
                      <a:pt x="2162" y="511"/>
                      <a:pt x="2162" y="504"/>
                    </a:cubicBezTo>
                    <a:cubicBezTo>
                      <a:pt x="2162" y="497"/>
                      <a:pt x="2157" y="492"/>
                      <a:pt x="2150" y="492"/>
                    </a:cubicBezTo>
                    <a:close/>
                    <a:moveTo>
                      <a:pt x="2150" y="461"/>
                    </a:moveTo>
                    <a:cubicBezTo>
                      <a:pt x="2143" y="461"/>
                      <a:pt x="2138" y="467"/>
                      <a:pt x="2138" y="473"/>
                    </a:cubicBezTo>
                    <a:cubicBezTo>
                      <a:pt x="2138" y="480"/>
                      <a:pt x="2143" y="485"/>
                      <a:pt x="2150" y="485"/>
                    </a:cubicBezTo>
                    <a:cubicBezTo>
                      <a:pt x="2157" y="485"/>
                      <a:pt x="2162" y="480"/>
                      <a:pt x="2162" y="473"/>
                    </a:cubicBezTo>
                    <a:cubicBezTo>
                      <a:pt x="2162" y="467"/>
                      <a:pt x="2157" y="461"/>
                      <a:pt x="2150" y="461"/>
                    </a:cubicBezTo>
                    <a:close/>
                    <a:moveTo>
                      <a:pt x="2150" y="553"/>
                    </a:moveTo>
                    <a:cubicBezTo>
                      <a:pt x="2143" y="553"/>
                      <a:pt x="2138" y="559"/>
                      <a:pt x="2138" y="566"/>
                    </a:cubicBezTo>
                    <a:cubicBezTo>
                      <a:pt x="2138" y="572"/>
                      <a:pt x="2143" y="578"/>
                      <a:pt x="2150" y="578"/>
                    </a:cubicBezTo>
                    <a:cubicBezTo>
                      <a:pt x="2157" y="578"/>
                      <a:pt x="2162" y="572"/>
                      <a:pt x="2162" y="566"/>
                    </a:cubicBezTo>
                    <a:cubicBezTo>
                      <a:pt x="2162" y="559"/>
                      <a:pt x="2157" y="553"/>
                      <a:pt x="2150" y="553"/>
                    </a:cubicBezTo>
                    <a:close/>
                    <a:moveTo>
                      <a:pt x="2150" y="523"/>
                    </a:moveTo>
                    <a:cubicBezTo>
                      <a:pt x="2143" y="523"/>
                      <a:pt x="2138" y="528"/>
                      <a:pt x="2138" y="535"/>
                    </a:cubicBezTo>
                    <a:cubicBezTo>
                      <a:pt x="2138" y="542"/>
                      <a:pt x="2143" y="547"/>
                      <a:pt x="2150" y="547"/>
                    </a:cubicBezTo>
                    <a:cubicBezTo>
                      <a:pt x="2157" y="547"/>
                      <a:pt x="2162" y="542"/>
                      <a:pt x="2162" y="535"/>
                    </a:cubicBezTo>
                    <a:cubicBezTo>
                      <a:pt x="2162" y="528"/>
                      <a:pt x="2157" y="523"/>
                      <a:pt x="2150" y="523"/>
                    </a:cubicBezTo>
                    <a:close/>
                    <a:moveTo>
                      <a:pt x="2150" y="584"/>
                    </a:moveTo>
                    <a:cubicBezTo>
                      <a:pt x="2143" y="584"/>
                      <a:pt x="2138" y="590"/>
                      <a:pt x="2138" y="596"/>
                    </a:cubicBezTo>
                    <a:cubicBezTo>
                      <a:pt x="2138" y="603"/>
                      <a:pt x="2143" y="608"/>
                      <a:pt x="2150" y="608"/>
                    </a:cubicBezTo>
                    <a:cubicBezTo>
                      <a:pt x="2157" y="608"/>
                      <a:pt x="2162" y="603"/>
                      <a:pt x="2162" y="596"/>
                    </a:cubicBezTo>
                    <a:cubicBezTo>
                      <a:pt x="2162" y="590"/>
                      <a:pt x="2157" y="584"/>
                      <a:pt x="2150" y="584"/>
                    </a:cubicBezTo>
                    <a:close/>
                    <a:moveTo>
                      <a:pt x="2150" y="400"/>
                    </a:moveTo>
                    <a:cubicBezTo>
                      <a:pt x="2143" y="400"/>
                      <a:pt x="2138" y="405"/>
                      <a:pt x="2138" y="412"/>
                    </a:cubicBezTo>
                    <a:cubicBezTo>
                      <a:pt x="2138" y="419"/>
                      <a:pt x="2143" y="424"/>
                      <a:pt x="2150" y="424"/>
                    </a:cubicBezTo>
                    <a:cubicBezTo>
                      <a:pt x="2157" y="424"/>
                      <a:pt x="2162" y="419"/>
                      <a:pt x="2162" y="412"/>
                    </a:cubicBezTo>
                    <a:cubicBezTo>
                      <a:pt x="2162" y="405"/>
                      <a:pt x="2157" y="400"/>
                      <a:pt x="2150" y="400"/>
                    </a:cubicBezTo>
                    <a:close/>
                    <a:moveTo>
                      <a:pt x="2150" y="246"/>
                    </a:moveTo>
                    <a:cubicBezTo>
                      <a:pt x="2143" y="246"/>
                      <a:pt x="2138" y="251"/>
                      <a:pt x="2138" y="258"/>
                    </a:cubicBezTo>
                    <a:cubicBezTo>
                      <a:pt x="2138" y="265"/>
                      <a:pt x="2143" y="270"/>
                      <a:pt x="2150" y="270"/>
                    </a:cubicBezTo>
                    <a:cubicBezTo>
                      <a:pt x="2157" y="270"/>
                      <a:pt x="2162" y="265"/>
                      <a:pt x="2162" y="258"/>
                    </a:cubicBezTo>
                    <a:cubicBezTo>
                      <a:pt x="2162" y="251"/>
                      <a:pt x="2157" y="246"/>
                      <a:pt x="2150" y="246"/>
                    </a:cubicBezTo>
                    <a:close/>
                    <a:moveTo>
                      <a:pt x="2150" y="277"/>
                    </a:moveTo>
                    <a:cubicBezTo>
                      <a:pt x="2143" y="277"/>
                      <a:pt x="2138" y="282"/>
                      <a:pt x="2138" y="289"/>
                    </a:cubicBezTo>
                    <a:cubicBezTo>
                      <a:pt x="2138" y="296"/>
                      <a:pt x="2143" y="301"/>
                      <a:pt x="2150" y="301"/>
                    </a:cubicBezTo>
                    <a:cubicBezTo>
                      <a:pt x="2157" y="301"/>
                      <a:pt x="2162" y="296"/>
                      <a:pt x="2162" y="289"/>
                    </a:cubicBezTo>
                    <a:cubicBezTo>
                      <a:pt x="2162" y="282"/>
                      <a:pt x="2157" y="277"/>
                      <a:pt x="2150" y="277"/>
                    </a:cubicBezTo>
                    <a:close/>
                    <a:moveTo>
                      <a:pt x="2150" y="369"/>
                    </a:moveTo>
                    <a:cubicBezTo>
                      <a:pt x="2143" y="369"/>
                      <a:pt x="2138" y="374"/>
                      <a:pt x="2138" y="381"/>
                    </a:cubicBezTo>
                    <a:cubicBezTo>
                      <a:pt x="2138" y="388"/>
                      <a:pt x="2143" y="393"/>
                      <a:pt x="2150" y="393"/>
                    </a:cubicBezTo>
                    <a:cubicBezTo>
                      <a:pt x="2157" y="393"/>
                      <a:pt x="2162" y="388"/>
                      <a:pt x="2162" y="381"/>
                    </a:cubicBezTo>
                    <a:cubicBezTo>
                      <a:pt x="2162" y="374"/>
                      <a:pt x="2157" y="369"/>
                      <a:pt x="2150" y="369"/>
                    </a:cubicBezTo>
                    <a:close/>
                    <a:moveTo>
                      <a:pt x="2150" y="338"/>
                    </a:moveTo>
                    <a:cubicBezTo>
                      <a:pt x="2143" y="338"/>
                      <a:pt x="2138" y="344"/>
                      <a:pt x="2138" y="350"/>
                    </a:cubicBezTo>
                    <a:cubicBezTo>
                      <a:pt x="2138" y="357"/>
                      <a:pt x="2143" y="363"/>
                      <a:pt x="2150" y="363"/>
                    </a:cubicBezTo>
                    <a:cubicBezTo>
                      <a:pt x="2157" y="363"/>
                      <a:pt x="2162" y="357"/>
                      <a:pt x="2162" y="350"/>
                    </a:cubicBezTo>
                    <a:cubicBezTo>
                      <a:pt x="2162" y="344"/>
                      <a:pt x="2157" y="338"/>
                      <a:pt x="2150" y="338"/>
                    </a:cubicBezTo>
                    <a:close/>
                  </a:path>
                </a:pathLst>
              </a:custGeom>
              <a:solidFill>
                <a:srgbClr val="FFFFFF"/>
              </a:solidFill>
              <a:ln>
                <a:noFill/>
              </a:ln>
              <a:extLst/>
            </p:spPr>
            <p:txBody>
              <a:bodyPr/>
              <a:lstStyle/>
              <a:p>
                <a:pPr>
                  <a:spcBef>
                    <a:spcPct val="50000"/>
                  </a:spcBef>
                  <a:defRPr/>
                </a:pPr>
                <a:endParaRPr lang="en-US">
                  <a:solidFill>
                    <a:srgbClr val="00A9D4"/>
                  </a:solidFill>
                  <a:latin typeface="Arial" charset="0"/>
                  <a:cs typeface="Arial" pitchFamily="34" charset="0"/>
                </a:endParaRPr>
              </a:p>
            </p:txBody>
          </p:sp>
          <p:sp>
            <p:nvSpPr>
              <p:cNvPr id="52" name="Freeform 15"/>
              <p:cNvSpPr>
                <a:spLocks noChangeAspect="1" noEditPoints="1"/>
              </p:cNvSpPr>
              <p:nvPr/>
            </p:nvSpPr>
            <p:spPr bwMode="auto">
              <a:xfrm>
                <a:off x="5048250" y="2790825"/>
                <a:ext cx="1198563" cy="1173163"/>
              </a:xfrm>
              <a:custGeom>
                <a:avLst/>
                <a:gdLst>
                  <a:gd name="T0" fmla="*/ 2147483647 w 620"/>
                  <a:gd name="T1" fmla="*/ 2147483647 h 608"/>
                  <a:gd name="T2" fmla="*/ 2147483647 w 620"/>
                  <a:gd name="T3" fmla="*/ 2147483647 h 608"/>
                  <a:gd name="T4" fmla="*/ 2147483647 w 620"/>
                  <a:gd name="T5" fmla="*/ 2147483647 h 608"/>
                  <a:gd name="T6" fmla="*/ 2147483647 w 620"/>
                  <a:gd name="T7" fmla="*/ 2147483647 h 608"/>
                  <a:gd name="T8" fmla="*/ 2147483647 w 620"/>
                  <a:gd name="T9" fmla="*/ 2147483647 h 608"/>
                  <a:gd name="T10" fmla="*/ 2147483647 w 620"/>
                  <a:gd name="T11" fmla="*/ 2147483647 h 608"/>
                  <a:gd name="T12" fmla="*/ 2147483647 w 620"/>
                  <a:gd name="T13" fmla="*/ 2147483647 h 608"/>
                  <a:gd name="T14" fmla="*/ 2147483647 w 620"/>
                  <a:gd name="T15" fmla="*/ 2147483647 h 608"/>
                  <a:gd name="T16" fmla="*/ 2147483647 w 620"/>
                  <a:gd name="T17" fmla="*/ 2147483647 h 608"/>
                  <a:gd name="T18" fmla="*/ 2147483647 w 620"/>
                  <a:gd name="T19" fmla="*/ 0 h 608"/>
                  <a:gd name="T20" fmla="*/ 2147483647 w 620"/>
                  <a:gd name="T21" fmla="*/ 2147483647 h 608"/>
                  <a:gd name="T22" fmla="*/ 2147483647 w 620"/>
                  <a:gd name="T23" fmla="*/ 2147483647 h 608"/>
                  <a:gd name="T24" fmla="*/ 2147483647 w 620"/>
                  <a:gd name="T25" fmla="*/ 2147483647 h 608"/>
                  <a:gd name="T26" fmla="*/ 2147483647 w 620"/>
                  <a:gd name="T27" fmla="*/ 2147483647 h 608"/>
                  <a:gd name="T28" fmla="*/ 2147483647 w 620"/>
                  <a:gd name="T29" fmla="*/ 2147483647 h 608"/>
                  <a:gd name="T30" fmla="*/ 2147483647 w 620"/>
                  <a:gd name="T31" fmla="*/ 2147483647 h 608"/>
                  <a:gd name="T32" fmla="*/ 2147483647 w 620"/>
                  <a:gd name="T33" fmla="*/ 2147483647 h 608"/>
                  <a:gd name="T34" fmla="*/ 2147483647 w 620"/>
                  <a:gd name="T35" fmla="*/ 2147483647 h 608"/>
                  <a:gd name="T36" fmla="*/ 2147483647 w 620"/>
                  <a:gd name="T37" fmla="*/ 2147483647 h 608"/>
                  <a:gd name="T38" fmla="*/ 2147483647 w 620"/>
                  <a:gd name="T39" fmla="*/ 2147483647 h 608"/>
                  <a:gd name="T40" fmla="*/ 2147483647 w 620"/>
                  <a:gd name="T41" fmla="*/ 2147483647 h 608"/>
                  <a:gd name="T42" fmla="*/ 2147483647 w 620"/>
                  <a:gd name="T43" fmla="*/ 2147483647 h 608"/>
                  <a:gd name="T44" fmla="*/ 2147483647 w 620"/>
                  <a:gd name="T45" fmla="*/ 2147483647 h 608"/>
                  <a:gd name="T46" fmla="*/ 2147483647 w 620"/>
                  <a:gd name="T47" fmla="*/ 2147483647 h 608"/>
                  <a:gd name="T48" fmla="*/ 2147483647 w 620"/>
                  <a:gd name="T49" fmla="*/ 2147483647 h 608"/>
                  <a:gd name="T50" fmla="*/ 2147483647 w 620"/>
                  <a:gd name="T51" fmla="*/ 2147483647 h 608"/>
                  <a:gd name="T52" fmla="*/ 2147483647 w 620"/>
                  <a:gd name="T53" fmla="*/ 2147483647 h 608"/>
                  <a:gd name="T54" fmla="*/ 2147483647 w 620"/>
                  <a:gd name="T55" fmla="*/ 2147483647 h 608"/>
                  <a:gd name="T56" fmla="*/ 2147483647 w 620"/>
                  <a:gd name="T57" fmla="*/ 2147483647 h 608"/>
                  <a:gd name="T58" fmla="*/ 2147483647 w 620"/>
                  <a:gd name="T59" fmla="*/ 0 h 608"/>
                  <a:gd name="T60" fmla="*/ 2147483647 w 620"/>
                  <a:gd name="T61" fmla="*/ 2147483647 h 608"/>
                  <a:gd name="T62" fmla="*/ 2147483647 w 620"/>
                  <a:gd name="T63" fmla="*/ 2147483647 h 608"/>
                  <a:gd name="T64" fmla="*/ 2147483647 w 620"/>
                  <a:gd name="T65" fmla="*/ 2147483647 h 608"/>
                  <a:gd name="T66" fmla="*/ 0 w 620"/>
                  <a:gd name="T67" fmla="*/ 2147483647 h 608"/>
                  <a:gd name="T68" fmla="*/ 2147483647 w 620"/>
                  <a:gd name="T69" fmla="*/ 2147483647 h 608"/>
                  <a:gd name="T70" fmla="*/ 2147483647 w 620"/>
                  <a:gd name="T71" fmla="*/ 2147483647 h 608"/>
                  <a:gd name="T72" fmla="*/ 2147483647 w 620"/>
                  <a:gd name="T73" fmla="*/ 2147483647 h 608"/>
                  <a:gd name="T74" fmla="*/ 2147483647 w 620"/>
                  <a:gd name="T75" fmla="*/ 2147483647 h 608"/>
                  <a:gd name="T76" fmla="*/ 2147483647 w 620"/>
                  <a:gd name="T77" fmla="*/ 2147483647 h 608"/>
                  <a:gd name="T78" fmla="*/ 2147483647 w 620"/>
                  <a:gd name="T79" fmla="*/ 2147483647 h 608"/>
                  <a:gd name="T80" fmla="*/ 2147483647 w 620"/>
                  <a:gd name="T81" fmla="*/ 2147483647 h 608"/>
                  <a:gd name="T82" fmla="*/ 2147483647 w 620"/>
                  <a:gd name="T83" fmla="*/ 2147483647 h 608"/>
                  <a:gd name="T84" fmla="*/ 2147483647 w 620"/>
                  <a:gd name="T85" fmla="*/ 2147483647 h 608"/>
                  <a:gd name="T86" fmla="*/ 2147483647 w 620"/>
                  <a:gd name="T87" fmla="*/ 2147483647 h 608"/>
                  <a:gd name="T88" fmla="*/ 2147483647 w 620"/>
                  <a:gd name="T89" fmla="*/ 2147483647 h 608"/>
                  <a:gd name="T90" fmla="*/ 2147483647 w 620"/>
                  <a:gd name="T91" fmla="*/ 2147483647 h 608"/>
                  <a:gd name="T92" fmla="*/ 2147483647 w 620"/>
                  <a:gd name="T93" fmla="*/ 2147483647 h 608"/>
                  <a:gd name="T94" fmla="*/ 2147483647 w 620"/>
                  <a:gd name="T95" fmla="*/ 2147483647 h 608"/>
                  <a:gd name="T96" fmla="*/ 2147483647 w 620"/>
                  <a:gd name="T97" fmla="*/ 2147483647 h 608"/>
                  <a:gd name="T98" fmla="*/ 2147483647 w 620"/>
                  <a:gd name="T99" fmla="*/ 2147483647 h 608"/>
                  <a:gd name="T100" fmla="*/ 2147483647 w 620"/>
                  <a:gd name="T101" fmla="*/ 2147483647 h 608"/>
                  <a:gd name="T102" fmla="*/ 2147483647 w 620"/>
                  <a:gd name="T103" fmla="*/ 2147483647 h 608"/>
                  <a:gd name="T104" fmla="*/ 2147483647 w 620"/>
                  <a:gd name="T105" fmla="*/ 2147483647 h 608"/>
                  <a:gd name="T106" fmla="*/ 2147483647 w 620"/>
                  <a:gd name="T107" fmla="*/ 2147483647 h 608"/>
                  <a:gd name="T108" fmla="*/ 2147483647 w 620"/>
                  <a:gd name="T109" fmla="*/ 2147483647 h 608"/>
                  <a:gd name="T110" fmla="*/ 2147483647 w 620"/>
                  <a:gd name="T111" fmla="*/ 2147483647 h 608"/>
                  <a:gd name="T112" fmla="*/ 2147483647 w 620"/>
                  <a:gd name="T113" fmla="*/ 2147483647 h 608"/>
                  <a:gd name="T114" fmla="*/ 2147483647 w 620"/>
                  <a:gd name="T115" fmla="*/ 2147483647 h 608"/>
                  <a:gd name="T116" fmla="*/ 0 w 620"/>
                  <a:gd name="T117" fmla="*/ 2147483647 h 608"/>
                  <a:gd name="T118" fmla="*/ 2147483647 w 620"/>
                  <a:gd name="T119" fmla="*/ 2147483647 h 608"/>
                  <a:gd name="T120" fmla="*/ 2147483647 w 620"/>
                  <a:gd name="T121" fmla="*/ 2147483647 h 608"/>
                  <a:gd name="T122" fmla="*/ 2147483647 w 620"/>
                  <a:gd name="T123" fmla="*/ 2147483647 h 608"/>
                  <a:gd name="T124" fmla="*/ 2147483647 w 620"/>
                  <a:gd name="T125" fmla="*/ 2147483647 h 6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20" h="608">
                    <a:moveTo>
                      <a:pt x="222" y="277"/>
                    </a:moveTo>
                    <a:cubicBezTo>
                      <a:pt x="215" y="277"/>
                      <a:pt x="210" y="282"/>
                      <a:pt x="210" y="289"/>
                    </a:cubicBezTo>
                    <a:cubicBezTo>
                      <a:pt x="210" y="295"/>
                      <a:pt x="215" y="301"/>
                      <a:pt x="222" y="301"/>
                    </a:cubicBezTo>
                    <a:cubicBezTo>
                      <a:pt x="229" y="301"/>
                      <a:pt x="234" y="295"/>
                      <a:pt x="234" y="289"/>
                    </a:cubicBezTo>
                    <a:cubicBezTo>
                      <a:pt x="234" y="282"/>
                      <a:pt x="229" y="277"/>
                      <a:pt x="222" y="277"/>
                    </a:cubicBezTo>
                    <a:close/>
                    <a:moveTo>
                      <a:pt x="222" y="492"/>
                    </a:moveTo>
                    <a:cubicBezTo>
                      <a:pt x="215" y="492"/>
                      <a:pt x="210" y="497"/>
                      <a:pt x="210" y="504"/>
                    </a:cubicBezTo>
                    <a:cubicBezTo>
                      <a:pt x="210" y="511"/>
                      <a:pt x="215" y="516"/>
                      <a:pt x="222" y="516"/>
                    </a:cubicBezTo>
                    <a:cubicBezTo>
                      <a:pt x="229" y="516"/>
                      <a:pt x="234" y="511"/>
                      <a:pt x="234" y="504"/>
                    </a:cubicBezTo>
                    <a:cubicBezTo>
                      <a:pt x="234" y="497"/>
                      <a:pt x="229" y="492"/>
                      <a:pt x="222" y="492"/>
                    </a:cubicBezTo>
                    <a:close/>
                    <a:moveTo>
                      <a:pt x="222" y="246"/>
                    </a:moveTo>
                    <a:cubicBezTo>
                      <a:pt x="215" y="246"/>
                      <a:pt x="210" y="251"/>
                      <a:pt x="210" y="258"/>
                    </a:cubicBezTo>
                    <a:cubicBezTo>
                      <a:pt x="210" y="265"/>
                      <a:pt x="215" y="270"/>
                      <a:pt x="222" y="270"/>
                    </a:cubicBezTo>
                    <a:cubicBezTo>
                      <a:pt x="229" y="270"/>
                      <a:pt x="234" y="265"/>
                      <a:pt x="234" y="258"/>
                    </a:cubicBezTo>
                    <a:cubicBezTo>
                      <a:pt x="234" y="251"/>
                      <a:pt x="229" y="246"/>
                      <a:pt x="222" y="246"/>
                    </a:cubicBezTo>
                    <a:close/>
                    <a:moveTo>
                      <a:pt x="222" y="369"/>
                    </a:moveTo>
                    <a:cubicBezTo>
                      <a:pt x="215" y="369"/>
                      <a:pt x="210" y="374"/>
                      <a:pt x="210" y="381"/>
                    </a:cubicBezTo>
                    <a:cubicBezTo>
                      <a:pt x="210" y="388"/>
                      <a:pt x="215" y="393"/>
                      <a:pt x="222" y="393"/>
                    </a:cubicBezTo>
                    <a:cubicBezTo>
                      <a:pt x="229" y="393"/>
                      <a:pt x="234" y="388"/>
                      <a:pt x="234" y="381"/>
                    </a:cubicBezTo>
                    <a:cubicBezTo>
                      <a:pt x="234" y="374"/>
                      <a:pt x="229" y="369"/>
                      <a:pt x="222" y="369"/>
                    </a:cubicBezTo>
                    <a:close/>
                    <a:moveTo>
                      <a:pt x="222" y="338"/>
                    </a:moveTo>
                    <a:cubicBezTo>
                      <a:pt x="215" y="338"/>
                      <a:pt x="210" y="343"/>
                      <a:pt x="210" y="350"/>
                    </a:cubicBezTo>
                    <a:cubicBezTo>
                      <a:pt x="210" y="357"/>
                      <a:pt x="215" y="362"/>
                      <a:pt x="222" y="362"/>
                    </a:cubicBezTo>
                    <a:cubicBezTo>
                      <a:pt x="229" y="362"/>
                      <a:pt x="234" y="357"/>
                      <a:pt x="234" y="350"/>
                    </a:cubicBezTo>
                    <a:cubicBezTo>
                      <a:pt x="234" y="343"/>
                      <a:pt x="229" y="338"/>
                      <a:pt x="222" y="338"/>
                    </a:cubicBezTo>
                    <a:close/>
                    <a:moveTo>
                      <a:pt x="222" y="307"/>
                    </a:moveTo>
                    <a:cubicBezTo>
                      <a:pt x="215" y="307"/>
                      <a:pt x="210" y="313"/>
                      <a:pt x="210" y="319"/>
                    </a:cubicBezTo>
                    <a:cubicBezTo>
                      <a:pt x="210" y="326"/>
                      <a:pt x="215" y="332"/>
                      <a:pt x="222" y="332"/>
                    </a:cubicBezTo>
                    <a:cubicBezTo>
                      <a:pt x="229" y="332"/>
                      <a:pt x="234" y="326"/>
                      <a:pt x="234" y="319"/>
                    </a:cubicBezTo>
                    <a:cubicBezTo>
                      <a:pt x="234" y="313"/>
                      <a:pt x="229" y="307"/>
                      <a:pt x="222" y="307"/>
                    </a:cubicBezTo>
                    <a:close/>
                    <a:moveTo>
                      <a:pt x="222" y="123"/>
                    </a:moveTo>
                    <a:cubicBezTo>
                      <a:pt x="215" y="123"/>
                      <a:pt x="210" y="128"/>
                      <a:pt x="210" y="135"/>
                    </a:cubicBezTo>
                    <a:cubicBezTo>
                      <a:pt x="210" y="142"/>
                      <a:pt x="215" y="147"/>
                      <a:pt x="222" y="147"/>
                    </a:cubicBezTo>
                    <a:cubicBezTo>
                      <a:pt x="229" y="147"/>
                      <a:pt x="234" y="142"/>
                      <a:pt x="234" y="135"/>
                    </a:cubicBezTo>
                    <a:cubicBezTo>
                      <a:pt x="234" y="128"/>
                      <a:pt x="229" y="123"/>
                      <a:pt x="222" y="123"/>
                    </a:cubicBezTo>
                    <a:close/>
                    <a:moveTo>
                      <a:pt x="222" y="154"/>
                    </a:moveTo>
                    <a:cubicBezTo>
                      <a:pt x="215" y="154"/>
                      <a:pt x="210" y="159"/>
                      <a:pt x="210" y="166"/>
                    </a:cubicBezTo>
                    <a:cubicBezTo>
                      <a:pt x="210" y="172"/>
                      <a:pt x="215" y="178"/>
                      <a:pt x="222" y="178"/>
                    </a:cubicBezTo>
                    <a:cubicBezTo>
                      <a:pt x="229" y="178"/>
                      <a:pt x="234" y="172"/>
                      <a:pt x="234" y="166"/>
                    </a:cubicBezTo>
                    <a:cubicBezTo>
                      <a:pt x="234" y="159"/>
                      <a:pt x="229" y="154"/>
                      <a:pt x="222" y="154"/>
                    </a:cubicBezTo>
                    <a:close/>
                    <a:moveTo>
                      <a:pt x="222" y="184"/>
                    </a:moveTo>
                    <a:cubicBezTo>
                      <a:pt x="215" y="184"/>
                      <a:pt x="210" y="190"/>
                      <a:pt x="210" y="196"/>
                    </a:cubicBezTo>
                    <a:cubicBezTo>
                      <a:pt x="210" y="203"/>
                      <a:pt x="215" y="209"/>
                      <a:pt x="222" y="209"/>
                    </a:cubicBezTo>
                    <a:cubicBezTo>
                      <a:pt x="229" y="209"/>
                      <a:pt x="234" y="203"/>
                      <a:pt x="234" y="196"/>
                    </a:cubicBezTo>
                    <a:cubicBezTo>
                      <a:pt x="234" y="190"/>
                      <a:pt x="229" y="184"/>
                      <a:pt x="222" y="184"/>
                    </a:cubicBezTo>
                    <a:close/>
                    <a:moveTo>
                      <a:pt x="222" y="215"/>
                    </a:moveTo>
                    <a:cubicBezTo>
                      <a:pt x="215" y="215"/>
                      <a:pt x="210" y="220"/>
                      <a:pt x="210" y="227"/>
                    </a:cubicBezTo>
                    <a:cubicBezTo>
                      <a:pt x="210" y="234"/>
                      <a:pt x="215" y="239"/>
                      <a:pt x="222" y="239"/>
                    </a:cubicBezTo>
                    <a:cubicBezTo>
                      <a:pt x="229" y="239"/>
                      <a:pt x="234" y="234"/>
                      <a:pt x="234" y="227"/>
                    </a:cubicBezTo>
                    <a:cubicBezTo>
                      <a:pt x="234" y="220"/>
                      <a:pt x="229" y="215"/>
                      <a:pt x="222" y="215"/>
                    </a:cubicBezTo>
                    <a:close/>
                    <a:moveTo>
                      <a:pt x="222" y="92"/>
                    </a:moveTo>
                    <a:cubicBezTo>
                      <a:pt x="215" y="92"/>
                      <a:pt x="210" y="98"/>
                      <a:pt x="210" y="104"/>
                    </a:cubicBezTo>
                    <a:cubicBezTo>
                      <a:pt x="210" y="111"/>
                      <a:pt x="215" y="116"/>
                      <a:pt x="222" y="116"/>
                    </a:cubicBezTo>
                    <a:cubicBezTo>
                      <a:pt x="229" y="116"/>
                      <a:pt x="234" y="111"/>
                      <a:pt x="234" y="104"/>
                    </a:cubicBezTo>
                    <a:cubicBezTo>
                      <a:pt x="234" y="98"/>
                      <a:pt x="229" y="92"/>
                      <a:pt x="222" y="92"/>
                    </a:cubicBezTo>
                    <a:close/>
                    <a:moveTo>
                      <a:pt x="222" y="553"/>
                    </a:moveTo>
                    <a:cubicBezTo>
                      <a:pt x="215" y="553"/>
                      <a:pt x="210" y="559"/>
                      <a:pt x="210" y="565"/>
                    </a:cubicBezTo>
                    <a:cubicBezTo>
                      <a:pt x="210" y="572"/>
                      <a:pt x="215" y="578"/>
                      <a:pt x="222" y="578"/>
                    </a:cubicBezTo>
                    <a:cubicBezTo>
                      <a:pt x="229" y="578"/>
                      <a:pt x="234" y="572"/>
                      <a:pt x="234" y="565"/>
                    </a:cubicBezTo>
                    <a:cubicBezTo>
                      <a:pt x="234" y="559"/>
                      <a:pt x="229" y="553"/>
                      <a:pt x="222" y="553"/>
                    </a:cubicBezTo>
                    <a:close/>
                    <a:moveTo>
                      <a:pt x="222" y="522"/>
                    </a:moveTo>
                    <a:cubicBezTo>
                      <a:pt x="215" y="522"/>
                      <a:pt x="210" y="528"/>
                      <a:pt x="210" y="535"/>
                    </a:cubicBezTo>
                    <a:cubicBezTo>
                      <a:pt x="210" y="541"/>
                      <a:pt x="215" y="547"/>
                      <a:pt x="222" y="547"/>
                    </a:cubicBezTo>
                    <a:cubicBezTo>
                      <a:pt x="229" y="547"/>
                      <a:pt x="234" y="541"/>
                      <a:pt x="234" y="535"/>
                    </a:cubicBezTo>
                    <a:cubicBezTo>
                      <a:pt x="234" y="528"/>
                      <a:pt x="229" y="522"/>
                      <a:pt x="222" y="522"/>
                    </a:cubicBezTo>
                    <a:close/>
                    <a:moveTo>
                      <a:pt x="222" y="61"/>
                    </a:moveTo>
                    <a:cubicBezTo>
                      <a:pt x="215" y="61"/>
                      <a:pt x="210" y="67"/>
                      <a:pt x="210" y="73"/>
                    </a:cubicBezTo>
                    <a:cubicBezTo>
                      <a:pt x="210" y="80"/>
                      <a:pt x="215" y="86"/>
                      <a:pt x="222" y="86"/>
                    </a:cubicBezTo>
                    <a:cubicBezTo>
                      <a:pt x="229" y="86"/>
                      <a:pt x="234" y="80"/>
                      <a:pt x="234" y="73"/>
                    </a:cubicBezTo>
                    <a:cubicBezTo>
                      <a:pt x="234" y="67"/>
                      <a:pt x="229" y="61"/>
                      <a:pt x="222" y="61"/>
                    </a:cubicBezTo>
                    <a:close/>
                    <a:moveTo>
                      <a:pt x="222" y="0"/>
                    </a:moveTo>
                    <a:cubicBezTo>
                      <a:pt x="215" y="0"/>
                      <a:pt x="210" y="5"/>
                      <a:pt x="210" y="12"/>
                    </a:cubicBezTo>
                    <a:cubicBezTo>
                      <a:pt x="210" y="19"/>
                      <a:pt x="215" y="24"/>
                      <a:pt x="222" y="24"/>
                    </a:cubicBezTo>
                    <a:cubicBezTo>
                      <a:pt x="229" y="24"/>
                      <a:pt x="234" y="19"/>
                      <a:pt x="234" y="12"/>
                    </a:cubicBezTo>
                    <a:cubicBezTo>
                      <a:pt x="234" y="5"/>
                      <a:pt x="229" y="0"/>
                      <a:pt x="222" y="0"/>
                    </a:cubicBezTo>
                    <a:close/>
                    <a:moveTo>
                      <a:pt x="222" y="31"/>
                    </a:moveTo>
                    <a:cubicBezTo>
                      <a:pt x="215" y="31"/>
                      <a:pt x="210" y="36"/>
                      <a:pt x="210" y="43"/>
                    </a:cubicBezTo>
                    <a:cubicBezTo>
                      <a:pt x="210" y="49"/>
                      <a:pt x="215" y="55"/>
                      <a:pt x="222" y="55"/>
                    </a:cubicBezTo>
                    <a:cubicBezTo>
                      <a:pt x="229" y="55"/>
                      <a:pt x="234" y="49"/>
                      <a:pt x="234" y="43"/>
                    </a:cubicBezTo>
                    <a:cubicBezTo>
                      <a:pt x="234" y="36"/>
                      <a:pt x="229" y="31"/>
                      <a:pt x="222" y="31"/>
                    </a:cubicBezTo>
                    <a:close/>
                    <a:moveTo>
                      <a:pt x="187" y="492"/>
                    </a:moveTo>
                    <a:cubicBezTo>
                      <a:pt x="180" y="492"/>
                      <a:pt x="175" y="497"/>
                      <a:pt x="175" y="504"/>
                    </a:cubicBezTo>
                    <a:cubicBezTo>
                      <a:pt x="175" y="511"/>
                      <a:pt x="180" y="516"/>
                      <a:pt x="187" y="516"/>
                    </a:cubicBezTo>
                    <a:cubicBezTo>
                      <a:pt x="194" y="516"/>
                      <a:pt x="199" y="511"/>
                      <a:pt x="199" y="504"/>
                    </a:cubicBezTo>
                    <a:cubicBezTo>
                      <a:pt x="199" y="497"/>
                      <a:pt x="194" y="492"/>
                      <a:pt x="187" y="492"/>
                    </a:cubicBezTo>
                    <a:close/>
                    <a:moveTo>
                      <a:pt x="187" y="553"/>
                    </a:moveTo>
                    <a:cubicBezTo>
                      <a:pt x="180" y="553"/>
                      <a:pt x="175" y="559"/>
                      <a:pt x="175" y="565"/>
                    </a:cubicBezTo>
                    <a:cubicBezTo>
                      <a:pt x="175" y="572"/>
                      <a:pt x="180" y="578"/>
                      <a:pt x="187" y="578"/>
                    </a:cubicBezTo>
                    <a:cubicBezTo>
                      <a:pt x="194" y="578"/>
                      <a:pt x="199" y="572"/>
                      <a:pt x="199" y="565"/>
                    </a:cubicBezTo>
                    <a:cubicBezTo>
                      <a:pt x="199" y="559"/>
                      <a:pt x="194" y="553"/>
                      <a:pt x="187" y="553"/>
                    </a:cubicBezTo>
                    <a:close/>
                    <a:moveTo>
                      <a:pt x="187" y="522"/>
                    </a:moveTo>
                    <a:cubicBezTo>
                      <a:pt x="180" y="522"/>
                      <a:pt x="175" y="528"/>
                      <a:pt x="175" y="535"/>
                    </a:cubicBezTo>
                    <a:cubicBezTo>
                      <a:pt x="175" y="541"/>
                      <a:pt x="180" y="547"/>
                      <a:pt x="187" y="547"/>
                    </a:cubicBezTo>
                    <a:cubicBezTo>
                      <a:pt x="194" y="547"/>
                      <a:pt x="199" y="541"/>
                      <a:pt x="199" y="535"/>
                    </a:cubicBezTo>
                    <a:cubicBezTo>
                      <a:pt x="199" y="528"/>
                      <a:pt x="194" y="522"/>
                      <a:pt x="187" y="522"/>
                    </a:cubicBezTo>
                    <a:close/>
                    <a:moveTo>
                      <a:pt x="187" y="584"/>
                    </a:moveTo>
                    <a:cubicBezTo>
                      <a:pt x="180" y="584"/>
                      <a:pt x="175" y="589"/>
                      <a:pt x="175" y="596"/>
                    </a:cubicBezTo>
                    <a:cubicBezTo>
                      <a:pt x="175" y="603"/>
                      <a:pt x="180" y="608"/>
                      <a:pt x="187" y="608"/>
                    </a:cubicBezTo>
                    <a:cubicBezTo>
                      <a:pt x="194" y="608"/>
                      <a:pt x="199" y="603"/>
                      <a:pt x="199" y="596"/>
                    </a:cubicBezTo>
                    <a:cubicBezTo>
                      <a:pt x="199" y="589"/>
                      <a:pt x="194" y="584"/>
                      <a:pt x="187" y="584"/>
                    </a:cubicBezTo>
                    <a:close/>
                    <a:moveTo>
                      <a:pt x="152" y="92"/>
                    </a:moveTo>
                    <a:cubicBezTo>
                      <a:pt x="145" y="92"/>
                      <a:pt x="140" y="98"/>
                      <a:pt x="140" y="104"/>
                    </a:cubicBezTo>
                    <a:cubicBezTo>
                      <a:pt x="140" y="111"/>
                      <a:pt x="145" y="116"/>
                      <a:pt x="152" y="116"/>
                    </a:cubicBezTo>
                    <a:cubicBezTo>
                      <a:pt x="159" y="116"/>
                      <a:pt x="164" y="111"/>
                      <a:pt x="164" y="104"/>
                    </a:cubicBezTo>
                    <a:cubicBezTo>
                      <a:pt x="164" y="98"/>
                      <a:pt x="159" y="92"/>
                      <a:pt x="152" y="92"/>
                    </a:cubicBezTo>
                    <a:close/>
                    <a:moveTo>
                      <a:pt x="152" y="123"/>
                    </a:moveTo>
                    <a:cubicBezTo>
                      <a:pt x="145" y="123"/>
                      <a:pt x="140" y="128"/>
                      <a:pt x="140" y="135"/>
                    </a:cubicBezTo>
                    <a:cubicBezTo>
                      <a:pt x="140" y="142"/>
                      <a:pt x="145" y="147"/>
                      <a:pt x="152" y="147"/>
                    </a:cubicBezTo>
                    <a:cubicBezTo>
                      <a:pt x="159" y="147"/>
                      <a:pt x="164" y="142"/>
                      <a:pt x="164" y="135"/>
                    </a:cubicBezTo>
                    <a:cubicBezTo>
                      <a:pt x="164" y="128"/>
                      <a:pt x="159" y="123"/>
                      <a:pt x="152" y="123"/>
                    </a:cubicBezTo>
                    <a:close/>
                    <a:moveTo>
                      <a:pt x="152" y="61"/>
                    </a:moveTo>
                    <a:cubicBezTo>
                      <a:pt x="145" y="61"/>
                      <a:pt x="140" y="67"/>
                      <a:pt x="140" y="73"/>
                    </a:cubicBezTo>
                    <a:cubicBezTo>
                      <a:pt x="140" y="80"/>
                      <a:pt x="145" y="86"/>
                      <a:pt x="152" y="86"/>
                    </a:cubicBezTo>
                    <a:cubicBezTo>
                      <a:pt x="159" y="86"/>
                      <a:pt x="164" y="80"/>
                      <a:pt x="164" y="73"/>
                    </a:cubicBezTo>
                    <a:cubicBezTo>
                      <a:pt x="164" y="67"/>
                      <a:pt x="159" y="61"/>
                      <a:pt x="152" y="61"/>
                    </a:cubicBezTo>
                    <a:close/>
                    <a:moveTo>
                      <a:pt x="152" y="154"/>
                    </a:moveTo>
                    <a:cubicBezTo>
                      <a:pt x="145" y="154"/>
                      <a:pt x="140" y="159"/>
                      <a:pt x="140" y="166"/>
                    </a:cubicBezTo>
                    <a:cubicBezTo>
                      <a:pt x="140" y="172"/>
                      <a:pt x="145" y="178"/>
                      <a:pt x="152" y="178"/>
                    </a:cubicBezTo>
                    <a:cubicBezTo>
                      <a:pt x="159" y="178"/>
                      <a:pt x="164" y="172"/>
                      <a:pt x="164" y="166"/>
                    </a:cubicBezTo>
                    <a:cubicBezTo>
                      <a:pt x="164" y="159"/>
                      <a:pt x="159" y="154"/>
                      <a:pt x="152" y="154"/>
                    </a:cubicBezTo>
                    <a:close/>
                    <a:moveTo>
                      <a:pt x="152" y="184"/>
                    </a:moveTo>
                    <a:cubicBezTo>
                      <a:pt x="145" y="184"/>
                      <a:pt x="140" y="190"/>
                      <a:pt x="140" y="196"/>
                    </a:cubicBezTo>
                    <a:cubicBezTo>
                      <a:pt x="140" y="203"/>
                      <a:pt x="145" y="209"/>
                      <a:pt x="152" y="209"/>
                    </a:cubicBezTo>
                    <a:cubicBezTo>
                      <a:pt x="159" y="209"/>
                      <a:pt x="164" y="203"/>
                      <a:pt x="164" y="196"/>
                    </a:cubicBezTo>
                    <a:cubicBezTo>
                      <a:pt x="164" y="190"/>
                      <a:pt x="159" y="184"/>
                      <a:pt x="152" y="184"/>
                    </a:cubicBezTo>
                    <a:close/>
                    <a:moveTo>
                      <a:pt x="152" y="0"/>
                    </a:moveTo>
                    <a:cubicBezTo>
                      <a:pt x="145" y="0"/>
                      <a:pt x="140" y="5"/>
                      <a:pt x="140" y="12"/>
                    </a:cubicBezTo>
                    <a:cubicBezTo>
                      <a:pt x="140" y="19"/>
                      <a:pt x="145" y="24"/>
                      <a:pt x="152" y="24"/>
                    </a:cubicBezTo>
                    <a:cubicBezTo>
                      <a:pt x="159" y="24"/>
                      <a:pt x="164" y="19"/>
                      <a:pt x="164" y="12"/>
                    </a:cubicBezTo>
                    <a:cubicBezTo>
                      <a:pt x="164" y="5"/>
                      <a:pt x="159" y="0"/>
                      <a:pt x="152" y="0"/>
                    </a:cubicBezTo>
                    <a:close/>
                    <a:moveTo>
                      <a:pt x="187" y="31"/>
                    </a:moveTo>
                    <a:cubicBezTo>
                      <a:pt x="180" y="31"/>
                      <a:pt x="175" y="36"/>
                      <a:pt x="175" y="43"/>
                    </a:cubicBezTo>
                    <a:cubicBezTo>
                      <a:pt x="175" y="49"/>
                      <a:pt x="180" y="55"/>
                      <a:pt x="187" y="55"/>
                    </a:cubicBezTo>
                    <a:cubicBezTo>
                      <a:pt x="194" y="55"/>
                      <a:pt x="199" y="49"/>
                      <a:pt x="199" y="43"/>
                    </a:cubicBezTo>
                    <a:cubicBezTo>
                      <a:pt x="199" y="36"/>
                      <a:pt x="194" y="31"/>
                      <a:pt x="187" y="31"/>
                    </a:cubicBezTo>
                    <a:close/>
                    <a:moveTo>
                      <a:pt x="187" y="0"/>
                    </a:moveTo>
                    <a:cubicBezTo>
                      <a:pt x="180" y="0"/>
                      <a:pt x="175" y="5"/>
                      <a:pt x="175" y="12"/>
                    </a:cubicBezTo>
                    <a:cubicBezTo>
                      <a:pt x="175" y="19"/>
                      <a:pt x="180" y="24"/>
                      <a:pt x="187" y="24"/>
                    </a:cubicBezTo>
                    <a:cubicBezTo>
                      <a:pt x="194" y="24"/>
                      <a:pt x="199" y="19"/>
                      <a:pt x="199" y="12"/>
                    </a:cubicBezTo>
                    <a:cubicBezTo>
                      <a:pt x="199" y="5"/>
                      <a:pt x="194" y="0"/>
                      <a:pt x="187" y="0"/>
                    </a:cubicBezTo>
                    <a:close/>
                    <a:moveTo>
                      <a:pt x="187" y="277"/>
                    </a:moveTo>
                    <a:cubicBezTo>
                      <a:pt x="180" y="277"/>
                      <a:pt x="175" y="282"/>
                      <a:pt x="175" y="289"/>
                    </a:cubicBezTo>
                    <a:cubicBezTo>
                      <a:pt x="175" y="295"/>
                      <a:pt x="180" y="301"/>
                      <a:pt x="187" y="301"/>
                    </a:cubicBezTo>
                    <a:cubicBezTo>
                      <a:pt x="194" y="301"/>
                      <a:pt x="199" y="295"/>
                      <a:pt x="199" y="289"/>
                    </a:cubicBezTo>
                    <a:cubicBezTo>
                      <a:pt x="199" y="282"/>
                      <a:pt x="194" y="277"/>
                      <a:pt x="187" y="277"/>
                    </a:cubicBezTo>
                    <a:close/>
                    <a:moveTo>
                      <a:pt x="187" y="246"/>
                    </a:moveTo>
                    <a:cubicBezTo>
                      <a:pt x="180" y="246"/>
                      <a:pt x="175" y="251"/>
                      <a:pt x="175" y="258"/>
                    </a:cubicBezTo>
                    <a:cubicBezTo>
                      <a:pt x="175" y="265"/>
                      <a:pt x="180" y="270"/>
                      <a:pt x="187" y="270"/>
                    </a:cubicBezTo>
                    <a:cubicBezTo>
                      <a:pt x="194" y="270"/>
                      <a:pt x="199" y="265"/>
                      <a:pt x="199" y="258"/>
                    </a:cubicBezTo>
                    <a:cubicBezTo>
                      <a:pt x="199" y="251"/>
                      <a:pt x="194" y="246"/>
                      <a:pt x="187" y="246"/>
                    </a:cubicBezTo>
                    <a:close/>
                    <a:moveTo>
                      <a:pt x="187" y="215"/>
                    </a:moveTo>
                    <a:cubicBezTo>
                      <a:pt x="180" y="215"/>
                      <a:pt x="175" y="220"/>
                      <a:pt x="175" y="227"/>
                    </a:cubicBezTo>
                    <a:cubicBezTo>
                      <a:pt x="175" y="234"/>
                      <a:pt x="180" y="239"/>
                      <a:pt x="187" y="239"/>
                    </a:cubicBezTo>
                    <a:cubicBezTo>
                      <a:pt x="194" y="239"/>
                      <a:pt x="199" y="234"/>
                      <a:pt x="199" y="227"/>
                    </a:cubicBezTo>
                    <a:cubicBezTo>
                      <a:pt x="199" y="220"/>
                      <a:pt x="194" y="215"/>
                      <a:pt x="187" y="215"/>
                    </a:cubicBezTo>
                    <a:close/>
                    <a:moveTo>
                      <a:pt x="187" y="461"/>
                    </a:moveTo>
                    <a:cubicBezTo>
                      <a:pt x="180" y="461"/>
                      <a:pt x="175" y="466"/>
                      <a:pt x="175" y="473"/>
                    </a:cubicBezTo>
                    <a:cubicBezTo>
                      <a:pt x="175" y="480"/>
                      <a:pt x="180" y="485"/>
                      <a:pt x="187" y="485"/>
                    </a:cubicBezTo>
                    <a:cubicBezTo>
                      <a:pt x="194" y="485"/>
                      <a:pt x="199" y="480"/>
                      <a:pt x="199" y="473"/>
                    </a:cubicBezTo>
                    <a:cubicBezTo>
                      <a:pt x="199" y="466"/>
                      <a:pt x="194" y="461"/>
                      <a:pt x="187" y="461"/>
                    </a:cubicBezTo>
                    <a:close/>
                    <a:moveTo>
                      <a:pt x="187" y="307"/>
                    </a:moveTo>
                    <a:cubicBezTo>
                      <a:pt x="180" y="307"/>
                      <a:pt x="175" y="313"/>
                      <a:pt x="175" y="319"/>
                    </a:cubicBezTo>
                    <a:cubicBezTo>
                      <a:pt x="175" y="326"/>
                      <a:pt x="180" y="332"/>
                      <a:pt x="187" y="332"/>
                    </a:cubicBezTo>
                    <a:cubicBezTo>
                      <a:pt x="194" y="332"/>
                      <a:pt x="199" y="326"/>
                      <a:pt x="199" y="319"/>
                    </a:cubicBezTo>
                    <a:cubicBezTo>
                      <a:pt x="199" y="313"/>
                      <a:pt x="194" y="307"/>
                      <a:pt x="187" y="307"/>
                    </a:cubicBezTo>
                    <a:close/>
                    <a:moveTo>
                      <a:pt x="187" y="92"/>
                    </a:moveTo>
                    <a:cubicBezTo>
                      <a:pt x="180" y="92"/>
                      <a:pt x="175" y="98"/>
                      <a:pt x="175" y="104"/>
                    </a:cubicBezTo>
                    <a:cubicBezTo>
                      <a:pt x="175" y="111"/>
                      <a:pt x="180" y="116"/>
                      <a:pt x="187" y="116"/>
                    </a:cubicBezTo>
                    <a:cubicBezTo>
                      <a:pt x="194" y="116"/>
                      <a:pt x="199" y="111"/>
                      <a:pt x="199" y="104"/>
                    </a:cubicBezTo>
                    <a:cubicBezTo>
                      <a:pt x="199" y="98"/>
                      <a:pt x="194" y="92"/>
                      <a:pt x="187" y="92"/>
                    </a:cubicBezTo>
                    <a:close/>
                    <a:moveTo>
                      <a:pt x="187" y="184"/>
                    </a:moveTo>
                    <a:cubicBezTo>
                      <a:pt x="180" y="184"/>
                      <a:pt x="175" y="190"/>
                      <a:pt x="175" y="196"/>
                    </a:cubicBezTo>
                    <a:cubicBezTo>
                      <a:pt x="175" y="203"/>
                      <a:pt x="180" y="209"/>
                      <a:pt x="187" y="209"/>
                    </a:cubicBezTo>
                    <a:cubicBezTo>
                      <a:pt x="194" y="209"/>
                      <a:pt x="199" y="203"/>
                      <a:pt x="199" y="196"/>
                    </a:cubicBezTo>
                    <a:cubicBezTo>
                      <a:pt x="199" y="190"/>
                      <a:pt x="194" y="184"/>
                      <a:pt x="187" y="184"/>
                    </a:cubicBezTo>
                    <a:close/>
                    <a:moveTo>
                      <a:pt x="187" y="61"/>
                    </a:moveTo>
                    <a:cubicBezTo>
                      <a:pt x="180" y="61"/>
                      <a:pt x="175" y="67"/>
                      <a:pt x="175" y="73"/>
                    </a:cubicBezTo>
                    <a:cubicBezTo>
                      <a:pt x="175" y="80"/>
                      <a:pt x="180" y="86"/>
                      <a:pt x="187" y="86"/>
                    </a:cubicBezTo>
                    <a:cubicBezTo>
                      <a:pt x="194" y="86"/>
                      <a:pt x="199" y="80"/>
                      <a:pt x="199" y="73"/>
                    </a:cubicBezTo>
                    <a:cubicBezTo>
                      <a:pt x="199" y="67"/>
                      <a:pt x="194" y="61"/>
                      <a:pt x="187" y="61"/>
                    </a:cubicBezTo>
                    <a:close/>
                    <a:moveTo>
                      <a:pt x="187" y="123"/>
                    </a:moveTo>
                    <a:cubicBezTo>
                      <a:pt x="180" y="123"/>
                      <a:pt x="175" y="128"/>
                      <a:pt x="175" y="135"/>
                    </a:cubicBezTo>
                    <a:cubicBezTo>
                      <a:pt x="175" y="142"/>
                      <a:pt x="180" y="147"/>
                      <a:pt x="187" y="147"/>
                    </a:cubicBezTo>
                    <a:cubicBezTo>
                      <a:pt x="194" y="147"/>
                      <a:pt x="199" y="142"/>
                      <a:pt x="199" y="135"/>
                    </a:cubicBezTo>
                    <a:cubicBezTo>
                      <a:pt x="199" y="128"/>
                      <a:pt x="194" y="123"/>
                      <a:pt x="187" y="123"/>
                    </a:cubicBezTo>
                    <a:close/>
                    <a:moveTo>
                      <a:pt x="187" y="154"/>
                    </a:moveTo>
                    <a:cubicBezTo>
                      <a:pt x="180" y="154"/>
                      <a:pt x="175" y="159"/>
                      <a:pt x="175" y="166"/>
                    </a:cubicBezTo>
                    <a:cubicBezTo>
                      <a:pt x="175" y="172"/>
                      <a:pt x="180" y="178"/>
                      <a:pt x="187" y="178"/>
                    </a:cubicBezTo>
                    <a:cubicBezTo>
                      <a:pt x="194" y="178"/>
                      <a:pt x="199" y="172"/>
                      <a:pt x="199" y="166"/>
                    </a:cubicBezTo>
                    <a:cubicBezTo>
                      <a:pt x="199" y="159"/>
                      <a:pt x="194" y="154"/>
                      <a:pt x="187" y="154"/>
                    </a:cubicBezTo>
                    <a:close/>
                    <a:moveTo>
                      <a:pt x="152" y="31"/>
                    </a:moveTo>
                    <a:cubicBezTo>
                      <a:pt x="145" y="31"/>
                      <a:pt x="140" y="36"/>
                      <a:pt x="140" y="43"/>
                    </a:cubicBezTo>
                    <a:cubicBezTo>
                      <a:pt x="140" y="49"/>
                      <a:pt x="145" y="55"/>
                      <a:pt x="152" y="55"/>
                    </a:cubicBezTo>
                    <a:cubicBezTo>
                      <a:pt x="159" y="55"/>
                      <a:pt x="164" y="49"/>
                      <a:pt x="164" y="43"/>
                    </a:cubicBezTo>
                    <a:cubicBezTo>
                      <a:pt x="164" y="36"/>
                      <a:pt x="159" y="31"/>
                      <a:pt x="152" y="31"/>
                    </a:cubicBezTo>
                    <a:close/>
                    <a:moveTo>
                      <a:pt x="362" y="184"/>
                    </a:moveTo>
                    <a:cubicBezTo>
                      <a:pt x="356" y="184"/>
                      <a:pt x="350" y="190"/>
                      <a:pt x="350" y="196"/>
                    </a:cubicBezTo>
                    <a:cubicBezTo>
                      <a:pt x="350" y="203"/>
                      <a:pt x="356" y="209"/>
                      <a:pt x="362" y="209"/>
                    </a:cubicBezTo>
                    <a:cubicBezTo>
                      <a:pt x="369" y="209"/>
                      <a:pt x="374" y="203"/>
                      <a:pt x="374" y="196"/>
                    </a:cubicBezTo>
                    <a:cubicBezTo>
                      <a:pt x="374" y="190"/>
                      <a:pt x="369" y="184"/>
                      <a:pt x="362" y="184"/>
                    </a:cubicBezTo>
                    <a:close/>
                    <a:moveTo>
                      <a:pt x="362" y="307"/>
                    </a:moveTo>
                    <a:cubicBezTo>
                      <a:pt x="356" y="307"/>
                      <a:pt x="350" y="313"/>
                      <a:pt x="350" y="319"/>
                    </a:cubicBezTo>
                    <a:cubicBezTo>
                      <a:pt x="350" y="326"/>
                      <a:pt x="356" y="332"/>
                      <a:pt x="362" y="332"/>
                    </a:cubicBezTo>
                    <a:cubicBezTo>
                      <a:pt x="369" y="332"/>
                      <a:pt x="374" y="326"/>
                      <a:pt x="374" y="319"/>
                    </a:cubicBezTo>
                    <a:cubicBezTo>
                      <a:pt x="374" y="313"/>
                      <a:pt x="369" y="307"/>
                      <a:pt x="362" y="307"/>
                    </a:cubicBezTo>
                    <a:close/>
                    <a:moveTo>
                      <a:pt x="362" y="277"/>
                    </a:moveTo>
                    <a:cubicBezTo>
                      <a:pt x="356" y="277"/>
                      <a:pt x="350" y="282"/>
                      <a:pt x="350" y="289"/>
                    </a:cubicBezTo>
                    <a:cubicBezTo>
                      <a:pt x="350" y="295"/>
                      <a:pt x="356" y="301"/>
                      <a:pt x="362" y="301"/>
                    </a:cubicBezTo>
                    <a:cubicBezTo>
                      <a:pt x="369" y="301"/>
                      <a:pt x="374" y="295"/>
                      <a:pt x="374" y="289"/>
                    </a:cubicBezTo>
                    <a:cubicBezTo>
                      <a:pt x="374" y="282"/>
                      <a:pt x="369" y="277"/>
                      <a:pt x="362" y="277"/>
                    </a:cubicBezTo>
                    <a:close/>
                    <a:moveTo>
                      <a:pt x="327" y="338"/>
                    </a:moveTo>
                    <a:cubicBezTo>
                      <a:pt x="320" y="338"/>
                      <a:pt x="315" y="343"/>
                      <a:pt x="315" y="350"/>
                    </a:cubicBezTo>
                    <a:cubicBezTo>
                      <a:pt x="315" y="357"/>
                      <a:pt x="320" y="362"/>
                      <a:pt x="327" y="362"/>
                    </a:cubicBezTo>
                    <a:cubicBezTo>
                      <a:pt x="334" y="362"/>
                      <a:pt x="339" y="357"/>
                      <a:pt x="339" y="350"/>
                    </a:cubicBezTo>
                    <a:cubicBezTo>
                      <a:pt x="339" y="343"/>
                      <a:pt x="334" y="338"/>
                      <a:pt x="327" y="338"/>
                    </a:cubicBezTo>
                    <a:close/>
                    <a:moveTo>
                      <a:pt x="327" y="307"/>
                    </a:moveTo>
                    <a:cubicBezTo>
                      <a:pt x="320" y="307"/>
                      <a:pt x="315" y="313"/>
                      <a:pt x="315" y="319"/>
                    </a:cubicBezTo>
                    <a:cubicBezTo>
                      <a:pt x="315" y="326"/>
                      <a:pt x="320" y="332"/>
                      <a:pt x="327" y="332"/>
                    </a:cubicBezTo>
                    <a:cubicBezTo>
                      <a:pt x="334" y="332"/>
                      <a:pt x="339" y="326"/>
                      <a:pt x="339" y="319"/>
                    </a:cubicBezTo>
                    <a:cubicBezTo>
                      <a:pt x="339" y="313"/>
                      <a:pt x="334" y="307"/>
                      <a:pt x="327" y="307"/>
                    </a:cubicBezTo>
                    <a:close/>
                    <a:moveTo>
                      <a:pt x="327" y="369"/>
                    </a:moveTo>
                    <a:cubicBezTo>
                      <a:pt x="320" y="369"/>
                      <a:pt x="315" y="374"/>
                      <a:pt x="315" y="381"/>
                    </a:cubicBezTo>
                    <a:cubicBezTo>
                      <a:pt x="315" y="388"/>
                      <a:pt x="320" y="393"/>
                      <a:pt x="327" y="393"/>
                    </a:cubicBezTo>
                    <a:cubicBezTo>
                      <a:pt x="334" y="393"/>
                      <a:pt x="339" y="388"/>
                      <a:pt x="339" y="381"/>
                    </a:cubicBezTo>
                    <a:cubicBezTo>
                      <a:pt x="339" y="374"/>
                      <a:pt x="334" y="369"/>
                      <a:pt x="327" y="369"/>
                    </a:cubicBezTo>
                    <a:close/>
                    <a:moveTo>
                      <a:pt x="327" y="154"/>
                    </a:moveTo>
                    <a:cubicBezTo>
                      <a:pt x="320" y="154"/>
                      <a:pt x="315" y="159"/>
                      <a:pt x="315" y="166"/>
                    </a:cubicBezTo>
                    <a:cubicBezTo>
                      <a:pt x="315" y="172"/>
                      <a:pt x="320" y="178"/>
                      <a:pt x="327" y="178"/>
                    </a:cubicBezTo>
                    <a:cubicBezTo>
                      <a:pt x="334" y="178"/>
                      <a:pt x="339" y="172"/>
                      <a:pt x="339" y="166"/>
                    </a:cubicBezTo>
                    <a:cubicBezTo>
                      <a:pt x="339" y="159"/>
                      <a:pt x="334" y="154"/>
                      <a:pt x="327" y="154"/>
                    </a:cubicBezTo>
                    <a:close/>
                    <a:moveTo>
                      <a:pt x="327" y="123"/>
                    </a:moveTo>
                    <a:cubicBezTo>
                      <a:pt x="320" y="123"/>
                      <a:pt x="315" y="128"/>
                      <a:pt x="315" y="135"/>
                    </a:cubicBezTo>
                    <a:cubicBezTo>
                      <a:pt x="315" y="142"/>
                      <a:pt x="320" y="147"/>
                      <a:pt x="327" y="147"/>
                    </a:cubicBezTo>
                    <a:cubicBezTo>
                      <a:pt x="334" y="147"/>
                      <a:pt x="339" y="142"/>
                      <a:pt x="339" y="135"/>
                    </a:cubicBezTo>
                    <a:cubicBezTo>
                      <a:pt x="339" y="128"/>
                      <a:pt x="334" y="123"/>
                      <a:pt x="327" y="123"/>
                    </a:cubicBezTo>
                    <a:close/>
                    <a:moveTo>
                      <a:pt x="327" y="92"/>
                    </a:moveTo>
                    <a:cubicBezTo>
                      <a:pt x="320" y="92"/>
                      <a:pt x="315" y="98"/>
                      <a:pt x="315" y="104"/>
                    </a:cubicBezTo>
                    <a:cubicBezTo>
                      <a:pt x="315" y="111"/>
                      <a:pt x="320" y="116"/>
                      <a:pt x="327" y="116"/>
                    </a:cubicBezTo>
                    <a:cubicBezTo>
                      <a:pt x="334" y="116"/>
                      <a:pt x="339" y="111"/>
                      <a:pt x="339" y="104"/>
                    </a:cubicBezTo>
                    <a:cubicBezTo>
                      <a:pt x="339" y="98"/>
                      <a:pt x="334" y="92"/>
                      <a:pt x="327" y="92"/>
                    </a:cubicBezTo>
                    <a:close/>
                    <a:moveTo>
                      <a:pt x="362" y="154"/>
                    </a:moveTo>
                    <a:cubicBezTo>
                      <a:pt x="356" y="154"/>
                      <a:pt x="350" y="159"/>
                      <a:pt x="350" y="166"/>
                    </a:cubicBezTo>
                    <a:cubicBezTo>
                      <a:pt x="350" y="172"/>
                      <a:pt x="356" y="178"/>
                      <a:pt x="362" y="178"/>
                    </a:cubicBezTo>
                    <a:cubicBezTo>
                      <a:pt x="369" y="178"/>
                      <a:pt x="374" y="172"/>
                      <a:pt x="374" y="166"/>
                    </a:cubicBezTo>
                    <a:cubicBezTo>
                      <a:pt x="374" y="159"/>
                      <a:pt x="369" y="154"/>
                      <a:pt x="362" y="154"/>
                    </a:cubicBezTo>
                    <a:close/>
                    <a:moveTo>
                      <a:pt x="362" y="92"/>
                    </a:moveTo>
                    <a:cubicBezTo>
                      <a:pt x="356" y="92"/>
                      <a:pt x="350" y="98"/>
                      <a:pt x="350" y="104"/>
                    </a:cubicBezTo>
                    <a:cubicBezTo>
                      <a:pt x="350" y="111"/>
                      <a:pt x="356" y="116"/>
                      <a:pt x="362" y="116"/>
                    </a:cubicBezTo>
                    <a:cubicBezTo>
                      <a:pt x="369" y="116"/>
                      <a:pt x="374" y="111"/>
                      <a:pt x="374" y="104"/>
                    </a:cubicBezTo>
                    <a:cubicBezTo>
                      <a:pt x="374" y="98"/>
                      <a:pt x="369" y="92"/>
                      <a:pt x="362" y="92"/>
                    </a:cubicBezTo>
                    <a:close/>
                    <a:moveTo>
                      <a:pt x="362" y="123"/>
                    </a:moveTo>
                    <a:cubicBezTo>
                      <a:pt x="356" y="123"/>
                      <a:pt x="350" y="128"/>
                      <a:pt x="350" y="135"/>
                    </a:cubicBezTo>
                    <a:cubicBezTo>
                      <a:pt x="350" y="142"/>
                      <a:pt x="356" y="147"/>
                      <a:pt x="362" y="147"/>
                    </a:cubicBezTo>
                    <a:cubicBezTo>
                      <a:pt x="369" y="147"/>
                      <a:pt x="374" y="142"/>
                      <a:pt x="374" y="135"/>
                    </a:cubicBezTo>
                    <a:cubicBezTo>
                      <a:pt x="374" y="128"/>
                      <a:pt x="369" y="123"/>
                      <a:pt x="362" y="123"/>
                    </a:cubicBezTo>
                    <a:close/>
                    <a:moveTo>
                      <a:pt x="362" y="61"/>
                    </a:moveTo>
                    <a:cubicBezTo>
                      <a:pt x="356" y="61"/>
                      <a:pt x="350" y="67"/>
                      <a:pt x="350" y="73"/>
                    </a:cubicBezTo>
                    <a:cubicBezTo>
                      <a:pt x="350" y="80"/>
                      <a:pt x="356" y="86"/>
                      <a:pt x="362" y="86"/>
                    </a:cubicBezTo>
                    <a:cubicBezTo>
                      <a:pt x="369" y="86"/>
                      <a:pt x="374" y="80"/>
                      <a:pt x="374" y="73"/>
                    </a:cubicBezTo>
                    <a:cubicBezTo>
                      <a:pt x="374" y="67"/>
                      <a:pt x="369" y="61"/>
                      <a:pt x="362" y="61"/>
                    </a:cubicBezTo>
                    <a:close/>
                    <a:moveTo>
                      <a:pt x="257" y="61"/>
                    </a:moveTo>
                    <a:cubicBezTo>
                      <a:pt x="250" y="61"/>
                      <a:pt x="245" y="67"/>
                      <a:pt x="245" y="73"/>
                    </a:cubicBezTo>
                    <a:cubicBezTo>
                      <a:pt x="245" y="80"/>
                      <a:pt x="250" y="86"/>
                      <a:pt x="257" y="86"/>
                    </a:cubicBezTo>
                    <a:cubicBezTo>
                      <a:pt x="264" y="86"/>
                      <a:pt x="269" y="80"/>
                      <a:pt x="269" y="73"/>
                    </a:cubicBezTo>
                    <a:cubicBezTo>
                      <a:pt x="269" y="67"/>
                      <a:pt x="264" y="61"/>
                      <a:pt x="257" y="61"/>
                    </a:cubicBezTo>
                    <a:close/>
                    <a:moveTo>
                      <a:pt x="257" y="92"/>
                    </a:moveTo>
                    <a:cubicBezTo>
                      <a:pt x="250" y="92"/>
                      <a:pt x="245" y="98"/>
                      <a:pt x="245" y="104"/>
                    </a:cubicBezTo>
                    <a:cubicBezTo>
                      <a:pt x="245" y="111"/>
                      <a:pt x="250" y="116"/>
                      <a:pt x="257" y="116"/>
                    </a:cubicBezTo>
                    <a:cubicBezTo>
                      <a:pt x="264" y="116"/>
                      <a:pt x="269" y="111"/>
                      <a:pt x="269" y="104"/>
                    </a:cubicBezTo>
                    <a:cubicBezTo>
                      <a:pt x="269" y="98"/>
                      <a:pt x="264" y="92"/>
                      <a:pt x="257" y="92"/>
                    </a:cubicBezTo>
                    <a:close/>
                    <a:moveTo>
                      <a:pt x="257" y="123"/>
                    </a:moveTo>
                    <a:cubicBezTo>
                      <a:pt x="250" y="123"/>
                      <a:pt x="245" y="128"/>
                      <a:pt x="245" y="135"/>
                    </a:cubicBezTo>
                    <a:cubicBezTo>
                      <a:pt x="245" y="142"/>
                      <a:pt x="250" y="147"/>
                      <a:pt x="257" y="147"/>
                    </a:cubicBezTo>
                    <a:cubicBezTo>
                      <a:pt x="264" y="147"/>
                      <a:pt x="269" y="142"/>
                      <a:pt x="269" y="135"/>
                    </a:cubicBezTo>
                    <a:cubicBezTo>
                      <a:pt x="269" y="128"/>
                      <a:pt x="264" y="123"/>
                      <a:pt x="257" y="123"/>
                    </a:cubicBezTo>
                    <a:close/>
                    <a:moveTo>
                      <a:pt x="257" y="369"/>
                    </a:moveTo>
                    <a:cubicBezTo>
                      <a:pt x="250" y="369"/>
                      <a:pt x="245" y="374"/>
                      <a:pt x="245" y="381"/>
                    </a:cubicBezTo>
                    <a:cubicBezTo>
                      <a:pt x="245" y="388"/>
                      <a:pt x="250" y="393"/>
                      <a:pt x="257" y="393"/>
                    </a:cubicBezTo>
                    <a:cubicBezTo>
                      <a:pt x="264" y="393"/>
                      <a:pt x="269" y="388"/>
                      <a:pt x="269" y="381"/>
                    </a:cubicBezTo>
                    <a:cubicBezTo>
                      <a:pt x="269" y="374"/>
                      <a:pt x="264" y="369"/>
                      <a:pt x="257" y="369"/>
                    </a:cubicBezTo>
                    <a:close/>
                    <a:moveTo>
                      <a:pt x="257" y="338"/>
                    </a:moveTo>
                    <a:cubicBezTo>
                      <a:pt x="250" y="338"/>
                      <a:pt x="245" y="343"/>
                      <a:pt x="245" y="350"/>
                    </a:cubicBezTo>
                    <a:cubicBezTo>
                      <a:pt x="245" y="357"/>
                      <a:pt x="250" y="362"/>
                      <a:pt x="257" y="362"/>
                    </a:cubicBezTo>
                    <a:cubicBezTo>
                      <a:pt x="264" y="362"/>
                      <a:pt x="269" y="357"/>
                      <a:pt x="269" y="350"/>
                    </a:cubicBezTo>
                    <a:cubicBezTo>
                      <a:pt x="269" y="343"/>
                      <a:pt x="264" y="338"/>
                      <a:pt x="257" y="338"/>
                    </a:cubicBezTo>
                    <a:close/>
                    <a:moveTo>
                      <a:pt x="257" y="492"/>
                    </a:moveTo>
                    <a:cubicBezTo>
                      <a:pt x="250" y="492"/>
                      <a:pt x="245" y="497"/>
                      <a:pt x="245" y="504"/>
                    </a:cubicBezTo>
                    <a:cubicBezTo>
                      <a:pt x="245" y="511"/>
                      <a:pt x="250" y="516"/>
                      <a:pt x="257" y="516"/>
                    </a:cubicBezTo>
                    <a:cubicBezTo>
                      <a:pt x="264" y="516"/>
                      <a:pt x="269" y="511"/>
                      <a:pt x="269" y="504"/>
                    </a:cubicBezTo>
                    <a:cubicBezTo>
                      <a:pt x="269" y="497"/>
                      <a:pt x="264" y="492"/>
                      <a:pt x="257" y="492"/>
                    </a:cubicBezTo>
                    <a:close/>
                    <a:moveTo>
                      <a:pt x="257" y="246"/>
                    </a:moveTo>
                    <a:cubicBezTo>
                      <a:pt x="250" y="246"/>
                      <a:pt x="245" y="251"/>
                      <a:pt x="245" y="258"/>
                    </a:cubicBezTo>
                    <a:cubicBezTo>
                      <a:pt x="245" y="265"/>
                      <a:pt x="250" y="270"/>
                      <a:pt x="257" y="270"/>
                    </a:cubicBezTo>
                    <a:cubicBezTo>
                      <a:pt x="264" y="270"/>
                      <a:pt x="269" y="265"/>
                      <a:pt x="269" y="258"/>
                    </a:cubicBezTo>
                    <a:cubicBezTo>
                      <a:pt x="269" y="251"/>
                      <a:pt x="264" y="246"/>
                      <a:pt x="257" y="246"/>
                    </a:cubicBezTo>
                    <a:close/>
                    <a:moveTo>
                      <a:pt x="257" y="215"/>
                    </a:moveTo>
                    <a:cubicBezTo>
                      <a:pt x="250" y="215"/>
                      <a:pt x="245" y="220"/>
                      <a:pt x="245" y="227"/>
                    </a:cubicBezTo>
                    <a:cubicBezTo>
                      <a:pt x="245" y="234"/>
                      <a:pt x="250" y="239"/>
                      <a:pt x="257" y="239"/>
                    </a:cubicBezTo>
                    <a:cubicBezTo>
                      <a:pt x="264" y="239"/>
                      <a:pt x="269" y="234"/>
                      <a:pt x="269" y="227"/>
                    </a:cubicBezTo>
                    <a:cubicBezTo>
                      <a:pt x="269" y="220"/>
                      <a:pt x="264" y="215"/>
                      <a:pt x="257" y="215"/>
                    </a:cubicBezTo>
                    <a:close/>
                    <a:moveTo>
                      <a:pt x="257" y="277"/>
                    </a:moveTo>
                    <a:cubicBezTo>
                      <a:pt x="250" y="277"/>
                      <a:pt x="245" y="282"/>
                      <a:pt x="245" y="289"/>
                    </a:cubicBezTo>
                    <a:cubicBezTo>
                      <a:pt x="245" y="295"/>
                      <a:pt x="250" y="301"/>
                      <a:pt x="257" y="301"/>
                    </a:cubicBezTo>
                    <a:cubicBezTo>
                      <a:pt x="264" y="301"/>
                      <a:pt x="269" y="295"/>
                      <a:pt x="269" y="289"/>
                    </a:cubicBezTo>
                    <a:cubicBezTo>
                      <a:pt x="269" y="282"/>
                      <a:pt x="264" y="277"/>
                      <a:pt x="257" y="277"/>
                    </a:cubicBezTo>
                    <a:close/>
                    <a:moveTo>
                      <a:pt x="257" y="307"/>
                    </a:moveTo>
                    <a:cubicBezTo>
                      <a:pt x="250" y="307"/>
                      <a:pt x="245" y="313"/>
                      <a:pt x="245" y="319"/>
                    </a:cubicBezTo>
                    <a:cubicBezTo>
                      <a:pt x="245" y="326"/>
                      <a:pt x="250" y="332"/>
                      <a:pt x="257" y="332"/>
                    </a:cubicBezTo>
                    <a:cubicBezTo>
                      <a:pt x="264" y="332"/>
                      <a:pt x="269" y="326"/>
                      <a:pt x="269" y="319"/>
                    </a:cubicBezTo>
                    <a:cubicBezTo>
                      <a:pt x="269" y="313"/>
                      <a:pt x="264" y="307"/>
                      <a:pt x="257" y="307"/>
                    </a:cubicBezTo>
                    <a:close/>
                    <a:moveTo>
                      <a:pt x="257" y="461"/>
                    </a:moveTo>
                    <a:cubicBezTo>
                      <a:pt x="250" y="461"/>
                      <a:pt x="245" y="466"/>
                      <a:pt x="245" y="473"/>
                    </a:cubicBezTo>
                    <a:cubicBezTo>
                      <a:pt x="245" y="480"/>
                      <a:pt x="250" y="485"/>
                      <a:pt x="257" y="485"/>
                    </a:cubicBezTo>
                    <a:cubicBezTo>
                      <a:pt x="264" y="485"/>
                      <a:pt x="269" y="480"/>
                      <a:pt x="269" y="473"/>
                    </a:cubicBezTo>
                    <a:cubicBezTo>
                      <a:pt x="269" y="466"/>
                      <a:pt x="264" y="461"/>
                      <a:pt x="257" y="461"/>
                    </a:cubicBezTo>
                    <a:close/>
                    <a:moveTo>
                      <a:pt x="292" y="92"/>
                    </a:moveTo>
                    <a:cubicBezTo>
                      <a:pt x="285" y="92"/>
                      <a:pt x="280" y="98"/>
                      <a:pt x="280" y="104"/>
                    </a:cubicBezTo>
                    <a:cubicBezTo>
                      <a:pt x="280" y="111"/>
                      <a:pt x="285" y="116"/>
                      <a:pt x="292" y="116"/>
                    </a:cubicBezTo>
                    <a:cubicBezTo>
                      <a:pt x="299" y="116"/>
                      <a:pt x="304" y="111"/>
                      <a:pt x="304" y="104"/>
                    </a:cubicBezTo>
                    <a:cubicBezTo>
                      <a:pt x="304" y="98"/>
                      <a:pt x="299" y="92"/>
                      <a:pt x="292" y="92"/>
                    </a:cubicBezTo>
                    <a:close/>
                    <a:moveTo>
                      <a:pt x="292" y="61"/>
                    </a:moveTo>
                    <a:cubicBezTo>
                      <a:pt x="285" y="61"/>
                      <a:pt x="280" y="67"/>
                      <a:pt x="280" y="73"/>
                    </a:cubicBezTo>
                    <a:cubicBezTo>
                      <a:pt x="280" y="80"/>
                      <a:pt x="285" y="86"/>
                      <a:pt x="292" y="86"/>
                    </a:cubicBezTo>
                    <a:cubicBezTo>
                      <a:pt x="299" y="86"/>
                      <a:pt x="304" y="80"/>
                      <a:pt x="304" y="73"/>
                    </a:cubicBezTo>
                    <a:cubicBezTo>
                      <a:pt x="304" y="67"/>
                      <a:pt x="299" y="61"/>
                      <a:pt x="292" y="61"/>
                    </a:cubicBezTo>
                    <a:close/>
                    <a:moveTo>
                      <a:pt x="292" y="123"/>
                    </a:moveTo>
                    <a:cubicBezTo>
                      <a:pt x="285" y="123"/>
                      <a:pt x="280" y="128"/>
                      <a:pt x="280" y="135"/>
                    </a:cubicBezTo>
                    <a:cubicBezTo>
                      <a:pt x="280" y="142"/>
                      <a:pt x="285" y="147"/>
                      <a:pt x="292" y="147"/>
                    </a:cubicBezTo>
                    <a:cubicBezTo>
                      <a:pt x="299" y="147"/>
                      <a:pt x="304" y="142"/>
                      <a:pt x="304" y="135"/>
                    </a:cubicBezTo>
                    <a:cubicBezTo>
                      <a:pt x="304" y="128"/>
                      <a:pt x="299" y="123"/>
                      <a:pt x="292" y="123"/>
                    </a:cubicBezTo>
                    <a:close/>
                    <a:moveTo>
                      <a:pt x="292" y="338"/>
                    </a:moveTo>
                    <a:cubicBezTo>
                      <a:pt x="285" y="338"/>
                      <a:pt x="280" y="343"/>
                      <a:pt x="280" y="350"/>
                    </a:cubicBezTo>
                    <a:cubicBezTo>
                      <a:pt x="280" y="357"/>
                      <a:pt x="285" y="362"/>
                      <a:pt x="292" y="362"/>
                    </a:cubicBezTo>
                    <a:cubicBezTo>
                      <a:pt x="299" y="362"/>
                      <a:pt x="304" y="357"/>
                      <a:pt x="304" y="350"/>
                    </a:cubicBezTo>
                    <a:cubicBezTo>
                      <a:pt x="304" y="343"/>
                      <a:pt x="299" y="338"/>
                      <a:pt x="292" y="338"/>
                    </a:cubicBezTo>
                    <a:close/>
                    <a:moveTo>
                      <a:pt x="292" y="246"/>
                    </a:moveTo>
                    <a:cubicBezTo>
                      <a:pt x="285" y="246"/>
                      <a:pt x="280" y="251"/>
                      <a:pt x="280" y="258"/>
                    </a:cubicBezTo>
                    <a:cubicBezTo>
                      <a:pt x="280" y="265"/>
                      <a:pt x="285" y="270"/>
                      <a:pt x="292" y="270"/>
                    </a:cubicBezTo>
                    <a:cubicBezTo>
                      <a:pt x="299" y="270"/>
                      <a:pt x="304" y="265"/>
                      <a:pt x="304" y="258"/>
                    </a:cubicBezTo>
                    <a:cubicBezTo>
                      <a:pt x="304" y="251"/>
                      <a:pt x="299" y="246"/>
                      <a:pt x="292" y="246"/>
                    </a:cubicBezTo>
                    <a:close/>
                    <a:moveTo>
                      <a:pt x="292" y="277"/>
                    </a:moveTo>
                    <a:cubicBezTo>
                      <a:pt x="285" y="277"/>
                      <a:pt x="280" y="282"/>
                      <a:pt x="280" y="289"/>
                    </a:cubicBezTo>
                    <a:cubicBezTo>
                      <a:pt x="280" y="295"/>
                      <a:pt x="285" y="301"/>
                      <a:pt x="292" y="301"/>
                    </a:cubicBezTo>
                    <a:cubicBezTo>
                      <a:pt x="299" y="301"/>
                      <a:pt x="304" y="295"/>
                      <a:pt x="304" y="289"/>
                    </a:cubicBezTo>
                    <a:cubicBezTo>
                      <a:pt x="304" y="282"/>
                      <a:pt x="299" y="277"/>
                      <a:pt x="292" y="277"/>
                    </a:cubicBezTo>
                    <a:close/>
                    <a:moveTo>
                      <a:pt x="292" y="307"/>
                    </a:moveTo>
                    <a:cubicBezTo>
                      <a:pt x="285" y="307"/>
                      <a:pt x="280" y="313"/>
                      <a:pt x="280" y="319"/>
                    </a:cubicBezTo>
                    <a:cubicBezTo>
                      <a:pt x="280" y="326"/>
                      <a:pt x="285" y="332"/>
                      <a:pt x="292" y="332"/>
                    </a:cubicBezTo>
                    <a:cubicBezTo>
                      <a:pt x="299" y="332"/>
                      <a:pt x="304" y="326"/>
                      <a:pt x="304" y="319"/>
                    </a:cubicBezTo>
                    <a:cubicBezTo>
                      <a:pt x="304" y="313"/>
                      <a:pt x="299" y="307"/>
                      <a:pt x="292" y="307"/>
                    </a:cubicBezTo>
                    <a:close/>
                    <a:moveTo>
                      <a:pt x="292" y="369"/>
                    </a:moveTo>
                    <a:cubicBezTo>
                      <a:pt x="285" y="369"/>
                      <a:pt x="280" y="374"/>
                      <a:pt x="280" y="381"/>
                    </a:cubicBezTo>
                    <a:cubicBezTo>
                      <a:pt x="280" y="388"/>
                      <a:pt x="285" y="393"/>
                      <a:pt x="292" y="393"/>
                    </a:cubicBezTo>
                    <a:cubicBezTo>
                      <a:pt x="299" y="393"/>
                      <a:pt x="304" y="388"/>
                      <a:pt x="304" y="381"/>
                    </a:cubicBezTo>
                    <a:cubicBezTo>
                      <a:pt x="304" y="374"/>
                      <a:pt x="299" y="369"/>
                      <a:pt x="292" y="369"/>
                    </a:cubicBezTo>
                    <a:close/>
                    <a:moveTo>
                      <a:pt x="47" y="492"/>
                    </a:moveTo>
                    <a:cubicBezTo>
                      <a:pt x="40" y="492"/>
                      <a:pt x="35" y="497"/>
                      <a:pt x="35" y="504"/>
                    </a:cubicBezTo>
                    <a:cubicBezTo>
                      <a:pt x="35" y="511"/>
                      <a:pt x="40" y="516"/>
                      <a:pt x="47" y="516"/>
                    </a:cubicBezTo>
                    <a:cubicBezTo>
                      <a:pt x="54" y="516"/>
                      <a:pt x="59" y="511"/>
                      <a:pt x="59" y="504"/>
                    </a:cubicBezTo>
                    <a:cubicBezTo>
                      <a:pt x="59" y="497"/>
                      <a:pt x="54" y="492"/>
                      <a:pt x="47" y="492"/>
                    </a:cubicBezTo>
                    <a:close/>
                    <a:moveTo>
                      <a:pt x="47" y="461"/>
                    </a:moveTo>
                    <a:cubicBezTo>
                      <a:pt x="40" y="461"/>
                      <a:pt x="35" y="466"/>
                      <a:pt x="35" y="473"/>
                    </a:cubicBezTo>
                    <a:cubicBezTo>
                      <a:pt x="35" y="480"/>
                      <a:pt x="40" y="485"/>
                      <a:pt x="47" y="485"/>
                    </a:cubicBezTo>
                    <a:cubicBezTo>
                      <a:pt x="54" y="485"/>
                      <a:pt x="59" y="480"/>
                      <a:pt x="59" y="473"/>
                    </a:cubicBezTo>
                    <a:cubicBezTo>
                      <a:pt x="59" y="466"/>
                      <a:pt x="54" y="461"/>
                      <a:pt x="47" y="461"/>
                    </a:cubicBezTo>
                    <a:close/>
                    <a:moveTo>
                      <a:pt x="47" y="522"/>
                    </a:moveTo>
                    <a:cubicBezTo>
                      <a:pt x="40" y="522"/>
                      <a:pt x="35" y="528"/>
                      <a:pt x="35" y="535"/>
                    </a:cubicBezTo>
                    <a:cubicBezTo>
                      <a:pt x="35" y="541"/>
                      <a:pt x="40" y="547"/>
                      <a:pt x="47" y="547"/>
                    </a:cubicBezTo>
                    <a:cubicBezTo>
                      <a:pt x="54" y="547"/>
                      <a:pt x="59" y="541"/>
                      <a:pt x="59" y="535"/>
                    </a:cubicBezTo>
                    <a:cubicBezTo>
                      <a:pt x="59" y="528"/>
                      <a:pt x="54" y="522"/>
                      <a:pt x="47" y="522"/>
                    </a:cubicBezTo>
                    <a:close/>
                    <a:moveTo>
                      <a:pt x="47" y="430"/>
                    </a:moveTo>
                    <a:cubicBezTo>
                      <a:pt x="40" y="430"/>
                      <a:pt x="35" y="436"/>
                      <a:pt x="35" y="442"/>
                    </a:cubicBezTo>
                    <a:cubicBezTo>
                      <a:pt x="35" y="449"/>
                      <a:pt x="40" y="455"/>
                      <a:pt x="47" y="455"/>
                    </a:cubicBezTo>
                    <a:cubicBezTo>
                      <a:pt x="54" y="455"/>
                      <a:pt x="59" y="449"/>
                      <a:pt x="59" y="442"/>
                    </a:cubicBezTo>
                    <a:cubicBezTo>
                      <a:pt x="59" y="436"/>
                      <a:pt x="54" y="430"/>
                      <a:pt x="47" y="430"/>
                    </a:cubicBezTo>
                    <a:close/>
                    <a:moveTo>
                      <a:pt x="152" y="399"/>
                    </a:moveTo>
                    <a:cubicBezTo>
                      <a:pt x="145" y="399"/>
                      <a:pt x="140" y="405"/>
                      <a:pt x="140" y="412"/>
                    </a:cubicBezTo>
                    <a:cubicBezTo>
                      <a:pt x="140" y="418"/>
                      <a:pt x="145" y="424"/>
                      <a:pt x="152" y="424"/>
                    </a:cubicBezTo>
                    <a:cubicBezTo>
                      <a:pt x="159" y="424"/>
                      <a:pt x="164" y="418"/>
                      <a:pt x="164" y="412"/>
                    </a:cubicBezTo>
                    <a:cubicBezTo>
                      <a:pt x="164" y="405"/>
                      <a:pt x="159" y="399"/>
                      <a:pt x="152" y="399"/>
                    </a:cubicBezTo>
                    <a:close/>
                    <a:moveTo>
                      <a:pt x="47" y="399"/>
                    </a:moveTo>
                    <a:cubicBezTo>
                      <a:pt x="40" y="399"/>
                      <a:pt x="35" y="405"/>
                      <a:pt x="35" y="412"/>
                    </a:cubicBezTo>
                    <a:cubicBezTo>
                      <a:pt x="35" y="418"/>
                      <a:pt x="40" y="424"/>
                      <a:pt x="47" y="424"/>
                    </a:cubicBezTo>
                    <a:cubicBezTo>
                      <a:pt x="54" y="424"/>
                      <a:pt x="59" y="418"/>
                      <a:pt x="59" y="412"/>
                    </a:cubicBezTo>
                    <a:cubicBezTo>
                      <a:pt x="59" y="405"/>
                      <a:pt x="54" y="399"/>
                      <a:pt x="47" y="399"/>
                    </a:cubicBezTo>
                    <a:close/>
                    <a:moveTo>
                      <a:pt x="47" y="0"/>
                    </a:moveTo>
                    <a:cubicBezTo>
                      <a:pt x="40" y="0"/>
                      <a:pt x="35" y="5"/>
                      <a:pt x="35" y="12"/>
                    </a:cubicBezTo>
                    <a:cubicBezTo>
                      <a:pt x="35" y="19"/>
                      <a:pt x="40" y="24"/>
                      <a:pt x="47" y="24"/>
                    </a:cubicBezTo>
                    <a:cubicBezTo>
                      <a:pt x="54" y="24"/>
                      <a:pt x="59" y="19"/>
                      <a:pt x="59" y="12"/>
                    </a:cubicBezTo>
                    <a:cubicBezTo>
                      <a:pt x="59" y="5"/>
                      <a:pt x="54" y="0"/>
                      <a:pt x="47" y="0"/>
                    </a:cubicBezTo>
                    <a:close/>
                    <a:moveTo>
                      <a:pt x="47" y="31"/>
                    </a:moveTo>
                    <a:cubicBezTo>
                      <a:pt x="40" y="31"/>
                      <a:pt x="35" y="36"/>
                      <a:pt x="35" y="43"/>
                    </a:cubicBezTo>
                    <a:cubicBezTo>
                      <a:pt x="35" y="49"/>
                      <a:pt x="40" y="55"/>
                      <a:pt x="47" y="55"/>
                    </a:cubicBezTo>
                    <a:cubicBezTo>
                      <a:pt x="54" y="55"/>
                      <a:pt x="59" y="49"/>
                      <a:pt x="59" y="43"/>
                    </a:cubicBezTo>
                    <a:cubicBezTo>
                      <a:pt x="59" y="36"/>
                      <a:pt x="54" y="31"/>
                      <a:pt x="47" y="31"/>
                    </a:cubicBezTo>
                    <a:close/>
                    <a:moveTo>
                      <a:pt x="47" y="307"/>
                    </a:moveTo>
                    <a:cubicBezTo>
                      <a:pt x="40" y="307"/>
                      <a:pt x="35" y="313"/>
                      <a:pt x="35" y="319"/>
                    </a:cubicBezTo>
                    <a:cubicBezTo>
                      <a:pt x="35" y="326"/>
                      <a:pt x="40" y="332"/>
                      <a:pt x="47" y="332"/>
                    </a:cubicBezTo>
                    <a:cubicBezTo>
                      <a:pt x="54" y="332"/>
                      <a:pt x="59" y="326"/>
                      <a:pt x="59" y="319"/>
                    </a:cubicBezTo>
                    <a:cubicBezTo>
                      <a:pt x="59" y="313"/>
                      <a:pt x="54" y="307"/>
                      <a:pt x="47" y="307"/>
                    </a:cubicBezTo>
                    <a:close/>
                    <a:moveTo>
                      <a:pt x="47" y="369"/>
                    </a:moveTo>
                    <a:cubicBezTo>
                      <a:pt x="40" y="369"/>
                      <a:pt x="35" y="374"/>
                      <a:pt x="35" y="381"/>
                    </a:cubicBezTo>
                    <a:cubicBezTo>
                      <a:pt x="35" y="388"/>
                      <a:pt x="40" y="393"/>
                      <a:pt x="47" y="393"/>
                    </a:cubicBezTo>
                    <a:cubicBezTo>
                      <a:pt x="54" y="393"/>
                      <a:pt x="59" y="388"/>
                      <a:pt x="59" y="381"/>
                    </a:cubicBezTo>
                    <a:cubicBezTo>
                      <a:pt x="59" y="374"/>
                      <a:pt x="54" y="369"/>
                      <a:pt x="47" y="369"/>
                    </a:cubicBezTo>
                    <a:close/>
                    <a:moveTo>
                      <a:pt x="47" y="277"/>
                    </a:moveTo>
                    <a:cubicBezTo>
                      <a:pt x="40" y="277"/>
                      <a:pt x="35" y="282"/>
                      <a:pt x="35" y="289"/>
                    </a:cubicBezTo>
                    <a:cubicBezTo>
                      <a:pt x="35" y="295"/>
                      <a:pt x="40" y="301"/>
                      <a:pt x="47" y="301"/>
                    </a:cubicBezTo>
                    <a:cubicBezTo>
                      <a:pt x="54" y="301"/>
                      <a:pt x="59" y="295"/>
                      <a:pt x="59" y="289"/>
                    </a:cubicBezTo>
                    <a:cubicBezTo>
                      <a:pt x="59" y="282"/>
                      <a:pt x="54" y="277"/>
                      <a:pt x="47" y="277"/>
                    </a:cubicBezTo>
                    <a:close/>
                    <a:moveTo>
                      <a:pt x="47" y="338"/>
                    </a:moveTo>
                    <a:cubicBezTo>
                      <a:pt x="40" y="338"/>
                      <a:pt x="35" y="343"/>
                      <a:pt x="35" y="350"/>
                    </a:cubicBezTo>
                    <a:cubicBezTo>
                      <a:pt x="35" y="357"/>
                      <a:pt x="40" y="362"/>
                      <a:pt x="47" y="362"/>
                    </a:cubicBezTo>
                    <a:cubicBezTo>
                      <a:pt x="54" y="362"/>
                      <a:pt x="59" y="357"/>
                      <a:pt x="59" y="350"/>
                    </a:cubicBezTo>
                    <a:cubicBezTo>
                      <a:pt x="59" y="343"/>
                      <a:pt x="54" y="338"/>
                      <a:pt x="47" y="338"/>
                    </a:cubicBezTo>
                    <a:close/>
                    <a:moveTo>
                      <a:pt x="47" y="184"/>
                    </a:moveTo>
                    <a:cubicBezTo>
                      <a:pt x="40" y="184"/>
                      <a:pt x="35" y="190"/>
                      <a:pt x="35" y="196"/>
                    </a:cubicBezTo>
                    <a:cubicBezTo>
                      <a:pt x="35" y="203"/>
                      <a:pt x="40" y="209"/>
                      <a:pt x="47" y="209"/>
                    </a:cubicBezTo>
                    <a:cubicBezTo>
                      <a:pt x="54" y="209"/>
                      <a:pt x="59" y="203"/>
                      <a:pt x="59" y="196"/>
                    </a:cubicBezTo>
                    <a:cubicBezTo>
                      <a:pt x="59" y="190"/>
                      <a:pt x="54" y="184"/>
                      <a:pt x="47" y="184"/>
                    </a:cubicBezTo>
                    <a:close/>
                    <a:moveTo>
                      <a:pt x="47" y="154"/>
                    </a:moveTo>
                    <a:cubicBezTo>
                      <a:pt x="40" y="154"/>
                      <a:pt x="35" y="159"/>
                      <a:pt x="35" y="166"/>
                    </a:cubicBezTo>
                    <a:cubicBezTo>
                      <a:pt x="35" y="172"/>
                      <a:pt x="40" y="178"/>
                      <a:pt x="47" y="178"/>
                    </a:cubicBezTo>
                    <a:cubicBezTo>
                      <a:pt x="54" y="178"/>
                      <a:pt x="59" y="172"/>
                      <a:pt x="59" y="166"/>
                    </a:cubicBezTo>
                    <a:cubicBezTo>
                      <a:pt x="59" y="159"/>
                      <a:pt x="54" y="154"/>
                      <a:pt x="47" y="154"/>
                    </a:cubicBezTo>
                    <a:close/>
                    <a:moveTo>
                      <a:pt x="47" y="246"/>
                    </a:moveTo>
                    <a:cubicBezTo>
                      <a:pt x="40" y="246"/>
                      <a:pt x="35" y="251"/>
                      <a:pt x="35" y="258"/>
                    </a:cubicBezTo>
                    <a:cubicBezTo>
                      <a:pt x="35" y="265"/>
                      <a:pt x="40" y="270"/>
                      <a:pt x="47" y="270"/>
                    </a:cubicBezTo>
                    <a:cubicBezTo>
                      <a:pt x="54" y="270"/>
                      <a:pt x="59" y="265"/>
                      <a:pt x="59" y="258"/>
                    </a:cubicBezTo>
                    <a:cubicBezTo>
                      <a:pt x="59" y="251"/>
                      <a:pt x="54" y="246"/>
                      <a:pt x="47" y="246"/>
                    </a:cubicBezTo>
                    <a:close/>
                    <a:moveTo>
                      <a:pt x="47" y="215"/>
                    </a:moveTo>
                    <a:cubicBezTo>
                      <a:pt x="40" y="215"/>
                      <a:pt x="35" y="220"/>
                      <a:pt x="35" y="227"/>
                    </a:cubicBezTo>
                    <a:cubicBezTo>
                      <a:pt x="35" y="234"/>
                      <a:pt x="40" y="239"/>
                      <a:pt x="47" y="239"/>
                    </a:cubicBezTo>
                    <a:cubicBezTo>
                      <a:pt x="54" y="239"/>
                      <a:pt x="59" y="234"/>
                      <a:pt x="59" y="227"/>
                    </a:cubicBezTo>
                    <a:cubicBezTo>
                      <a:pt x="59" y="220"/>
                      <a:pt x="54" y="215"/>
                      <a:pt x="47" y="215"/>
                    </a:cubicBezTo>
                    <a:close/>
                    <a:moveTo>
                      <a:pt x="12" y="0"/>
                    </a:moveTo>
                    <a:cubicBezTo>
                      <a:pt x="5" y="0"/>
                      <a:pt x="0" y="5"/>
                      <a:pt x="0" y="12"/>
                    </a:cubicBezTo>
                    <a:cubicBezTo>
                      <a:pt x="0" y="19"/>
                      <a:pt x="5" y="24"/>
                      <a:pt x="12" y="24"/>
                    </a:cubicBezTo>
                    <a:cubicBezTo>
                      <a:pt x="19" y="24"/>
                      <a:pt x="24" y="19"/>
                      <a:pt x="24" y="12"/>
                    </a:cubicBezTo>
                    <a:cubicBezTo>
                      <a:pt x="24" y="5"/>
                      <a:pt x="19" y="0"/>
                      <a:pt x="12" y="0"/>
                    </a:cubicBezTo>
                    <a:close/>
                    <a:moveTo>
                      <a:pt x="12" y="31"/>
                    </a:moveTo>
                    <a:cubicBezTo>
                      <a:pt x="5" y="31"/>
                      <a:pt x="0" y="36"/>
                      <a:pt x="0" y="43"/>
                    </a:cubicBezTo>
                    <a:cubicBezTo>
                      <a:pt x="0" y="49"/>
                      <a:pt x="5" y="55"/>
                      <a:pt x="12" y="55"/>
                    </a:cubicBezTo>
                    <a:cubicBezTo>
                      <a:pt x="19" y="55"/>
                      <a:pt x="24" y="49"/>
                      <a:pt x="24" y="43"/>
                    </a:cubicBezTo>
                    <a:cubicBezTo>
                      <a:pt x="24" y="36"/>
                      <a:pt x="19" y="31"/>
                      <a:pt x="12" y="31"/>
                    </a:cubicBezTo>
                    <a:close/>
                    <a:moveTo>
                      <a:pt x="117" y="430"/>
                    </a:moveTo>
                    <a:cubicBezTo>
                      <a:pt x="110" y="430"/>
                      <a:pt x="105" y="436"/>
                      <a:pt x="105" y="442"/>
                    </a:cubicBezTo>
                    <a:cubicBezTo>
                      <a:pt x="105" y="449"/>
                      <a:pt x="110" y="455"/>
                      <a:pt x="117" y="455"/>
                    </a:cubicBezTo>
                    <a:cubicBezTo>
                      <a:pt x="124" y="455"/>
                      <a:pt x="129" y="449"/>
                      <a:pt x="129" y="442"/>
                    </a:cubicBezTo>
                    <a:cubicBezTo>
                      <a:pt x="129" y="436"/>
                      <a:pt x="124" y="430"/>
                      <a:pt x="117" y="430"/>
                    </a:cubicBezTo>
                    <a:close/>
                    <a:moveTo>
                      <a:pt x="117" y="492"/>
                    </a:moveTo>
                    <a:cubicBezTo>
                      <a:pt x="110" y="492"/>
                      <a:pt x="105" y="497"/>
                      <a:pt x="105" y="504"/>
                    </a:cubicBezTo>
                    <a:cubicBezTo>
                      <a:pt x="105" y="511"/>
                      <a:pt x="110" y="516"/>
                      <a:pt x="117" y="516"/>
                    </a:cubicBezTo>
                    <a:cubicBezTo>
                      <a:pt x="124" y="516"/>
                      <a:pt x="129" y="511"/>
                      <a:pt x="129" y="504"/>
                    </a:cubicBezTo>
                    <a:cubicBezTo>
                      <a:pt x="129" y="497"/>
                      <a:pt x="124" y="492"/>
                      <a:pt x="117" y="492"/>
                    </a:cubicBezTo>
                    <a:close/>
                    <a:moveTo>
                      <a:pt x="117" y="461"/>
                    </a:moveTo>
                    <a:cubicBezTo>
                      <a:pt x="110" y="461"/>
                      <a:pt x="105" y="466"/>
                      <a:pt x="105" y="473"/>
                    </a:cubicBezTo>
                    <a:cubicBezTo>
                      <a:pt x="105" y="480"/>
                      <a:pt x="110" y="485"/>
                      <a:pt x="117" y="485"/>
                    </a:cubicBezTo>
                    <a:cubicBezTo>
                      <a:pt x="124" y="485"/>
                      <a:pt x="129" y="480"/>
                      <a:pt x="129" y="473"/>
                    </a:cubicBezTo>
                    <a:cubicBezTo>
                      <a:pt x="129" y="466"/>
                      <a:pt x="124" y="461"/>
                      <a:pt x="117" y="461"/>
                    </a:cubicBezTo>
                    <a:close/>
                    <a:moveTo>
                      <a:pt x="117" y="522"/>
                    </a:moveTo>
                    <a:cubicBezTo>
                      <a:pt x="110" y="522"/>
                      <a:pt x="105" y="528"/>
                      <a:pt x="105" y="535"/>
                    </a:cubicBezTo>
                    <a:cubicBezTo>
                      <a:pt x="105" y="541"/>
                      <a:pt x="110" y="547"/>
                      <a:pt x="117" y="547"/>
                    </a:cubicBezTo>
                    <a:cubicBezTo>
                      <a:pt x="124" y="547"/>
                      <a:pt x="129" y="541"/>
                      <a:pt x="129" y="535"/>
                    </a:cubicBezTo>
                    <a:cubicBezTo>
                      <a:pt x="129" y="528"/>
                      <a:pt x="124" y="522"/>
                      <a:pt x="117" y="522"/>
                    </a:cubicBezTo>
                    <a:close/>
                    <a:moveTo>
                      <a:pt x="117" y="338"/>
                    </a:moveTo>
                    <a:cubicBezTo>
                      <a:pt x="110" y="338"/>
                      <a:pt x="105" y="343"/>
                      <a:pt x="105" y="350"/>
                    </a:cubicBezTo>
                    <a:cubicBezTo>
                      <a:pt x="105" y="357"/>
                      <a:pt x="110" y="362"/>
                      <a:pt x="117" y="362"/>
                    </a:cubicBezTo>
                    <a:cubicBezTo>
                      <a:pt x="124" y="362"/>
                      <a:pt x="129" y="357"/>
                      <a:pt x="129" y="350"/>
                    </a:cubicBezTo>
                    <a:cubicBezTo>
                      <a:pt x="129" y="343"/>
                      <a:pt x="124" y="338"/>
                      <a:pt x="117" y="338"/>
                    </a:cubicBezTo>
                    <a:close/>
                    <a:moveTo>
                      <a:pt x="117" y="399"/>
                    </a:moveTo>
                    <a:cubicBezTo>
                      <a:pt x="110" y="399"/>
                      <a:pt x="105" y="405"/>
                      <a:pt x="105" y="412"/>
                    </a:cubicBezTo>
                    <a:cubicBezTo>
                      <a:pt x="105" y="418"/>
                      <a:pt x="110" y="424"/>
                      <a:pt x="117" y="424"/>
                    </a:cubicBezTo>
                    <a:cubicBezTo>
                      <a:pt x="124" y="424"/>
                      <a:pt x="129" y="418"/>
                      <a:pt x="129" y="412"/>
                    </a:cubicBezTo>
                    <a:cubicBezTo>
                      <a:pt x="129" y="405"/>
                      <a:pt x="124" y="399"/>
                      <a:pt x="117" y="399"/>
                    </a:cubicBezTo>
                    <a:close/>
                    <a:moveTo>
                      <a:pt x="117" y="154"/>
                    </a:moveTo>
                    <a:cubicBezTo>
                      <a:pt x="110" y="154"/>
                      <a:pt x="105" y="159"/>
                      <a:pt x="105" y="166"/>
                    </a:cubicBezTo>
                    <a:cubicBezTo>
                      <a:pt x="105" y="172"/>
                      <a:pt x="110" y="178"/>
                      <a:pt x="117" y="178"/>
                    </a:cubicBezTo>
                    <a:cubicBezTo>
                      <a:pt x="124" y="178"/>
                      <a:pt x="129" y="172"/>
                      <a:pt x="129" y="166"/>
                    </a:cubicBezTo>
                    <a:cubicBezTo>
                      <a:pt x="129" y="159"/>
                      <a:pt x="124" y="154"/>
                      <a:pt x="117" y="154"/>
                    </a:cubicBezTo>
                    <a:close/>
                    <a:moveTo>
                      <a:pt x="117" y="369"/>
                    </a:moveTo>
                    <a:cubicBezTo>
                      <a:pt x="110" y="369"/>
                      <a:pt x="105" y="374"/>
                      <a:pt x="105" y="381"/>
                    </a:cubicBezTo>
                    <a:cubicBezTo>
                      <a:pt x="105" y="388"/>
                      <a:pt x="110" y="393"/>
                      <a:pt x="117" y="393"/>
                    </a:cubicBezTo>
                    <a:cubicBezTo>
                      <a:pt x="124" y="393"/>
                      <a:pt x="129" y="388"/>
                      <a:pt x="129" y="381"/>
                    </a:cubicBezTo>
                    <a:cubicBezTo>
                      <a:pt x="129" y="374"/>
                      <a:pt x="124" y="369"/>
                      <a:pt x="117" y="369"/>
                    </a:cubicBezTo>
                    <a:close/>
                    <a:moveTo>
                      <a:pt x="152" y="461"/>
                    </a:moveTo>
                    <a:cubicBezTo>
                      <a:pt x="145" y="461"/>
                      <a:pt x="140" y="466"/>
                      <a:pt x="140" y="473"/>
                    </a:cubicBezTo>
                    <a:cubicBezTo>
                      <a:pt x="140" y="480"/>
                      <a:pt x="145" y="485"/>
                      <a:pt x="152" y="485"/>
                    </a:cubicBezTo>
                    <a:cubicBezTo>
                      <a:pt x="159" y="485"/>
                      <a:pt x="164" y="480"/>
                      <a:pt x="164" y="473"/>
                    </a:cubicBezTo>
                    <a:cubicBezTo>
                      <a:pt x="164" y="466"/>
                      <a:pt x="159" y="461"/>
                      <a:pt x="152" y="461"/>
                    </a:cubicBezTo>
                    <a:close/>
                    <a:moveTo>
                      <a:pt x="152" y="492"/>
                    </a:moveTo>
                    <a:cubicBezTo>
                      <a:pt x="145" y="492"/>
                      <a:pt x="140" y="497"/>
                      <a:pt x="140" y="504"/>
                    </a:cubicBezTo>
                    <a:cubicBezTo>
                      <a:pt x="140" y="511"/>
                      <a:pt x="145" y="516"/>
                      <a:pt x="152" y="516"/>
                    </a:cubicBezTo>
                    <a:cubicBezTo>
                      <a:pt x="159" y="516"/>
                      <a:pt x="164" y="511"/>
                      <a:pt x="164" y="504"/>
                    </a:cubicBezTo>
                    <a:cubicBezTo>
                      <a:pt x="164" y="497"/>
                      <a:pt x="159" y="492"/>
                      <a:pt x="152" y="492"/>
                    </a:cubicBezTo>
                    <a:close/>
                    <a:moveTo>
                      <a:pt x="152" y="522"/>
                    </a:moveTo>
                    <a:cubicBezTo>
                      <a:pt x="145" y="522"/>
                      <a:pt x="140" y="528"/>
                      <a:pt x="140" y="535"/>
                    </a:cubicBezTo>
                    <a:cubicBezTo>
                      <a:pt x="140" y="541"/>
                      <a:pt x="145" y="547"/>
                      <a:pt x="152" y="547"/>
                    </a:cubicBezTo>
                    <a:cubicBezTo>
                      <a:pt x="159" y="547"/>
                      <a:pt x="164" y="541"/>
                      <a:pt x="164" y="535"/>
                    </a:cubicBezTo>
                    <a:cubicBezTo>
                      <a:pt x="164" y="528"/>
                      <a:pt x="159" y="522"/>
                      <a:pt x="152" y="522"/>
                    </a:cubicBezTo>
                    <a:close/>
                    <a:moveTo>
                      <a:pt x="152" y="430"/>
                    </a:moveTo>
                    <a:cubicBezTo>
                      <a:pt x="145" y="430"/>
                      <a:pt x="140" y="436"/>
                      <a:pt x="140" y="442"/>
                    </a:cubicBezTo>
                    <a:cubicBezTo>
                      <a:pt x="140" y="449"/>
                      <a:pt x="145" y="455"/>
                      <a:pt x="152" y="455"/>
                    </a:cubicBezTo>
                    <a:cubicBezTo>
                      <a:pt x="159" y="455"/>
                      <a:pt x="164" y="449"/>
                      <a:pt x="164" y="442"/>
                    </a:cubicBezTo>
                    <a:cubicBezTo>
                      <a:pt x="164" y="436"/>
                      <a:pt x="159" y="430"/>
                      <a:pt x="152" y="430"/>
                    </a:cubicBezTo>
                    <a:close/>
                    <a:moveTo>
                      <a:pt x="117" y="0"/>
                    </a:moveTo>
                    <a:cubicBezTo>
                      <a:pt x="110" y="0"/>
                      <a:pt x="105" y="5"/>
                      <a:pt x="105" y="12"/>
                    </a:cubicBezTo>
                    <a:cubicBezTo>
                      <a:pt x="105" y="19"/>
                      <a:pt x="110" y="24"/>
                      <a:pt x="117" y="24"/>
                    </a:cubicBezTo>
                    <a:cubicBezTo>
                      <a:pt x="124" y="24"/>
                      <a:pt x="129" y="19"/>
                      <a:pt x="129" y="12"/>
                    </a:cubicBezTo>
                    <a:cubicBezTo>
                      <a:pt x="129" y="5"/>
                      <a:pt x="124" y="0"/>
                      <a:pt x="117" y="0"/>
                    </a:cubicBezTo>
                    <a:close/>
                    <a:moveTo>
                      <a:pt x="117" y="31"/>
                    </a:moveTo>
                    <a:cubicBezTo>
                      <a:pt x="110" y="31"/>
                      <a:pt x="105" y="36"/>
                      <a:pt x="105" y="43"/>
                    </a:cubicBezTo>
                    <a:cubicBezTo>
                      <a:pt x="105" y="49"/>
                      <a:pt x="110" y="55"/>
                      <a:pt x="117" y="55"/>
                    </a:cubicBezTo>
                    <a:cubicBezTo>
                      <a:pt x="124" y="55"/>
                      <a:pt x="129" y="49"/>
                      <a:pt x="129" y="43"/>
                    </a:cubicBezTo>
                    <a:cubicBezTo>
                      <a:pt x="129" y="36"/>
                      <a:pt x="124" y="31"/>
                      <a:pt x="117" y="31"/>
                    </a:cubicBezTo>
                    <a:close/>
                    <a:moveTo>
                      <a:pt x="82" y="430"/>
                    </a:moveTo>
                    <a:cubicBezTo>
                      <a:pt x="75" y="430"/>
                      <a:pt x="70" y="436"/>
                      <a:pt x="70" y="442"/>
                    </a:cubicBezTo>
                    <a:cubicBezTo>
                      <a:pt x="70" y="449"/>
                      <a:pt x="75" y="455"/>
                      <a:pt x="82" y="455"/>
                    </a:cubicBezTo>
                    <a:cubicBezTo>
                      <a:pt x="89" y="455"/>
                      <a:pt x="94" y="449"/>
                      <a:pt x="94" y="442"/>
                    </a:cubicBezTo>
                    <a:cubicBezTo>
                      <a:pt x="94" y="436"/>
                      <a:pt x="89" y="430"/>
                      <a:pt x="82" y="430"/>
                    </a:cubicBezTo>
                    <a:close/>
                    <a:moveTo>
                      <a:pt x="82" y="522"/>
                    </a:moveTo>
                    <a:cubicBezTo>
                      <a:pt x="75" y="522"/>
                      <a:pt x="70" y="528"/>
                      <a:pt x="70" y="535"/>
                    </a:cubicBezTo>
                    <a:cubicBezTo>
                      <a:pt x="70" y="541"/>
                      <a:pt x="75" y="547"/>
                      <a:pt x="82" y="547"/>
                    </a:cubicBezTo>
                    <a:cubicBezTo>
                      <a:pt x="89" y="547"/>
                      <a:pt x="94" y="541"/>
                      <a:pt x="94" y="535"/>
                    </a:cubicBezTo>
                    <a:cubicBezTo>
                      <a:pt x="94" y="528"/>
                      <a:pt x="89" y="522"/>
                      <a:pt x="82" y="522"/>
                    </a:cubicBezTo>
                    <a:close/>
                    <a:moveTo>
                      <a:pt x="82" y="461"/>
                    </a:moveTo>
                    <a:cubicBezTo>
                      <a:pt x="75" y="461"/>
                      <a:pt x="70" y="466"/>
                      <a:pt x="70" y="473"/>
                    </a:cubicBezTo>
                    <a:cubicBezTo>
                      <a:pt x="70" y="480"/>
                      <a:pt x="75" y="485"/>
                      <a:pt x="82" y="485"/>
                    </a:cubicBezTo>
                    <a:cubicBezTo>
                      <a:pt x="89" y="485"/>
                      <a:pt x="94" y="480"/>
                      <a:pt x="94" y="473"/>
                    </a:cubicBezTo>
                    <a:cubicBezTo>
                      <a:pt x="94" y="466"/>
                      <a:pt x="89" y="461"/>
                      <a:pt x="82" y="461"/>
                    </a:cubicBezTo>
                    <a:close/>
                    <a:moveTo>
                      <a:pt x="82" y="492"/>
                    </a:moveTo>
                    <a:cubicBezTo>
                      <a:pt x="75" y="492"/>
                      <a:pt x="70" y="497"/>
                      <a:pt x="70" y="504"/>
                    </a:cubicBezTo>
                    <a:cubicBezTo>
                      <a:pt x="70" y="511"/>
                      <a:pt x="75" y="516"/>
                      <a:pt x="82" y="516"/>
                    </a:cubicBezTo>
                    <a:cubicBezTo>
                      <a:pt x="89" y="516"/>
                      <a:pt x="94" y="511"/>
                      <a:pt x="94" y="504"/>
                    </a:cubicBezTo>
                    <a:cubicBezTo>
                      <a:pt x="94" y="497"/>
                      <a:pt x="89" y="492"/>
                      <a:pt x="82" y="492"/>
                    </a:cubicBezTo>
                    <a:close/>
                    <a:moveTo>
                      <a:pt x="82" y="399"/>
                    </a:moveTo>
                    <a:cubicBezTo>
                      <a:pt x="75" y="399"/>
                      <a:pt x="70" y="405"/>
                      <a:pt x="70" y="412"/>
                    </a:cubicBezTo>
                    <a:cubicBezTo>
                      <a:pt x="70" y="418"/>
                      <a:pt x="75" y="424"/>
                      <a:pt x="82" y="424"/>
                    </a:cubicBezTo>
                    <a:cubicBezTo>
                      <a:pt x="89" y="424"/>
                      <a:pt x="94" y="418"/>
                      <a:pt x="94" y="412"/>
                    </a:cubicBezTo>
                    <a:cubicBezTo>
                      <a:pt x="94" y="405"/>
                      <a:pt x="89" y="399"/>
                      <a:pt x="82" y="399"/>
                    </a:cubicBezTo>
                    <a:close/>
                    <a:moveTo>
                      <a:pt x="82" y="369"/>
                    </a:moveTo>
                    <a:cubicBezTo>
                      <a:pt x="75" y="369"/>
                      <a:pt x="70" y="374"/>
                      <a:pt x="70" y="381"/>
                    </a:cubicBezTo>
                    <a:cubicBezTo>
                      <a:pt x="70" y="388"/>
                      <a:pt x="75" y="393"/>
                      <a:pt x="82" y="393"/>
                    </a:cubicBezTo>
                    <a:cubicBezTo>
                      <a:pt x="89" y="393"/>
                      <a:pt x="94" y="388"/>
                      <a:pt x="94" y="381"/>
                    </a:cubicBezTo>
                    <a:cubicBezTo>
                      <a:pt x="94" y="374"/>
                      <a:pt x="89" y="369"/>
                      <a:pt x="82" y="369"/>
                    </a:cubicBezTo>
                    <a:close/>
                    <a:moveTo>
                      <a:pt x="82" y="307"/>
                    </a:moveTo>
                    <a:cubicBezTo>
                      <a:pt x="75" y="307"/>
                      <a:pt x="70" y="313"/>
                      <a:pt x="70" y="319"/>
                    </a:cubicBezTo>
                    <a:cubicBezTo>
                      <a:pt x="70" y="326"/>
                      <a:pt x="75" y="332"/>
                      <a:pt x="82" y="332"/>
                    </a:cubicBezTo>
                    <a:cubicBezTo>
                      <a:pt x="89" y="332"/>
                      <a:pt x="94" y="326"/>
                      <a:pt x="94" y="319"/>
                    </a:cubicBezTo>
                    <a:cubicBezTo>
                      <a:pt x="94" y="313"/>
                      <a:pt x="89" y="307"/>
                      <a:pt x="82" y="307"/>
                    </a:cubicBezTo>
                    <a:close/>
                    <a:moveTo>
                      <a:pt x="82" y="246"/>
                    </a:moveTo>
                    <a:cubicBezTo>
                      <a:pt x="75" y="246"/>
                      <a:pt x="70" y="251"/>
                      <a:pt x="70" y="258"/>
                    </a:cubicBezTo>
                    <a:cubicBezTo>
                      <a:pt x="70" y="265"/>
                      <a:pt x="75" y="270"/>
                      <a:pt x="82" y="270"/>
                    </a:cubicBezTo>
                    <a:cubicBezTo>
                      <a:pt x="89" y="270"/>
                      <a:pt x="94" y="265"/>
                      <a:pt x="94" y="258"/>
                    </a:cubicBezTo>
                    <a:cubicBezTo>
                      <a:pt x="94" y="251"/>
                      <a:pt x="89" y="246"/>
                      <a:pt x="82" y="246"/>
                    </a:cubicBezTo>
                    <a:close/>
                    <a:moveTo>
                      <a:pt x="82" y="277"/>
                    </a:moveTo>
                    <a:cubicBezTo>
                      <a:pt x="75" y="277"/>
                      <a:pt x="70" y="282"/>
                      <a:pt x="70" y="289"/>
                    </a:cubicBezTo>
                    <a:cubicBezTo>
                      <a:pt x="70" y="295"/>
                      <a:pt x="75" y="301"/>
                      <a:pt x="82" y="301"/>
                    </a:cubicBezTo>
                    <a:cubicBezTo>
                      <a:pt x="89" y="301"/>
                      <a:pt x="94" y="295"/>
                      <a:pt x="94" y="289"/>
                    </a:cubicBezTo>
                    <a:cubicBezTo>
                      <a:pt x="94" y="282"/>
                      <a:pt x="89" y="277"/>
                      <a:pt x="82" y="277"/>
                    </a:cubicBezTo>
                    <a:close/>
                    <a:moveTo>
                      <a:pt x="82" y="338"/>
                    </a:moveTo>
                    <a:cubicBezTo>
                      <a:pt x="75" y="338"/>
                      <a:pt x="70" y="343"/>
                      <a:pt x="70" y="350"/>
                    </a:cubicBezTo>
                    <a:cubicBezTo>
                      <a:pt x="70" y="357"/>
                      <a:pt x="75" y="362"/>
                      <a:pt x="82" y="362"/>
                    </a:cubicBezTo>
                    <a:cubicBezTo>
                      <a:pt x="89" y="362"/>
                      <a:pt x="94" y="357"/>
                      <a:pt x="94" y="350"/>
                    </a:cubicBezTo>
                    <a:cubicBezTo>
                      <a:pt x="94" y="343"/>
                      <a:pt x="89" y="338"/>
                      <a:pt x="82" y="338"/>
                    </a:cubicBezTo>
                    <a:close/>
                    <a:moveTo>
                      <a:pt x="82" y="0"/>
                    </a:moveTo>
                    <a:cubicBezTo>
                      <a:pt x="75" y="0"/>
                      <a:pt x="70" y="5"/>
                      <a:pt x="70" y="12"/>
                    </a:cubicBezTo>
                    <a:cubicBezTo>
                      <a:pt x="70" y="19"/>
                      <a:pt x="75" y="24"/>
                      <a:pt x="82" y="24"/>
                    </a:cubicBezTo>
                    <a:cubicBezTo>
                      <a:pt x="89" y="24"/>
                      <a:pt x="94" y="19"/>
                      <a:pt x="94" y="12"/>
                    </a:cubicBezTo>
                    <a:cubicBezTo>
                      <a:pt x="94" y="5"/>
                      <a:pt x="89" y="0"/>
                      <a:pt x="82" y="0"/>
                    </a:cubicBezTo>
                    <a:close/>
                    <a:moveTo>
                      <a:pt x="82" y="31"/>
                    </a:moveTo>
                    <a:cubicBezTo>
                      <a:pt x="75" y="31"/>
                      <a:pt x="70" y="36"/>
                      <a:pt x="70" y="43"/>
                    </a:cubicBezTo>
                    <a:cubicBezTo>
                      <a:pt x="70" y="49"/>
                      <a:pt x="75" y="55"/>
                      <a:pt x="82" y="55"/>
                    </a:cubicBezTo>
                    <a:cubicBezTo>
                      <a:pt x="89" y="55"/>
                      <a:pt x="94" y="49"/>
                      <a:pt x="94" y="43"/>
                    </a:cubicBezTo>
                    <a:cubicBezTo>
                      <a:pt x="94" y="36"/>
                      <a:pt x="89" y="31"/>
                      <a:pt x="82" y="31"/>
                    </a:cubicBezTo>
                    <a:close/>
                    <a:moveTo>
                      <a:pt x="82" y="154"/>
                    </a:moveTo>
                    <a:cubicBezTo>
                      <a:pt x="75" y="154"/>
                      <a:pt x="70" y="159"/>
                      <a:pt x="70" y="166"/>
                    </a:cubicBezTo>
                    <a:cubicBezTo>
                      <a:pt x="70" y="172"/>
                      <a:pt x="75" y="178"/>
                      <a:pt x="82" y="178"/>
                    </a:cubicBezTo>
                    <a:cubicBezTo>
                      <a:pt x="89" y="178"/>
                      <a:pt x="94" y="172"/>
                      <a:pt x="94" y="166"/>
                    </a:cubicBezTo>
                    <a:cubicBezTo>
                      <a:pt x="94" y="159"/>
                      <a:pt x="89" y="154"/>
                      <a:pt x="82" y="154"/>
                    </a:cubicBezTo>
                    <a:close/>
                    <a:moveTo>
                      <a:pt x="82" y="215"/>
                    </a:moveTo>
                    <a:cubicBezTo>
                      <a:pt x="75" y="215"/>
                      <a:pt x="70" y="220"/>
                      <a:pt x="70" y="227"/>
                    </a:cubicBezTo>
                    <a:cubicBezTo>
                      <a:pt x="70" y="234"/>
                      <a:pt x="75" y="239"/>
                      <a:pt x="82" y="239"/>
                    </a:cubicBezTo>
                    <a:cubicBezTo>
                      <a:pt x="89" y="239"/>
                      <a:pt x="94" y="234"/>
                      <a:pt x="94" y="227"/>
                    </a:cubicBezTo>
                    <a:cubicBezTo>
                      <a:pt x="94" y="220"/>
                      <a:pt x="89" y="215"/>
                      <a:pt x="82" y="215"/>
                    </a:cubicBezTo>
                    <a:close/>
                    <a:moveTo>
                      <a:pt x="82" y="184"/>
                    </a:moveTo>
                    <a:cubicBezTo>
                      <a:pt x="75" y="184"/>
                      <a:pt x="70" y="190"/>
                      <a:pt x="70" y="196"/>
                    </a:cubicBezTo>
                    <a:cubicBezTo>
                      <a:pt x="70" y="203"/>
                      <a:pt x="75" y="209"/>
                      <a:pt x="82" y="209"/>
                    </a:cubicBezTo>
                    <a:cubicBezTo>
                      <a:pt x="89" y="209"/>
                      <a:pt x="94" y="203"/>
                      <a:pt x="94" y="196"/>
                    </a:cubicBezTo>
                    <a:cubicBezTo>
                      <a:pt x="94" y="190"/>
                      <a:pt x="89" y="184"/>
                      <a:pt x="82" y="184"/>
                    </a:cubicBezTo>
                    <a:close/>
                    <a:moveTo>
                      <a:pt x="397" y="277"/>
                    </a:moveTo>
                    <a:cubicBezTo>
                      <a:pt x="391" y="277"/>
                      <a:pt x="385" y="282"/>
                      <a:pt x="385" y="289"/>
                    </a:cubicBezTo>
                    <a:cubicBezTo>
                      <a:pt x="385" y="295"/>
                      <a:pt x="391" y="301"/>
                      <a:pt x="397" y="301"/>
                    </a:cubicBezTo>
                    <a:cubicBezTo>
                      <a:pt x="404" y="301"/>
                      <a:pt x="409" y="295"/>
                      <a:pt x="409" y="289"/>
                    </a:cubicBezTo>
                    <a:cubicBezTo>
                      <a:pt x="409" y="282"/>
                      <a:pt x="404" y="277"/>
                      <a:pt x="397" y="277"/>
                    </a:cubicBezTo>
                    <a:close/>
                    <a:moveTo>
                      <a:pt x="467" y="215"/>
                    </a:moveTo>
                    <a:cubicBezTo>
                      <a:pt x="461" y="215"/>
                      <a:pt x="455" y="220"/>
                      <a:pt x="455" y="227"/>
                    </a:cubicBezTo>
                    <a:cubicBezTo>
                      <a:pt x="455" y="234"/>
                      <a:pt x="461" y="239"/>
                      <a:pt x="467" y="239"/>
                    </a:cubicBezTo>
                    <a:cubicBezTo>
                      <a:pt x="474" y="239"/>
                      <a:pt x="480" y="234"/>
                      <a:pt x="480" y="227"/>
                    </a:cubicBezTo>
                    <a:cubicBezTo>
                      <a:pt x="480" y="220"/>
                      <a:pt x="474" y="215"/>
                      <a:pt x="467" y="215"/>
                    </a:cubicBezTo>
                    <a:close/>
                    <a:moveTo>
                      <a:pt x="467" y="154"/>
                    </a:moveTo>
                    <a:cubicBezTo>
                      <a:pt x="461" y="154"/>
                      <a:pt x="455" y="159"/>
                      <a:pt x="455" y="166"/>
                    </a:cubicBezTo>
                    <a:cubicBezTo>
                      <a:pt x="455" y="172"/>
                      <a:pt x="461" y="178"/>
                      <a:pt x="467" y="178"/>
                    </a:cubicBezTo>
                    <a:cubicBezTo>
                      <a:pt x="474" y="178"/>
                      <a:pt x="480" y="172"/>
                      <a:pt x="480" y="166"/>
                    </a:cubicBezTo>
                    <a:cubicBezTo>
                      <a:pt x="480" y="159"/>
                      <a:pt x="474" y="154"/>
                      <a:pt x="467" y="154"/>
                    </a:cubicBezTo>
                    <a:close/>
                    <a:moveTo>
                      <a:pt x="467" y="123"/>
                    </a:moveTo>
                    <a:cubicBezTo>
                      <a:pt x="461" y="123"/>
                      <a:pt x="455" y="128"/>
                      <a:pt x="455" y="135"/>
                    </a:cubicBezTo>
                    <a:cubicBezTo>
                      <a:pt x="455" y="142"/>
                      <a:pt x="461" y="147"/>
                      <a:pt x="467" y="147"/>
                    </a:cubicBezTo>
                    <a:cubicBezTo>
                      <a:pt x="474" y="147"/>
                      <a:pt x="480" y="142"/>
                      <a:pt x="480" y="135"/>
                    </a:cubicBezTo>
                    <a:cubicBezTo>
                      <a:pt x="480" y="128"/>
                      <a:pt x="474" y="123"/>
                      <a:pt x="467" y="123"/>
                    </a:cubicBezTo>
                    <a:close/>
                    <a:moveTo>
                      <a:pt x="467" y="184"/>
                    </a:moveTo>
                    <a:cubicBezTo>
                      <a:pt x="461" y="184"/>
                      <a:pt x="455" y="190"/>
                      <a:pt x="455" y="196"/>
                    </a:cubicBezTo>
                    <a:cubicBezTo>
                      <a:pt x="455" y="203"/>
                      <a:pt x="461" y="209"/>
                      <a:pt x="467" y="209"/>
                    </a:cubicBezTo>
                    <a:cubicBezTo>
                      <a:pt x="474" y="209"/>
                      <a:pt x="480" y="203"/>
                      <a:pt x="480" y="196"/>
                    </a:cubicBezTo>
                    <a:cubicBezTo>
                      <a:pt x="480" y="190"/>
                      <a:pt x="474" y="184"/>
                      <a:pt x="467" y="184"/>
                    </a:cubicBezTo>
                    <a:close/>
                    <a:moveTo>
                      <a:pt x="467" y="92"/>
                    </a:moveTo>
                    <a:cubicBezTo>
                      <a:pt x="461" y="92"/>
                      <a:pt x="455" y="98"/>
                      <a:pt x="455" y="104"/>
                    </a:cubicBezTo>
                    <a:cubicBezTo>
                      <a:pt x="455" y="111"/>
                      <a:pt x="461" y="116"/>
                      <a:pt x="467" y="116"/>
                    </a:cubicBezTo>
                    <a:cubicBezTo>
                      <a:pt x="474" y="116"/>
                      <a:pt x="480" y="111"/>
                      <a:pt x="480" y="104"/>
                    </a:cubicBezTo>
                    <a:cubicBezTo>
                      <a:pt x="480" y="98"/>
                      <a:pt x="474" y="92"/>
                      <a:pt x="467" y="92"/>
                    </a:cubicBezTo>
                    <a:close/>
                    <a:moveTo>
                      <a:pt x="467" y="61"/>
                    </a:moveTo>
                    <a:cubicBezTo>
                      <a:pt x="461" y="61"/>
                      <a:pt x="455" y="67"/>
                      <a:pt x="455" y="73"/>
                    </a:cubicBezTo>
                    <a:cubicBezTo>
                      <a:pt x="455" y="80"/>
                      <a:pt x="461" y="86"/>
                      <a:pt x="467" y="86"/>
                    </a:cubicBezTo>
                    <a:cubicBezTo>
                      <a:pt x="474" y="86"/>
                      <a:pt x="480" y="80"/>
                      <a:pt x="480" y="73"/>
                    </a:cubicBezTo>
                    <a:cubicBezTo>
                      <a:pt x="480" y="67"/>
                      <a:pt x="474" y="61"/>
                      <a:pt x="467" y="61"/>
                    </a:cubicBezTo>
                    <a:close/>
                    <a:moveTo>
                      <a:pt x="502" y="215"/>
                    </a:moveTo>
                    <a:cubicBezTo>
                      <a:pt x="496" y="215"/>
                      <a:pt x="490" y="220"/>
                      <a:pt x="490" y="227"/>
                    </a:cubicBezTo>
                    <a:cubicBezTo>
                      <a:pt x="490" y="234"/>
                      <a:pt x="496" y="239"/>
                      <a:pt x="502" y="239"/>
                    </a:cubicBezTo>
                    <a:cubicBezTo>
                      <a:pt x="509" y="239"/>
                      <a:pt x="515" y="234"/>
                      <a:pt x="515" y="227"/>
                    </a:cubicBezTo>
                    <a:cubicBezTo>
                      <a:pt x="515" y="220"/>
                      <a:pt x="509" y="215"/>
                      <a:pt x="502" y="215"/>
                    </a:cubicBezTo>
                    <a:close/>
                    <a:moveTo>
                      <a:pt x="502" y="61"/>
                    </a:moveTo>
                    <a:cubicBezTo>
                      <a:pt x="496" y="61"/>
                      <a:pt x="490" y="67"/>
                      <a:pt x="490" y="73"/>
                    </a:cubicBezTo>
                    <a:cubicBezTo>
                      <a:pt x="490" y="80"/>
                      <a:pt x="496" y="86"/>
                      <a:pt x="502" y="86"/>
                    </a:cubicBezTo>
                    <a:cubicBezTo>
                      <a:pt x="509" y="86"/>
                      <a:pt x="515" y="80"/>
                      <a:pt x="515" y="73"/>
                    </a:cubicBezTo>
                    <a:cubicBezTo>
                      <a:pt x="515" y="67"/>
                      <a:pt x="509" y="61"/>
                      <a:pt x="502" y="61"/>
                    </a:cubicBezTo>
                    <a:close/>
                    <a:moveTo>
                      <a:pt x="502" y="92"/>
                    </a:moveTo>
                    <a:cubicBezTo>
                      <a:pt x="496" y="92"/>
                      <a:pt x="490" y="98"/>
                      <a:pt x="490" y="104"/>
                    </a:cubicBezTo>
                    <a:cubicBezTo>
                      <a:pt x="490" y="111"/>
                      <a:pt x="496" y="116"/>
                      <a:pt x="502" y="116"/>
                    </a:cubicBezTo>
                    <a:cubicBezTo>
                      <a:pt x="509" y="116"/>
                      <a:pt x="515" y="111"/>
                      <a:pt x="515" y="104"/>
                    </a:cubicBezTo>
                    <a:cubicBezTo>
                      <a:pt x="515" y="98"/>
                      <a:pt x="509" y="92"/>
                      <a:pt x="502" y="92"/>
                    </a:cubicBezTo>
                    <a:close/>
                    <a:moveTo>
                      <a:pt x="502" y="154"/>
                    </a:moveTo>
                    <a:cubicBezTo>
                      <a:pt x="496" y="154"/>
                      <a:pt x="490" y="159"/>
                      <a:pt x="490" y="166"/>
                    </a:cubicBezTo>
                    <a:cubicBezTo>
                      <a:pt x="490" y="172"/>
                      <a:pt x="496" y="178"/>
                      <a:pt x="502" y="178"/>
                    </a:cubicBezTo>
                    <a:cubicBezTo>
                      <a:pt x="509" y="178"/>
                      <a:pt x="515" y="172"/>
                      <a:pt x="515" y="166"/>
                    </a:cubicBezTo>
                    <a:cubicBezTo>
                      <a:pt x="515" y="159"/>
                      <a:pt x="509" y="154"/>
                      <a:pt x="502" y="154"/>
                    </a:cubicBezTo>
                    <a:close/>
                    <a:moveTo>
                      <a:pt x="502" y="123"/>
                    </a:moveTo>
                    <a:cubicBezTo>
                      <a:pt x="496" y="123"/>
                      <a:pt x="490" y="128"/>
                      <a:pt x="490" y="135"/>
                    </a:cubicBezTo>
                    <a:cubicBezTo>
                      <a:pt x="490" y="142"/>
                      <a:pt x="496" y="147"/>
                      <a:pt x="502" y="147"/>
                    </a:cubicBezTo>
                    <a:cubicBezTo>
                      <a:pt x="509" y="147"/>
                      <a:pt x="515" y="142"/>
                      <a:pt x="515" y="135"/>
                    </a:cubicBezTo>
                    <a:cubicBezTo>
                      <a:pt x="515" y="128"/>
                      <a:pt x="509" y="123"/>
                      <a:pt x="502" y="123"/>
                    </a:cubicBezTo>
                    <a:close/>
                    <a:moveTo>
                      <a:pt x="397" y="123"/>
                    </a:moveTo>
                    <a:cubicBezTo>
                      <a:pt x="391" y="123"/>
                      <a:pt x="385" y="128"/>
                      <a:pt x="385" y="135"/>
                    </a:cubicBezTo>
                    <a:cubicBezTo>
                      <a:pt x="385" y="142"/>
                      <a:pt x="391" y="147"/>
                      <a:pt x="397" y="147"/>
                    </a:cubicBezTo>
                    <a:cubicBezTo>
                      <a:pt x="404" y="147"/>
                      <a:pt x="409" y="142"/>
                      <a:pt x="409" y="135"/>
                    </a:cubicBezTo>
                    <a:cubicBezTo>
                      <a:pt x="409" y="128"/>
                      <a:pt x="404" y="123"/>
                      <a:pt x="397" y="123"/>
                    </a:cubicBezTo>
                    <a:close/>
                    <a:moveTo>
                      <a:pt x="397" y="61"/>
                    </a:moveTo>
                    <a:cubicBezTo>
                      <a:pt x="391" y="61"/>
                      <a:pt x="385" y="67"/>
                      <a:pt x="385" y="73"/>
                    </a:cubicBezTo>
                    <a:cubicBezTo>
                      <a:pt x="385" y="80"/>
                      <a:pt x="391" y="86"/>
                      <a:pt x="397" y="86"/>
                    </a:cubicBezTo>
                    <a:cubicBezTo>
                      <a:pt x="404" y="86"/>
                      <a:pt x="409" y="80"/>
                      <a:pt x="409" y="73"/>
                    </a:cubicBezTo>
                    <a:cubicBezTo>
                      <a:pt x="409" y="67"/>
                      <a:pt x="404" y="61"/>
                      <a:pt x="397" y="61"/>
                    </a:cubicBezTo>
                    <a:close/>
                    <a:moveTo>
                      <a:pt x="397" y="92"/>
                    </a:moveTo>
                    <a:cubicBezTo>
                      <a:pt x="391" y="92"/>
                      <a:pt x="385" y="98"/>
                      <a:pt x="385" y="104"/>
                    </a:cubicBezTo>
                    <a:cubicBezTo>
                      <a:pt x="385" y="111"/>
                      <a:pt x="391" y="116"/>
                      <a:pt x="397" y="116"/>
                    </a:cubicBezTo>
                    <a:cubicBezTo>
                      <a:pt x="404" y="116"/>
                      <a:pt x="409" y="111"/>
                      <a:pt x="409" y="104"/>
                    </a:cubicBezTo>
                    <a:cubicBezTo>
                      <a:pt x="409" y="98"/>
                      <a:pt x="404" y="92"/>
                      <a:pt x="397" y="92"/>
                    </a:cubicBezTo>
                    <a:close/>
                    <a:moveTo>
                      <a:pt x="397" y="154"/>
                    </a:moveTo>
                    <a:cubicBezTo>
                      <a:pt x="391" y="154"/>
                      <a:pt x="385" y="159"/>
                      <a:pt x="385" y="166"/>
                    </a:cubicBezTo>
                    <a:cubicBezTo>
                      <a:pt x="385" y="172"/>
                      <a:pt x="391" y="178"/>
                      <a:pt x="397" y="178"/>
                    </a:cubicBezTo>
                    <a:cubicBezTo>
                      <a:pt x="404" y="178"/>
                      <a:pt x="409" y="172"/>
                      <a:pt x="409" y="166"/>
                    </a:cubicBezTo>
                    <a:cubicBezTo>
                      <a:pt x="409" y="159"/>
                      <a:pt x="404" y="154"/>
                      <a:pt x="397" y="154"/>
                    </a:cubicBezTo>
                    <a:close/>
                    <a:moveTo>
                      <a:pt x="432" y="184"/>
                    </a:moveTo>
                    <a:cubicBezTo>
                      <a:pt x="426" y="184"/>
                      <a:pt x="420" y="190"/>
                      <a:pt x="420" y="196"/>
                    </a:cubicBezTo>
                    <a:cubicBezTo>
                      <a:pt x="420" y="203"/>
                      <a:pt x="426" y="209"/>
                      <a:pt x="432" y="209"/>
                    </a:cubicBezTo>
                    <a:cubicBezTo>
                      <a:pt x="439" y="209"/>
                      <a:pt x="444" y="203"/>
                      <a:pt x="444" y="196"/>
                    </a:cubicBezTo>
                    <a:cubicBezTo>
                      <a:pt x="444" y="190"/>
                      <a:pt x="439" y="184"/>
                      <a:pt x="432" y="184"/>
                    </a:cubicBezTo>
                    <a:close/>
                    <a:moveTo>
                      <a:pt x="432" y="154"/>
                    </a:moveTo>
                    <a:cubicBezTo>
                      <a:pt x="426" y="154"/>
                      <a:pt x="420" y="159"/>
                      <a:pt x="420" y="166"/>
                    </a:cubicBezTo>
                    <a:cubicBezTo>
                      <a:pt x="420" y="172"/>
                      <a:pt x="426" y="178"/>
                      <a:pt x="432" y="178"/>
                    </a:cubicBezTo>
                    <a:cubicBezTo>
                      <a:pt x="439" y="178"/>
                      <a:pt x="444" y="172"/>
                      <a:pt x="444" y="166"/>
                    </a:cubicBezTo>
                    <a:cubicBezTo>
                      <a:pt x="444" y="159"/>
                      <a:pt x="439" y="154"/>
                      <a:pt x="432" y="154"/>
                    </a:cubicBezTo>
                    <a:close/>
                    <a:moveTo>
                      <a:pt x="432" y="215"/>
                    </a:moveTo>
                    <a:cubicBezTo>
                      <a:pt x="426" y="215"/>
                      <a:pt x="420" y="220"/>
                      <a:pt x="420" y="227"/>
                    </a:cubicBezTo>
                    <a:cubicBezTo>
                      <a:pt x="420" y="234"/>
                      <a:pt x="426" y="239"/>
                      <a:pt x="432" y="239"/>
                    </a:cubicBezTo>
                    <a:cubicBezTo>
                      <a:pt x="439" y="239"/>
                      <a:pt x="444" y="234"/>
                      <a:pt x="444" y="227"/>
                    </a:cubicBezTo>
                    <a:cubicBezTo>
                      <a:pt x="444" y="220"/>
                      <a:pt x="439" y="215"/>
                      <a:pt x="432" y="215"/>
                    </a:cubicBezTo>
                    <a:close/>
                    <a:moveTo>
                      <a:pt x="397" y="184"/>
                    </a:moveTo>
                    <a:cubicBezTo>
                      <a:pt x="391" y="184"/>
                      <a:pt x="385" y="190"/>
                      <a:pt x="385" y="196"/>
                    </a:cubicBezTo>
                    <a:cubicBezTo>
                      <a:pt x="385" y="203"/>
                      <a:pt x="391" y="209"/>
                      <a:pt x="397" y="209"/>
                    </a:cubicBezTo>
                    <a:cubicBezTo>
                      <a:pt x="404" y="209"/>
                      <a:pt x="409" y="203"/>
                      <a:pt x="409" y="196"/>
                    </a:cubicBezTo>
                    <a:cubicBezTo>
                      <a:pt x="409" y="190"/>
                      <a:pt x="404" y="184"/>
                      <a:pt x="397" y="184"/>
                    </a:cubicBezTo>
                    <a:close/>
                    <a:moveTo>
                      <a:pt x="432" y="92"/>
                    </a:moveTo>
                    <a:cubicBezTo>
                      <a:pt x="426" y="92"/>
                      <a:pt x="420" y="98"/>
                      <a:pt x="420" y="104"/>
                    </a:cubicBezTo>
                    <a:cubicBezTo>
                      <a:pt x="420" y="111"/>
                      <a:pt x="426" y="116"/>
                      <a:pt x="432" y="116"/>
                    </a:cubicBezTo>
                    <a:cubicBezTo>
                      <a:pt x="439" y="116"/>
                      <a:pt x="444" y="111"/>
                      <a:pt x="444" y="104"/>
                    </a:cubicBezTo>
                    <a:cubicBezTo>
                      <a:pt x="444" y="98"/>
                      <a:pt x="439" y="92"/>
                      <a:pt x="432" y="92"/>
                    </a:cubicBezTo>
                    <a:close/>
                    <a:moveTo>
                      <a:pt x="432" y="123"/>
                    </a:moveTo>
                    <a:cubicBezTo>
                      <a:pt x="426" y="123"/>
                      <a:pt x="420" y="128"/>
                      <a:pt x="420" y="135"/>
                    </a:cubicBezTo>
                    <a:cubicBezTo>
                      <a:pt x="420" y="142"/>
                      <a:pt x="426" y="147"/>
                      <a:pt x="432" y="147"/>
                    </a:cubicBezTo>
                    <a:cubicBezTo>
                      <a:pt x="439" y="147"/>
                      <a:pt x="444" y="142"/>
                      <a:pt x="444" y="135"/>
                    </a:cubicBezTo>
                    <a:cubicBezTo>
                      <a:pt x="444" y="128"/>
                      <a:pt x="439" y="123"/>
                      <a:pt x="432" y="123"/>
                    </a:cubicBezTo>
                    <a:close/>
                    <a:moveTo>
                      <a:pt x="432" y="61"/>
                    </a:moveTo>
                    <a:cubicBezTo>
                      <a:pt x="426" y="61"/>
                      <a:pt x="420" y="67"/>
                      <a:pt x="420" y="73"/>
                    </a:cubicBezTo>
                    <a:cubicBezTo>
                      <a:pt x="420" y="80"/>
                      <a:pt x="426" y="86"/>
                      <a:pt x="432" y="86"/>
                    </a:cubicBezTo>
                    <a:cubicBezTo>
                      <a:pt x="439" y="86"/>
                      <a:pt x="444" y="80"/>
                      <a:pt x="444" y="73"/>
                    </a:cubicBezTo>
                    <a:cubicBezTo>
                      <a:pt x="444" y="67"/>
                      <a:pt x="439" y="61"/>
                      <a:pt x="432" y="61"/>
                    </a:cubicBezTo>
                    <a:close/>
                    <a:moveTo>
                      <a:pt x="537" y="92"/>
                    </a:moveTo>
                    <a:cubicBezTo>
                      <a:pt x="531" y="92"/>
                      <a:pt x="525" y="98"/>
                      <a:pt x="525" y="104"/>
                    </a:cubicBezTo>
                    <a:cubicBezTo>
                      <a:pt x="525" y="111"/>
                      <a:pt x="531" y="116"/>
                      <a:pt x="537" y="116"/>
                    </a:cubicBezTo>
                    <a:cubicBezTo>
                      <a:pt x="544" y="116"/>
                      <a:pt x="550" y="111"/>
                      <a:pt x="550" y="104"/>
                    </a:cubicBezTo>
                    <a:cubicBezTo>
                      <a:pt x="550" y="98"/>
                      <a:pt x="544" y="92"/>
                      <a:pt x="537" y="92"/>
                    </a:cubicBezTo>
                    <a:close/>
                    <a:moveTo>
                      <a:pt x="537" y="123"/>
                    </a:moveTo>
                    <a:cubicBezTo>
                      <a:pt x="531" y="123"/>
                      <a:pt x="525" y="128"/>
                      <a:pt x="525" y="135"/>
                    </a:cubicBezTo>
                    <a:cubicBezTo>
                      <a:pt x="525" y="142"/>
                      <a:pt x="531" y="147"/>
                      <a:pt x="537" y="147"/>
                    </a:cubicBezTo>
                    <a:cubicBezTo>
                      <a:pt x="544" y="147"/>
                      <a:pt x="550" y="142"/>
                      <a:pt x="550" y="135"/>
                    </a:cubicBezTo>
                    <a:cubicBezTo>
                      <a:pt x="550" y="128"/>
                      <a:pt x="544" y="123"/>
                      <a:pt x="537" y="123"/>
                    </a:cubicBezTo>
                    <a:close/>
                    <a:moveTo>
                      <a:pt x="537" y="61"/>
                    </a:moveTo>
                    <a:cubicBezTo>
                      <a:pt x="531" y="61"/>
                      <a:pt x="525" y="67"/>
                      <a:pt x="525" y="73"/>
                    </a:cubicBezTo>
                    <a:cubicBezTo>
                      <a:pt x="525" y="80"/>
                      <a:pt x="531" y="86"/>
                      <a:pt x="537" y="86"/>
                    </a:cubicBezTo>
                    <a:cubicBezTo>
                      <a:pt x="544" y="86"/>
                      <a:pt x="550" y="80"/>
                      <a:pt x="550" y="73"/>
                    </a:cubicBezTo>
                    <a:cubicBezTo>
                      <a:pt x="550" y="67"/>
                      <a:pt x="544" y="61"/>
                      <a:pt x="537" y="61"/>
                    </a:cubicBezTo>
                    <a:close/>
                    <a:moveTo>
                      <a:pt x="537" y="154"/>
                    </a:moveTo>
                    <a:cubicBezTo>
                      <a:pt x="531" y="154"/>
                      <a:pt x="525" y="159"/>
                      <a:pt x="525" y="166"/>
                    </a:cubicBezTo>
                    <a:cubicBezTo>
                      <a:pt x="525" y="172"/>
                      <a:pt x="531" y="178"/>
                      <a:pt x="537" y="178"/>
                    </a:cubicBezTo>
                    <a:cubicBezTo>
                      <a:pt x="544" y="178"/>
                      <a:pt x="550" y="172"/>
                      <a:pt x="550" y="166"/>
                    </a:cubicBezTo>
                    <a:cubicBezTo>
                      <a:pt x="550" y="159"/>
                      <a:pt x="544" y="154"/>
                      <a:pt x="537" y="154"/>
                    </a:cubicBezTo>
                    <a:close/>
                    <a:moveTo>
                      <a:pt x="12" y="522"/>
                    </a:moveTo>
                    <a:cubicBezTo>
                      <a:pt x="5" y="522"/>
                      <a:pt x="0" y="528"/>
                      <a:pt x="0" y="535"/>
                    </a:cubicBezTo>
                    <a:cubicBezTo>
                      <a:pt x="0" y="541"/>
                      <a:pt x="5" y="547"/>
                      <a:pt x="12" y="547"/>
                    </a:cubicBezTo>
                    <a:cubicBezTo>
                      <a:pt x="19" y="547"/>
                      <a:pt x="24" y="541"/>
                      <a:pt x="24" y="535"/>
                    </a:cubicBezTo>
                    <a:cubicBezTo>
                      <a:pt x="24" y="528"/>
                      <a:pt x="19" y="522"/>
                      <a:pt x="12" y="522"/>
                    </a:cubicBezTo>
                    <a:close/>
                    <a:moveTo>
                      <a:pt x="12" y="430"/>
                    </a:moveTo>
                    <a:cubicBezTo>
                      <a:pt x="5" y="430"/>
                      <a:pt x="0" y="436"/>
                      <a:pt x="0" y="442"/>
                    </a:cubicBezTo>
                    <a:cubicBezTo>
                      <a:pt x="0" y="449"/>
                      <a:pt x="5" y="455"/>
                      <a:pt x="12" y="455"/>
                    </a:cubicBezTo>
                    <a:cubicBezTo>
                      <a:pt x="19" y="455"/>
                      <a:pt x="24" y="449"/>
                      <a:pt x="24" y="442"/>
                    </a:cubicBezTo>
                    <a:cubicBezTo>
                      <a:pt x="24" y="436"/>
                      <a:pt x="19" y="430"/>
                      <a:pt x="12" y="430"/>
                    </a:cubicBezTo>
                    <a:close/>
                    <a:moveTo>
                      <a:pt x="12" y="492"/>
                    </a:moveTo>
                    <a:cubicBezTo>
                      <a:pt x="5" y="492"/>
                      <a:pt x="0" y="497"/>
                      <a:pt x="0" y="504"/>
                    </a:cubicBezTo>
                    <a:cubicBezTo>
                      <a:pt x="0" y="511"/>
                      <a:pt x="5" y="516"/>
                      <a:pt x="12" y="516"/>
                    </a:cubicBezTo>
                    <a:cubicBezTo>
                      <a:pt x="19" y="516"/>
                      <a:pt x="24" y="511"/>
                      <a:pt x="24" y="504"/>
                    </a:cubicBezTo>
                    <a:cubicBezTo>
                      <a:pt x="24" y="497"/>
                      <a:pt x="19" y="492"/>
                      <a:pt x="12" y="492"/>
                    </a:cubicBezTo>
                    <a:close/>
                    <a:moveTo>
                      <a:pt x="12" y="399"/>
                    </a:moveTo>
                    <a:cubicBezTo>
                      <a:pt x="5" y="399"/>
                      <a:pt x="0" y="405"/>
                      <a:pt x="0" y="412"/>
                    </a:cubicBezTo>
                    <a:cubicBezTo>
                      <a:pt x="0" y="418"/>
                      <a:pt x="5" y="424"/>
                      <a:pt x="12" y="424"/>
                    </a:cubicBezTo>
                    <a:cubicBezTo>
                      <a:pt x="19" y="424"/>
                      <a:pt x="24" y="418"/>
                      <a:pt x="24" y="412"/>
                    </a:cubicBezTo>
                    <a:cubicBezTo>
                      <a:pt x="24" y="405"/>
                      <a:pt x="19" y="399"/>
                      <a:pt x="12" y="399"/>
                    </a:cubicBezTo>
                    <a:close/>
                    <a:moveTo>
                      <a:pt x="12" y="369"/>
                    </a:moveTo>
                    <a:cubicBezTo>
                      <a:pt x="5" y="369"/>
                      <a:pt x="0" y="374"/>
                      <a:pt x="0" y="381"/>
                    </a:cubicBezTo>
                    <a:cubicBezTo>
                      <a:pt x="0" y="388"/>
                      <a:pt x="5" y="393"/>
                      <a:pt x="12" y="393"/>
                    </a:cubicBezTo>
                    <a:cubicBezTo>
                      <a:pt x="19" y="393"/>
                      <a:pt x="24" y="388"/>
                      <a:pt x="24" y="381"/>
                    </a:cubicBezTo>
                    <a:cubicBezTo>
                      <a:pt x="24" y="374"/>
                      <a:pt x="19" y="369"/>
                      <a:pt x="12" y="369"/>
                    </a:cubicBezTo>
                    <a:close/>
                    <a:moveTo>
                      <a:pt x="12" y="461"/>
                    </a:moveTo>
                    <a:cubicBezTo>
                      <a:pt x="5" y="461"/>
                      <a:pt x="0" y="466"/>
                      <a:pt x="0" y="473"/>
                    </a:cubicBezTo>
                    <a:cubicBezTo>
                      <a:pt x="0" y="480"/>
                      <a:pt x="5" y="485"/>
                      <a:pt x="12" y="485"/>
                    </a:cubicBezTo>
                    <a:cubicBezTo>
                      <a:pt x="19" y="485"/>
                      <a:pt x="24" y="480"/>
                      <a:pt x="24" y="473"/>
                    </a:cubicBezTo>
                    <a:cubicBezTo>
                      <a:pt x="24" y="466"/>
                      <a:pt x="19" y="461"/>
                      <a:pt x="12" y="461"/>
                    </a:cubicBezTo>
                    <a:close/>
                    <a:moveTo>
                      <a:pt x="572" y="61"/>
                    </a:moveTo>
                    <a:cubicBezTo>
                      <a:pt x="566" y="61"/>
                      <a:pt x="560" y="67"/>
                      <a:pt x="560" y="73"/>
                    </a:cubicBezTo>
                    <a:cubicBezTo>
                      <a:pt x="560" y="80"/>
                      <a:pt x="566" y="86"/>
                      <a:pt x="572" y="86"/>
                    </a:cubicBezTo>
                    <a:cubicBezTo>
                      <a:pt x="579" y="86"/>
                      <a:pt x="585" y="80"/>
                      <a:pt x="585" y="73"/>
                    </a:cubicBezTo>
                    <a:cubicBezTo>
                      <a:pt x="585" y="67"/>
                      <a:pt x="579" y="61"/>
                      <a:pt x="572" y="61"/>
                    </a:cubicBezTo>
                    <a:close/>
                    <a:moveTo>
                      <a:pt x="12" y="246"/>
                    </a:moveTo>
                    <a:cubicBezTo>
                      <a:pt x="5" y="246"/>
                      <a:pt x="0" y="251"/>
                      <a:pt x="0" y="258"/>
                    </a:cubicBezTo>
                    <a:cubicBezTo>
                      <a:pt x="0" y="265"/>
                      <a:pt x="5" y="270"/>
                      <a:pt x="12" y="270"/>
                    </a:cubicBezTo>
                    <a:cubicBezTo>
                      <a:pt x="19" y="270"/>
                      <a:pt x="24" y="265"/>
                      <a:pt x="24" y="258"/>
                    </a:cubicBezTo>
                    <a:cubicBezTo>
                      <a:pt x="24" y="251"/>
                      <a:pt x="19" y="246"/>
                      <a:pt x="12" y="246"/>
                    </a:cubicBezTo>
                    <a:close/>
                    <a:moveTo>
                      <a:pt x="12" y="338"/>
                    </a:moveTo>
                    <a:cubicBezTo>
                      <a:pt x="5" y="338"/>
                      <a:pt x="0" y="343"/>
                      <a:pt x="0" y="350"/>
                    </a:cubicBezTo>
                    <a:cubicBezTo>
                      <a:pt x="0" y="357"/>
                      <a:pt x="5" y="362"/>
                      <a:pt x="12" y="362"/>
                    </a:cubicBezTo>
                    <a:cubicBezTo>
                      <a:pt x="19" y="362"/>
                      <a:pt x="24" y="357"/>
                      <a:pt x="24" y="350"/>
                    </a:cubicBezTo>
                    <a:cubicBezTo>
                      <a:pt x="24" y="343"/>
                      <a:pt x="19" y="338"/>
                      <a:pt x="12" y="338"/>
                    </a:cubicBezTo>
                    <a:close/>
                    <a:moveTo>
                      <a:pt x="12" y="277"/>
                    </a:moveTo>
                    <a:cubicBezTo>
                      <a:pt x="5" y="277"/>
                      <a:pt x="0" y="282"/>
                      <a:pt x="0" y="289"/>
                    </a:cubicBezTo>
                    <a:cubicBezTo>
                      <a:pt x="0" y="295"/>
                      <a:pt x="5" y="301"/>
                      <a:pt x="12" y="301"/>
                    </a:cubicBezTo>
                    <a:cubicBezTo>
                      <a:pt x="19" y="301"/>
                      <a:pt x="24" y="295"/>
                      <a:pt x="24" y="289"/>
                    </a:cubicBezTo>
                    <a:cubicBezTo>
                      <a:pt x="24" y="282"/>
                      <a:pt x="19" y="277"/>
                      <a:pt x="12" y="277"/>
                    </a:cubicBezTo>
                    <a:close/>
                    <a:moveTo>
                      <a:pt x="12" y="307"/>
                    </a:moveTo>
                    <a:cubicBezTo>
                      <a:pt x="5" y="307"/>
                      <a:pt x="0" y="313"/>
                      <a:pt x="0" y="319"/>
                    </a:cubicBezTo>
                    <a:cubicBezTo>
                      <a:pt x="0" y="326"/>
                      <a:pt x="5" y="332"/>
                      <a:pt x="12" y="332"/>
                    </a:cubicBezTo>
                    <a:cubicBezTo>
                      <a:pt x="19" y="332"/>
                      <a:pt x="24" y="326"/>
                      <a:pt x="24" y="319"/>
                    </a:cubicBezTo>
                    <a:cubicBezTo>
                      <a:pt x="24" y="313"/>
                      <a:pt x="19" y="307"/>
                      <a:pt x="12" y="307"/>
                    </a:cubicBezTo>
                    <a:close/>
                    <a:moveTo>
                      <a:pt x="12" y="215"/>
                    </a:moveTo>
                    <a:cubicBezTo>
                      <a:pt x="5" y="215"/>
                      <a:pt x="0" y="220"/>
                      <a:pt x="0" y="227"/>
                    </a:cubicBezTo>
                    <a:cubicBezTo>
                      <a:pt x="0" y="234"/>
                      <a:pt x="5" y="239"/>
                      <a:pt x="12" y="239"/>
                    </a:cubicBezTo>
                    <a:cubicBezTo>
                      <a:pt x="19" y="239"/>
                      <a:pt x="24" y="234"/>
                      <a:pt x="24" y="227"/>
                    </a:cubicBezTo>
                    <a:cubicBezTo>
                      <a:pt x="24" y="220"/>
                      <a:pt x="19" y="215"/>
                      <a:pt x="12" y="215"/>
                    </a:cubicBezTo>
                    <a:close/>
                    <a:moveTo>
                      <a:pt x="12" y="184"/>
                    </a:moveTo>
                    <a:cubicBezTo>
                      <a:pt x="5" y="184"/>
                      <a:pt x="0" y="190"/>
                      <a:pt x="0" y="196"/>
                    </a:cubicBezTo>
                    <a:cubicBezTo>
                      <a:pt x="0" y="203"/>
                      <a:pt x="5" y="209"/>
                      <a:pt x="12" y="209"/>
                    </a:cubicBezTo>
                    <a:cubicBezTo>
                      <a:pt x="19" y="209"/>
                      <a:pt x="24" y="203"/>
                      <a:pt x="24" y="196"/>
                    </a:cubicBezTo>
                    <a:cubicBezTo>
                      <a:pt x="24" y="190"/>
                      <a:pt x="19" y="184"/>
                      <a:pt x="12" y="184"/>
                    </a:cubicBezTo>
                    <a:close/>
                    <a:moveTo>
                      <a:pt x="12" y="154"/>
                    </a:moveTo>
                    <a:cubicBezTo>
                      <a:pt x="5" y="154"/>
                      <a:pt x="0" y="159"/>
                      <a:pt x="0" y="166"/>
                    </a:cubicBezTo>
                    <a:cubicBezTo>
                      <a:pt x="0" y="172"/>
                      <a:pt x="5" y="178"/>
                      <a:pt x="12" y="178"/>
                    </a:cubicBezTo>
                    <a:cubicBezTo>
                      <a:pt x="19" y="178"/>
                      <a:pt x="24" y="172"/>
                      <a:pt x="24" y="166"/>
                    </a:cubicBezTo>
                    <a:cubicBezTo>
                      <a:pt x="24" y="159"/>
                      <a:pt x="19" y="154"/>
                      <a:pt x="12" y="154"/>
                    </a:cubicBezTo>
                    <a:close/>
                    <a:moveTo>
                      <a:pt x="572" y="92"/>
                    </a:moveTo>
                    <a:cubicBezTo>
                      <a:pt x="566" y="92"/>
                      <a:pt x="560" y="98"/>
                      <a:pt x="560" y="104"/>
                    </a:cubicBezTo>
                    <a:cubicBezTo>
                      <a:pt x="560" y="111"/>
                      <a:pt x="566" y="116"/>
                      <a:pt x="572" y="116"/>
                    </a:cubicBezTo>
                    <a:cubicBezTo>
                      <a:pt x="579" y="116"/>
                      <a:pt x="585" y="111"/>
                      <a:pt x="585" y="104"/>
                    </a:cubicBezTo>
                    <a:cubicBezTo>
                      <a:pt x="585" y="98"/>
                      <a:pt x="579" y="92"/>
                      <a:pt x="572" y="92"/>
                    </a:cubicBezTo>
                    <a:close/>
                    <a:moveTo>
                      <a:pt x="608" y="61"/>
                    </a:moveTo>
                    <a:cubicBezTo>
                      <a:pt x="601" y="61"/>
                      <a:pt x="595" y="67"/>
                      <a:pt x="595" y="73"/>
                    </a:cubicBezTo>
                    <a:cubicBezTo>
                      <a:pt x="595" y="80"/>
                      <a:pt x="601" y="86"/>
                      <a:pt x="608" y="86"/>
                    </a:cubicBezTo>
                    <a:cubicBezTo>
                      <a:pt x="614" y="86"/>
                      <a:pt x="620" y="80"/>
                      <a:pt x="620" y="73"/>
                    </a:cubicBezTo>
                    <a:cubicBezTo>
                      <a:pt x="620" y="67"/>
                      <a:pt x="614" y="61"/>
                      <a:pt x="608" y="61"/>
                    </a:cubicBezTo>
                    <a:close/>
                    <a:moveTo>
                      <a:pt x="608" y="92"/>
                    </a:moveTo>
                    <a:cubicBezTo>
                      <a:pt x="601" y="92"/>
                      <a:pt x="595" y="98"/>
                      <a:pt x="595" y="104"/>
                    </a:cubicBezTo>
                    <a:cubicBezTo>
                      <a:pt x="595" y="111"/>
                      <a:pt x="601" y="116"/>
                      <a:pt x="608" y="116"/>
                    </a:cubicBezTo>
                    <a:cubicBezTo>
                      <a:pt x="614" y="116"/>
                      <a:pt x="620" y="111"/>
                      <a:pt x="620" y="104"/>
                    </a:cubicBezTo>
                    <a:cubicBezTo>
                      <a:pt x="620" y="98"/>
                      <a:pt x="614" y="92"/>
                      <a:pt x="608" y="92"/>
                    </a:cubicBezTo>
                    <a:close/>
                    <a:moveTo>
                      <a:pt x="572" y="123"/>
                    </a:moveTo>
                    <a:cubicBezTo>
                      <a:pt x="566" y="123"/>
                      <a:pt x="560" y="128"/>
                      <a:pt x="560" y="135"/>
                    </a:cubicBezTo>
                    <a:cubicBezTo>
                      <a:pt x="560" y="142"/>
                      <a:pt x="566" y="147"/>
                      <a:pt x="572" y="147"/>
                    </a:cubicBezTo>
                    <a:cubicBezTo>
                      <a:pt x="579" y="147"/>
                      <a:pt x="585" y="142"/>
                      <a:pt x="585" y="135"/>
                    </a:cubicBezTo>
                    <a:cubicBezTo>
                      <a:pt x="585" y="128"/>
                      <a:pt x="579" y="123"/>
                      <a:pt x="572" y="123"/>
                    </a:cubicBezTo>
                    <a:close/>
                    <a:moveTo>
                      <a:pt x="572" y="154"/>
                    </a:moveTo>
                    <a:cubicBezTo>
                      <a:pt x="566" y="154"/>
                      <a:pt x="560" y="159"/>
                      <a:pt x="560" y="166"/>
                    </a:cubicBezTo>
                    <a:cubicBezTo>
                      <a:pt x="560" y="172"/>
                      <a:pt x="566" y="178"/>
                      <a:pt x="572" y="178"/>
                    </a:cubicBezTo>
                    <a:cubicBezTo>
                      <a:pt x="579" y="178"/>
                      <a:pt x="585" y="172"/>
                      <a:pt x="585" y="166"/>
                    </a:cubicBezTo>
                    <a:cubicBezTo>
                      <a:pt x="585" y="159"/>
                      <a:pt x="579" y="154"/>
                      <a:pt x="572" y="154"/>
                    </a:cubicBezTo>
                    <a:close/>
                    <a:moveTo>
                      <a:pt x="608" y="123"/>
                    </a:moveTo>
                    <a:cubicBezTo>
                      <a:pt x="601" y="123"/>
                      <a:pt x="595" y="128"/>
                      <a:pt x="595" y="135"/>
                    </a:cubicBezTo>
                    <a:cubicBezTo>
                      <a:pt x="595" y="142"/>
                      <a:pt x="601" y="147"/>
                      <a:pt x="608" y="147"/>
                    </a:cubicBezTo>
                    <a:cubicBezTo>
                      <a:pt x="614" y="147"/>
                      <a:pt x="620" y="142"/>
                      <a:pt x="620" y="135"/>
                    </a:cubicBezTo>
                    <a:cubicBezTo>
                      <a:pt x="620" y="128"/>
                      <a:pt x="614" y="123"/>
                      <a:pt x="608" y="123"/>
                    </a:cubicBezTo>
                    <a:close/>
                  </a:path>
                </a:pathLst>
              </a:custGeom>
              <a:solidFill>
                <a:srgbClr val="FFFFFF"/>
              </a:solidFill>
              <a:ln>
                <a:noFill/>
              </a:ln>
              <a:extLst/>
            </p:spPr>
            <p:txBody>
              <a:bodyPr/>
              <a:lstStyle/>
              <a:p>
                <a:pPr>
                  <a:spcBef>
                    <a:spcPct val="50000"/>
                  </a:spcBef>
                  <a:defRPr/>
                </a:pPr>
                <a:endParaRPr lang="en-US">
                  <a:solidFill>
                    <a:srgbClr val="00A9D4"/>
                  </a:solidFill>
                  <a:latin typeface="Arial" charset="0"/>
                  <a:cs typeface="Arial" pitchFamily="34" charset="0"/>
                </a:endParaRPr>
              </a:p>
            </p:txBody>
          </p:sp>
          <p:sp>
            <p:nvSpPr>
              <p:cNvPr id="53" name="Freeform 16"/>
              <p:cNvSpPr>
                <a:spLocks noChangeAspect="1" noEditPoints="1"/>
              </p:cNvSpPr>
              <p:nvPr/>
            </p:nvSpPr>
            <p:spPr bwMode="auto">
              <a:xfrm>
                <a:off x="5995988" y="2790825"/>
                <a:ext cx="860425" cy="935038"/>
              </a:xfrm>
              <a:custGeom>
                <a:avLst/>
                <a:gdLst>
                  <a:gd name="T0" fmla="*/ 2147483647 w 445"/>
                  <a:gd name="T1" fmla="*/ 2147483647 h 485"/>
                  <a:gd name="T2" fmla="*/ 2147483647 w 445"/>
                  <a:gd name="T3" fmla="*/ 2147483647 h 485"/>
                  <a:gd name="T4" fmla="*/ 2147483647 w 445"/>
                  <a:gd name="T5" fmla="*/ 2147483647 h 485"/>
                  <a:gd name="T6" fmla="*/ 2147483647 w 445"/>
                  <a:gd name="T7" fmla="*/ 2147483647 h 485"/>
                  <a:gd name="T8" fmla="*/ 2147483647 w 445"/>
                  <a:gd name="T9" fmla="*/ 2147483647 h 485"/>
                  <a:gd name="T10" fmla="*/ 2147483647 w 445"/>
                  <a:gd name="T11" fmla="*/ 2147483647 h 485"/>
                  <a:gd name="T12" fmla="*/ 2147483647 w 445"/>
                  <a:gd name="T13" fmla="*/ 2147483647 h 485"/>
                  <a:gd name="T14" fmla="*/ 2147483647 w 445"/>
                  <a:gd name="T15" fmla="*/ 2147483647 h 485"/>
                  <a:gd name="T16" fmla="*/ 2147483647 w 445"/>
                  <a:gd name="T17" fmla="*/ 2147483647 h 485"/>
                  <a:gd name="T18" fmla="*/ 2147483647 w 445"/>
                  <a:gd name="T19" fmla="*/ 2147483647 h 485"/>
                  <a:gd name="T20" fmla="*/ 2147483647 w 445"/>
                  <a:gd name="T21" fmla="*/ 2147483647 h 485"/>
                  <a:gd name="T22" fmla="*/ 2147483647 w 445"/>
                  <a:gd name="T23" fmla="*/ 2147483647 h 485"/>
                  <a:gd name="T24" fmla="*/ 2147483647 w 445"/>
                  <a:gd name="T25" fmla="*/ 2147483647 h 485"/>
                  <a:gd name="T26" fmla="*/ 2147483647 w 445"/>
                  <a:gd name="T27" fmla="*/ 2147483647 h 485"/>
                  <a:gd name="T28" fmla="*/ 2147483647 w 445"/>
                  <a:gd name="T29" fmla="*/ 2147483647 h 485"/>
                  <a:gd name="T30" fmla="*/ 2147483647 w 445"/>
                  <a:gd name="T31" fmla="*/ 2147483647 h 485"/>
                  <a:gd name="T32" fmla="*/ 2147483647 w 445"/>
                  <a:gd name="T33" fmla="*/ 2147483647 h 485"/>
                  <a:gd name="T34" fmla="*/ 2147483647 w 445"/>
                  <a:gd name="T35" fmla="*/ 2147483647 h 485"/>
                  <a:gd name="T36" fmla="*/ 2147483647 w 445"/>
                  <a:gd name="T37" fmla="*/ 2147483647 h 485"/>
                  <a:gd name="T38" fmla="*/ 2147483647 w 445"/>
                  <a:gd name="T39" fmla="*/ 2147483647 h 485"/>
                  <a:gd name="T40" fmla="*/ 2147483647 w 445"/>
                  <a:gd name="T41" fmla="*/ 2147483647 h 485"/>
                  <a:gd name="T42" fmla="*/ 2147483647 w 445"/>
                  <a:gd name="T43" fmla="*/ 2147483647 h 485"/>
                  <a:gd name="T44" fmla="*/ 2147483647 w 445"/>
                  <a:gd name="T45" fmla="*/ 2147483647 h 485"/>
                  <a:gd name="T46" fmla="*/ 2147483647 w 445"/>
                  <a:gd name="T47" fmla="*/ 2147483647 h 485"/>
                  <a:gd name="T48" fmla="*/ 2147483647 w 445"/>
                  <a:gd name="T49" fmla="*/ 2147483647 h 485"/>
                  <a:gd name="T50" fmla="*/ 2147483647 w 445"/>
                  <a:gd name="T51" fmla="*/ 2147483647 h 485"/>
                  <a:gd name="T52" fmla="*/ 2147483647 w 445"/>
                  <a:gd name="T53" fmla="*/ 2147483647 h 485"/>
                  <a:gd name="T54" fmla="*/ 2147483647 w 445"/>
                  <a:gd name="T55" fmla="*/ 2147483647 h 485"/>
                  <a:gd name="T56" fmla="*/ 2147483647 w 445"/>
                  <a:gd name="T57" fmla="*/ 2147483647 h 485"/>
                  <a:gd name="T58" fmla="*/ 2147483647 w 445"/>
                  <a:gd name="T59" fmla="*/ 2147483647 h 485"/>
                  <a:gd name="T60" fmla="*/ 2147483647 w 445"/>
                  <a:gd name="T61" fmla="*/ 2147483647 h 485"/>
                  <a:gd name="T62" fmla="*/ 2147483647 w 445"/>
                  <a:gd name="T63" fmla="*/ 2147483647 h 485"/>
                  <a:gd name="T64" fmla="*/ 2147483647 w 445"/>
                  <a:gd name="T65" fmla="*/ 0 h 485"/>
                  <a:gd name="T66" fmla="*/ 2147483647 w 445"/>
                  <a:gd name="T67" fmla="*/ 2147483647 h 485"/>
                  <a:gd name="T68" fmla="*/ 2147483647 w 445"/>
                  <a:gd name="T69" fmla="*/ 2147483647 h 485"/>
                  <a:gd name="T70" fmla="*/ 2147483647 w 445"/>
                  <a:gd name="T71" fmla="*/ 2147483647 h 485"/>
                  <a:gd name="T72" fmla="*/ 2147483647 w 445"/>
                  <a:gd name="T73" fmla="*/ 2147483647 h 485"/>
                  <a:gd name="T74" fmla="*/ 2147483647 w 445"/>
                  <a:gd name="T75" fmla="*/ 2147483647 h 485"/>
                  <a:gd name="T76" fmla="*/ 2147483647 w 445"/>
                  <a:gd name="T77" fmla="*/ 2147483647 h 485"/>
                  <a:gd name="T78" fmla="*/ 2147483647 w 445"/>
                  <a:gd name="T79" fmla="*/ 2147483647 h 485"/>
                  <a:gd name="T80" fmla="*/ 2147483647 w 445"/>
                  <a:gd name="T81" fmla="*/ 2147483647 h 485"/>
                  <a:gd name="T82" fmla="*/ 2147483647 w 445"/>
                  <a:gd name="T83" fmla="*/ 2147483647 h 485"/>
                  <a:gd name="T84" fmla="*/ 2147483647 w 445"/>
                  <a:gd name="T85" fmla="*/ 2147483647 h 485"/>
                  <a:gd name="T86" fmla="*/ 2147483647 w 445"/>
                  <a:gd name="T87" fmla="*/ 2147483647 h 485"/>
                  <a:gd name="T88" fmla="*/ 2147483647 w 445"/>
                  <a:gd name="T89" fmla="*/ 2147483647 h 485"/>
                  <a:gd name="T90" fmla="*/ 2147483647 w 445"/>
                  <a:gd name="T91" fmla="*/ 2147483647 h 485"/>
                  <a:gd name="T92" fmla="*/ 2147483647 w 445"/>
                  <a:gd name="T93" fmla="*/ 2147483647 h 485"/>
                  <a:gd name="T94" fmla="*/ 2147483647 w 445"/>
                  <a:gd name="T95" fmla="*/ 0 h 485"/>
                  <a:gd name="T96" fmla="*/ 2147483647 w 445"/>
                  <a:gd name="T97" fmla="*/ 2147483647 h 485"/>
                  <a:gd name="T98" fmla="*/ 2147483647 w 445"/>
                  <a:gd name="T99" fmla="*/ 2147483647 h 485"/>
                  <a:gd name="T100" fmla="*/ 2147483647 w 445"/>
                  <a:gd name="T101" fmla="*/ 2147483647 h 485"/>
                  <a:gd name="T102" fmla="*/ 2147483647 w 445"/>
                  <a:gd name="T103" fmla="*/ 2147483647 h 485"/>
                  <a:gd name="T104" fmla="*/ 2147483647 w 445"/>
                  <a:gd name="T105" fmla="*/ 0 h 485"/>
                  <a:gd name="T106" fmla="*/ 2147483647 w 445"/>
                  <a:gd name="T107" fmla="*/ 2147483647 h 485"/>
                  <a:gd name="T108" fmla="*/ 2147483647 w 445"/>
                  <a:gd name="T109" fmla="*/ 2147483647 h 485"/>
                  <a:gd name="T110" fmla="*/ 2147483647 w 445"/>
                  <a:gd name="T111" fmla="*/ 2147483647 h 48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45" h="485">
                    <a:moveTo>
                      <a:pt x="363" y="246"/>
                    </a:moveTo>
                    <a:cubicBezTo>
                      <a:pt x="356" y="246"/>
                      <a:pt x="351" y="251"/>
                      <a:pt x="351" y="258"/>
                    </a:cubicBezTo>
                    <a:cubicBezTo>
                      <a:pt x="351" y="265"/>
                      <a:pt x="356" y="270"/>
                      <a:pt x="363" y="270"/>
                    </a:cubicBezTo>
                    <a:cubicBezTo>
                      <a:pt x="370" y="270"/>
                      <a:pt x="375" y="265"/>
                      <a:pt x="375" y="258"/>
                    </a:cubicBezTo>
                    <a:cubicBezTo>
                      <a:pt x="375" y="251"/>
                      <a:pt x="370" y="246"/>
                      <a:pt x="363" y="246"/>
                    </a:cubicBezTo>
                    <a:close/>
                    <a:moveTo>
                      <a:pt x="328" y="215"/>
                    </a:moveTo>
                    <a:cubicBezTo>
                      <a:pt x="321" y="215"/>
                      <a:pt x="316" y="220"/>
                      <a:pt x="316" y="227"/>
                    </a:cubicBezTo>
                    <a:cubicBezTo>
                      <a:pt x="316" y="234"/>
                      <a:pt x="321" y="239"/>
                      <a:pt x="328" y="239"/>
                    </a:cubicBezTo>
                    <a:cubicBezTo>
                      <a:pt x="334" y="239"/>
                      <a:pt x="340" y="234"/>
                      <a:pt x="340" y="227"/>
                    </a:cubicBezTo>
                    <a:cubicBezTo>
                      <a:pt x="340" y="220"/>
                      <a:pt x="334" y="215"/>
                      <a:pt x="328" y="215"/>
                    </a:cubicBezTo>
                    <a:close/>
                    <a:moveTo>
                      <a:pt x="433" y="246"/>
                    </a:moveTo>
                    <a:cubicBezTo>
                      <a:pt x="426" y="246"/>
                      <a:pt x="421" y="251"/>
                      <a:pt x="421" y="258"/>
                    </a:cubicBezTo>
                    <a:cubicBezTo>
                      <a:pt x="421" y="265"/>
                      <a:pt x="426" y="270"/>
                      <a:pt x="433" y="270"/>
                    </a:cubicBezTo>
                    <a:cubicBezTo>
                      <a:pt x="440" y="270"/>
                      <a:pt x="445" y="265"/>
                      <a:pt x="445" y="258"/>
                    </a:cubicBezTo>
                    <a:cubicBezTo>
                      <a:pt x="445" y="251"/>
                      <a:pt x="440" y="246"/>
                      <a:pt x="433" y="246"/>
                    </a:cubicBezTo>
                    <a:close/>
                    <a:moveTo>
                      <a:pt x="363" y="307"/>
                    </a:moveTo>
                    <a:cubicBezTo>
                      <a:pt x="356" y="307"/>
                      <a:pt x="351" y="313"/>
                      <a:pt x="351" y="319"/>
                    </a:cubicBezTo>
                    <a:cubicBezTo>
                      <a:pt x="351" y="326"/>
                      <a:pt x="356" y="332"/>
                      <a:pt x="363" y="332"/>
                    </a:cubicBezTo>
                    <a:cubicBezTo>
                      <a:pt x="370" y="332"/>
                      <a:pt x="375" y="326"/>
                      <a:pt x="375" y="319"/>
                    </a:cubicBezTo>
                    <a:cubicBezTo>
                      <a:pt x="375" y="313"/>
                      <a:pt x="370" y="307"/>
                      <a:pt x="363" y="307"/>
                    </a:cubicBezTo>
                    <a:close/>
                    <a:moveTo>
                      <a:pt x="363" y="215"/>
                    </a:moveTo>
                    <a:cubicBezTo>
                      <a:pt x="356" y="215"/>
                      <a:pt x="351" y="220"/>
                      <a:pt x="351" y="227"/>
                    </a:cubicBezTo>
                    <a:cubicBezTo>
                      <a:pt x="351" y="234"/>
                      <a:pt x="356" y="239"/>
                      <a:pt x="363" y="239"/>
                    </a:cubicBezTo>
                    <a:cubicBezTo>
                      <a:pt x="370" y="239"/>
                      <a:pt x="375" y="234"/>
                      <a:pt x="375" y="227"/>
                    </a:cubicBezTo>
                    <a:cubicBezTo>
                      <a:pt x="375" y="220"/>
                      <a:pt x="370" y="215"/>
                      <a:pt x="363" y="215"/>
                    </a:cubicBezTo>
                    <a:close/>
                    <a:moveTo>
                      <a:pt x="398" y="307"/>
                    </a:moveTo>
                    <a:cubicBezTo>
                      <a:pt x="391" y="307"/>
                      <a:pt x="386" y="313"/>
                      <a:pt x="386" y="319"/>
                    </a:cubicBezTo>
                    <a:cubicBezTo>
                      <a:pt x="386" y="326"/>
                      <a:pt x="391" y="332"/>
                      <a:pt x="398" y="332"/>
                    </a:cubicBezTo>
                    <a:cubicBezTo>
                      <a:pt x="405" y="332"/>
                      <a:pt x="410" y="326"/>
                      <a:pt x="410" y="319"/>
                    </a:cubicBezTo>
                    <a:cubicBezTo>
                      <a:pt x="410" y="313"/>
                      <a:pt x="405" y="307"/>
                      <a:pt x="398" y="307"/>
                    </a:cubicBezTo>
                    <a:close/>
                    <a:moveTo>
                      <a:pt x="398" y="246"/>
                    </a:moveTo>
                    <a:cubicBezTo>
                      <a:pt x="391" y="246"/>
                      <a:pt x="386" y="251"/>
                      <a:pt x="386" y="258"/>
                    </a:cubicBezTo>
                    <a:cubicBezTo>
                      <a:pt x="386" y="265"/>
                      <a:pt x="391" y="270"/>
                      <a:pt x="398" y="270"/>
                    </a:cubicBezTo>
                    <a:cubicBezTo>
                      <a:pt x="405" y="270"/>
                      <a:pt x="410" y="265"/>
                      <a:pt x="410" y="258"/>
                    </a:cubicBezTo>
                    <a:cubicBezTo>
                      <a:pt x="410" y="251"/>
                      <a:pt x="405" y="246"/>
                      <a:pt x="398" y="246"/>
                    </a:cubicBezTo>
                    <a:close/>
                    <a:moveTo>
                      <a:pt x="398" y="277"/>
                    </a:moveTo>
                    <a:cubicBezTo>
                      <a:pt x="391" y="277"/>
                      <a:pt x="386" y="282"/>
                      <a:pt x="386" y="289"/>
                    </a:cubicBezTo>
                    <a:cubicBezTo>
                      <a:pt x="386" y="295"/>
                      <a:pt x="391" y="301"/>
                      <a:pt x="398" y="301"/>
                    </a:cubicBezTo>
                    <a:cubicBezTo>
                      <a:pt x="405" y="301"/>
                      <a:pt x="410" y="295"/>
                      <a:pt x="410" y="289"/>
                    </a:cubicBezTo>
                    <a:cubicBezTo>
                      <a:pt x="410" y="282"/>
                      <a:pt x="405" y="277"/>
                      <a:pt x="398" y="277"/>
                    </a:cubicBezTo>
                    <a:close/>
                    <a:moveTo>
                      <a:pt x="188" y="215"/>
                    </a:moveTo>
                    <a:cubicBezTo>
                      <a:pt x="181" y="215"/>
                      <a:pt x="175" y="220"/>
                      <a:pt x="175" y="227"/>
                    </a:cubicBezTo>
                    <a:cubicBezTo>
                      <a:pt x="175" y="234"/>
                      <a:pt x="181" y="239"/>
                      <a:pt x="188" y="239"/>
                    </a:cubicBezTo>
                    <a:cubicBezTo>
                      <a:pt x="194" y="239"/>
                      <a:pt x="200" y="234"/>
                      <a:pt x="200" y="227"/>
                    </a:cubicBezTo>
                    <a:cubicBezTo>
                      <a:pt x="200" y="220"/>
                      <a:pt x="194" y="215"/>
                      <a:pt x="188" y="215"/>
                    </a:cubicBezTo>
                    <a:close/>
                    <a:moveTo>
                      <a:pt x="188" y="184"/>
                    </a:moveTo>
                    <a:cubicBezTo>
                      <a:pt x="181" y="184"/>
                      <a:pt x="175" y="190"/>
                      <a:pt x="175" y="196"/>
                    </a:cubicBezTo>
                    <a:cubicBezTo>
                      <a:pt x="175" y="203"/>
                      <a:pt x="181" y="209"/>
                      <a:pt x="188" y="209"/>
                    </a:cubicBezTo>
                    <a:cubicBezTo>
                      <a:pt x="194" y="209"/>
                      <a:pt x="200" y="203"/>
                      <a:pt x="200" y="196"/>
                    </a:cubicBezTo>
                    <a:cubicBezTo>
                      <a:pt x="200" y="190"/>
                      <a:pt x="194" y="184"/>
                      <a:pt x="188" y="184"/>
                    </a:cubicBezTo>
                    <a:close/>
                    <a:moveTo>
                      <a:pt x="188" y="123"/>
                    </a:moveTo>
                    <a:cubicBezTo>
                      <a:pt x="181" y="123"/>
                      <a:pt x="175" y="128"/>
                      <a:pt x="175" y="135"/>
                    </a:cubicBezTo>
                    <a:cubicBezTo>
                      <a:pt x="175" y="142"/>
                      <a:pt x="181" y="147"/>
                      <a:pt x="188" y="147"/>
                    </a:cubicBezTo>
                    <a:cubicBezTo>
                      <a:pt x="194" y="147"/>
                      <a:pt x="200" y="142"/>
                      <a:pt x="200" y="135"/>
                    </a:cubicBezTo>
                    <a:cubicBezTo>
                      <a:pt x="200" y="128"/>
                      <a:pt x="194" y="123"/>
                      <a:pt x="188" y="123"/>
                    </a:cubicBezTo>
                    <a:close/>
                    <a:moveTo>
                      <a:pt x="188" y="61"/>
                    </a:moveTo>
                    <a:cubicBezTo>
                      <a:pt x="181" y="61"/>
                      <a:pt x="175" y="67"/>
                      <a:pt x="175" y="73"/>
                    </a:cubicBezTo>
                    <a:cubicBezTo>
                      <a:pt x="175" y="80"/>
                      <a:pt x="181" y="86"/>
                      <a:pt x="188" y="86"/>
                    </a:cubicBezTo>
                    <a:cubicBezTo>
                      <a:pt x="194" y="86"/>
                      <a:pt x="200" y="80"/>
                      <a:pt x="200" y="73"/>
                    </a:cubicBezTo>
                    <a:cubicBezTo>
                      <a:pt x="200" y="67"/>
                      <a:pt x="194" y="61"/>
                      <a:pt x="188" y="61"/>
                    </a:cubicBezTo>
                    <a:close/>
                    <a:moveTo>
                      <a:pt x="188" y="154"/>
                    </a:moveTo>
                    <a:cubicBezTo>
                      <a:pt x="181" y="154"/>
                      <a:pt x="175" y="159"/>
                      <a:pt x="175" y="166"/>
                    </a:cubicBezTo>
                    <a:cubicBezTo>
                      <a:pt x="175" y="172"/>
                      <a:pt x="181" y="178"/>
                      <a:pt x="188" y="178"/>
                    </a:cubicBezTo>
                    <a:cubicBezTo>
                      <a:pt x="194" y="178"/>
                      <a:pt x="200" y="172"/>
                      <a:pt x="200" y="166"/>
                    </a:cubicBezTo>
                    <a:cubicBezTo>
                      <a:pt x="200" y="159"/>
                      <a:pt x="194" y="154"/>
                      <a:pt x="188" y="154"/>
                    </a:cubicBezTo>
                    <a:close/>
                    <a:moveTo>
                      <a:pt x="188" y="92"/>
                    </a:moveTo>
                    <a:cubicBezTo>
                      <a:pt x="181" y="92"/>
                      <a:pt x="175" y="98"/>
                      <a:pt x="175" y="104"/>
                    </a:cubicBezTo>
                    <a:cubicBezTo>
                      <a:pt x="175" y="111"/>
                      <a:pt x="181" y="116"/>
                      <a:pt x="188" y="116"/>
                    </a:cubicBezTo>
                    <a:cubicBezTo>
                      <a:pt x="194" y="116"/>
                      <a:pt x="200" y="111"/>
                      <a:pt x="200" y="104"/>
                    </a:cubicBezTo>
                    <a:cubicBezTo>
                      <a:pt x="200" y="98"/>
                      <a:pt x="194" y="92"/>
                      <a:pt x="188" y="92"/>
                    </a:cubicBezTo>
                    <a:close/>
                    <a:moveTo>
                      <a:pt x="223" y="92"/>
                    </a:moveTo>
                    <a:cubicBezTo>
                      <a:pt x="216" y="92"/>
                      <a:pt x="210" y="98"/>
                      <a:pt x="210" y="104"/>
                    </a:cubicBezTo>
                    <a:cubicBezTo>
                      <a:pt x="210" y="111"/>
                      <a:pt x="216" y="116"/>
                      <a:pt x="223" y="116"/>
                    </a:cubicBezTo>
                    <a:cubicBezTo>
                      <a:pt x="229" y="116"/>
                      <a:pt x="235" y="111"/>
                      <a:pt x="235" y="104"/>
                    </a:cubicBezTo>
                    <a:cubicBezTo>
                      <a:pt x="235" y="98"/>
                      <a:pt x="229" y="92"/>
                      <a:pt x="223" y="92"/>
                    </a:cubicBezTo>
                    <a:close/>
                    <a:moveTo>
                      <a:pt x="223" y="123"/>
                    </a:moveTo>
                    <a:cubicBezTo>
                      <a:pt x="216" y="123"/>
                      <a:pt x="210" y="128"/>
                      <a:pt x="210" y="135"/>
                    </a:cubicBezTo>
                    <a:cubicBezTo>
                      <a:pt x="210" y="142"/>
                      <a:pt x="216" y="147"/>
                      <a:pt x="223" y="147"/>
                    </a:cubicBezTo>
                    <a:cubicBezTo>
                      <a:pt x="229" y="147"/>
                      <a:pt x="235" y="142"/>
                      <a:pt x="235" y="135"/>
                    </a:cubicBezTo>
                    <a:cubicBezTo>
                      <a:pt x="235" y="128"/>
                      <a:pt x="229" y="123"/>
                      <a:pt x="223" y="123"/>
                    </a:cubicBezTo>
                    <a:close/>
                    <a:moveTo>
                      <a:pt x="223" y="277"/>
                    </a:moveTo>
                    <a:cubicBezTo>
                      <a:pt x="216" y="277"/>
                      <a:pt x="210" y="282"/>
                      <a:pt x="210" y="289"/>
                    </a:cubicBezTo>
                    <a:cubicBezTo>
                      <a:pt x="210" y="295"/>
                      <a:pt x="216" y="301"/>
                      <a:pt x="223" y="301"/>
                    </a:cubicBezTo>
                    <a:cubicBezTo>
                      <a:pt x="229" y="301"/>
                      <a:pt x="235" y="295"/>
                      <a:pt x="235" y="289"/>
                    </a:cubicBezTo>
                    <a:cubicBezTo>
                      <a:pt x="235" y="282"/>
                      <a:pt x="229" y="277"/>
                      <a:pt x="223" y="277"/>
                    </a:cubicBezTo>
                    <a:close/>
                    <a:moveTo>
                      <a:pt x="223" y="338"/>
                    </a:moveTo>
                    <a:cubicBezTo>
                      <a:pt x="216" y="338"/>
                      <a:pt x="210" y="343"/>
                      <a:pt x="210" y="350"/>
                    </a:cubicBezTo>
                    <a:cubicBezTo>
                      <a:pt x="210" y="357"/>
                      <a:pt x="216" y="362"/>
                      <a:pt x="223" y="362"/>
                    </a:cubicBezTo>
                    <a:cubicBezTo>
                      <a:pt x="229" y="362"/>
                      <a:pt x="235" y="357"/>
                      <a:pt x="235" y="350"/>
                    </a:cubicBezTo>
                    <a:cubicBezTo>
                      <a:pt x="235" y="343"/>
                      <a:pt x="229" y="338"/>
                      <a:pt x="223" y="338"/>
                    </a:cubicBezTo>
                    <a:close/>
                    <a:moveTo>
                      <a:pt x="223" y="307"/>
                    </a:moveTo>
                    <a:cubicBezTo>
                      <a:pt x="216" y="307"/>
                      <a:pt x="210" y="313"/>
                      <a:pt x="210" y="319"/>
                    </a:cubicBezTo>
                    <a:cubicBezTo>
                      <a:pt x="210" y="326"/>
                      <a:pt x="216" y="332"/>
                      <a:pt x="223" y="332"/>
                    </a:cubicBezTo>
                    <a:cubicBezTo>
                      <a:pt x="229" y="332"/>
                      <a:pt x="235" y="326"/>
                      <a:pt x="235" y="319"/>
                    </a:cubicBezTo>
                    <a:cubicBezTo>
                      <a:pt x="235" y="313"/>
                      <a:pt x="229" y="307"/>
                      <a:pt x="223" y="307"/>
                    </a:cubicBezTo>
                    <a:close/>
                    <a:moveTo>
                      <a:pt x="223" y="184"/>
                    </a:moveTo>
                    <a:cubicBezTo>
                      <a:pt x="216" y="184"/>
                      <a:pt x="210" y="190"/>
                      <a:pt x="210" y="196"/>
                    </a:cubicBezTo>
                    <a:cubicBezTo>
                      <a:pt x="210" y="203"/>
                      <a:pt x="216" y="209"/>
                      <a:pt x="223" y="209"/>
                    </a:cubicBezTo>
                    <a:cubicBezTo>
                      <a:pt x="229" y="209"/>
                      <a:pt x="235" y="203"/>
                      <a:pt x="235" y="196"/>
                    </a:cubicBezTo>
                    <a:cubicBezTo>
                      <a:pt x="235" y="190"/>
                      <a:pt x="229" y="184"/>
                      <a:pt x="223" y="184"/>
                    </a:cubicBezTo>
                    <a:close/>
                    <a:moveTo>
                      <a:pt x="223" y="154"/>
                    </a:moveTo>
                    <a:cubicBezTo>
                      <a:pt x="216" y="154"/>
                      <a:pt x="210" y="159"/>
                      <a:pt x="210" y="166"/>
                    </a:cubicBezTo>
                    <a:cubicBezTo>
                      <a:pt x="210" y="172"/>
                      <a:pt x="216" y="178"/>
                      <a:pt x="223" y="178"/>
                    </a:cubicBezTo>
                    <a:cubicBezTo>
                      <a:pt x="229" y="178"/>
                      <a:pt x="235" y="172"/>
                      <a:pt x="235" y="166"/>
                    </a:cubicBezTo>
                    <a:cubicBezTo>
                      <a:pt x="235" y="159"/>
                      <a:pt x="229" y="154"/>
                      <a:pt x="223" y="154"/>
                    </a:cubicBezTo>
                    <a:close/>
                    <a:moveTo>
                      <a:pt x="223" y="246"/>
                    </a:moveTo>
                    <a:cubicBezTo>
                      <a:pt x="216" y="246"/>
                      <a:pt x="210" y="251"/>
                      <a:pt x="210" y="258"/>
                    </a:cubicBezTo>
                    <a:cubicBezTo>
                      <a:pt x="210" y="265"/>
                      <a:pt x="216" y="270"/>
                      <a:pt x="223" y="270"/>
                    </a:cubicBezTo>
                    <a:cubicBezTo>
                      <a:pt x="229" y="270"/>
                      <a:pt x="235" y="265"/>
                      <a:pt x="235" y="258"/>
                    </a:cubicBezTo>
                    <a:cubicBezTo>
                      <a:pt x="235" y="251"/>
                      <a:pt x="229" y="246"/>
                      <a:pt x="223" y="246"/>
                    </a:cubicBezTo>
                    <a:close/>
                    <a:moveTo>
                      <a:pt x="223" y="215"/>
                    </a:moveTo>
                    <a:cubicBezTo>
                      <a:pt x="216" y="215"/>
                      <a:pt x="210" y="220"/>
                      <a:pt x="210" y="227"/>
                    </a:cubicBezTo>
                    <a:cubicBezTo>
                      <a:pt x="210" y="234"/>
                      <a:pt x="216" y="239"/>
                      <a:pt x="223" y="239"/>
                    </a:cubicBezTo>
                    <a:cubicBezTo>
                      <a:pt x="229" y="239"/>
                      <a:pt x="235" y="234"/>
                      <a:pt x="235" y="227"/>
                    </a:cubicBezTo>
                    <a:cubicBezTo>
                      <a:pt x="235" y="220"/>
                      <a:pt x="229" y="215"/>
                      <a:pt x="223" y="215"/>
                    </a:cubicBezTo>
                    <a:close/>
                    <a:moveTo>
                      <a:pt x="188" y="31"/>
                    </a:moveTo>
                    <a:cubicBezTo>
                      <a:pt x="181" y="31"/>
                      <a:pt x="175" y="36"/>
                      <a:pt x="175" y="43"/>
                    </a:cubicBezTo>
                    <a:cubicBezTo>
                      <a:pt x="175" y="49"/>
                      <a:pt x="181" y="55"/>
                      <a:pt x="188" y="55"/>
                    </a:cubicBezTo>
                    <a:cubicBezTo>
                      <a:pt x="194" y="55"/>
                      <a:pt x="200" y="49"/>
                      <a:pt x="200" y="43"/>
                    </a:cubicBezTo>
                    <a:cubicBezTo>
                      <a:pt x="200" y="36"/>
                      <a:pt x="194" y="31"/>
                      <a:pt x="188" y="31"/>
                    </a:cubicBezTo>
                    <a:close/>
                    <a:moveTo>
                      <a:pt x="153" y="215"/>
                    </a:moveTo>
                    <a:cubicBezTo>
                      <a:pt x="146" y="215"/>
                      <a:pt x="140" y="220"/>
                      <a:pt x="140" y="227"/>
                    </a:cubicBezTo>
                    <a:cubicBezTo>
                      <a:pt x="140" y="234"/>
                      <a:pt x="146" y="239"/>
                      <a:pt x="153" y="239"/>
                    </a:cubicBezTo>
                    <a:cubicBezTo>
                      <a:pt x="159" y="239"/>
                      <a:pt x="165" y="234"/>
                      <a:pt x="165" y="227"/>
                    </a:cubicBezTo>
                    <a:cubicBezTo>
                      <a:pt x="165" y="220"/>
                      <a:pt x="159" y="215"/>
                      <a:pt x="153" y="215"/>
                    </a:cubicBezTo>
                    <a:close/>
                    <a:moveTo>
                      <a:pt x="153" y="184"/>
                    </a:moveTo>
                    <a:cubicBezTo>
                      <a:pt x="146" y="184"/>
                      <a:pt x="140" y="190"/>
                      <a:pt x="140" y="196"/>
                    </a:cubicBezTo>
                    <a:cubicBezTo>
                      <a:pt x="140" y="203"/>
                      <a:pt x="146" y="209"/>
                      <a:pt x="153" y="209"/>
                    </a:cubicBezTo>
                    <a:cubicBezTo>
                      <a:pt x="159" y="209"/>
                      <a:pt x="165" y="203"/>
                      <a:pt x="165" y="196"/>
                    </a:cubicBezTo>
                    <a:cubicBezTo>
                      <a:pt x="165" y="190"/>
                      <a:pt x="159" y="184"/>
                      <a:pt x="153" y="184"/>
                    </a:cubicBezTo>
                    <a:close/>
                    <a:moveTo>
                      <a:pt x="153" y="338"/>
                    </a:moveTo>
                    <a:cubicBezTo>
                      <a:pt x="146" y="338"/>
                      <a:pt x="140" y="343"/>
                      <a:pt x="140" y="350"/>
                    </a:cubicBezTo>
                    <a:cubicBezTo>
                      <a:pt x="140" y="357"/>
                      <a:pt x="146" y="362"/>
                      <a:pt x="153" y="362"/>
                    </a:cubicBezTo>
                    <a:cubicBezTo>
                      <a:pt x="159" y="362"/>
                      <a:pt x="165" y="357"/>
                      <a:pt x="165" y="350"/>
                    </a:cubicBezTo>
                    <a:cubicBezTo>
                      <a:pt x="165" y="343"/>
                      <a:pt x="159" y="338"/>
                      <a:pt x="153" y="338"/>
                    </a:cubicBezTo>
                    <a:close/>
                    <a:moveTo>
                      <a:pt x="153" y="307"/>
                    </a:moveTo>
                    <a:cubicBezTo>
                      <a:pt x="146" y="307"/>
                      <a:pt x="140" y="313"/>
                      <a:pt x="140" y="319"/>
                    </a:cubicBezTo>
                    <a:cubicBezTo>
                      <a:pt x="140" y="326"/>
                      <a:pt x="146" y="332"/>
                      <a:pt x="153" y="332"/>
                    </a:cubicBezTo>
                    <a:cubicBezTo>
                      <a:pt x="159" y="332"/>
                      <a:pt x="165" y="326"/>
                      <a:pt x="165" y="319"/>
                    </a:cubicBezTo>
                    <a:cubicBezTo>
                      <a:pt x="165" y="313"/>
                      <a:pt x="159" y="307"/>
                      <a:pt x="153" y="307"/>
                    </a:cubicBezTo>
                    <a:close/>
                    <a:moveTo>
                      <a:pt x="153" y="277"/>
                    </a:moveTo>
                    <a:cubicBezTo>
                      <a:pt x="146" y="277"/>
                      <a:pt x="140" y="282"/>
                      <a:pt x="140" y="289"/>
                    </a:cubicBezTo>
                    <a:cubicBezTo>
                      <a:pt x="140" y="295"/>
                      <a:pt x="146" y="301"/>
                      <a:pt x="153" y="301"/>
                    </a:cubicBezTo>
                    <a:cubicBezTo>
                      <a:pt x="159" y="301"/>
                      <a:pt x="165" y="295"/>
                      <a:pt x="165" y="289"/>
                    </a:cubicBezTo>
                    <a:cubicBezTo>
                      <a:pt x="165" y="282"/>
                      <a:pt x="159" y="277"/>
                      <a:pt x="153" y="277"/>
                    </a:cubicBezTo>
                    <a:close/>
                    <a:moveTo>
                      <a:pt x="153" y="246"/>
                    </a:moveTo>
                    <a:cubicBezTo>
                      <a:pt x="146" y="246"/>
                      <a:pt x="140" y="251"/>
                      <a:pt x="140" y="258"/>
                    </a:cubicBezTo>
                    <a:cubicBezTo>
                      <a:pt x="140" y="265"/>
                      <a:pt x="146" y="270"/>
                      <a:pt x="153" y="270"/>
                    </a:cubicBezTo>
                    <a:cubicBezTo>
                      <a:pt x="159" y="270"/>
                      <a:pt x="165" y="265"/>
                      <a:pt x="165" y="258"/>
                    </a:cubicBezTo>
                    <a:cubicBezTo>
                      <a:pt x="165" y="251"/>
                      <a:pt x="159" y="246"/>
                      <a:pt x="153" y="246"/>
                    </a:cubicBezTo>
                    <a:close/>
                    <a:moveTo>
                      <a:pt x="153" y="61"/>
                    </a:moveTo>
                    <a:cubicBezTo>
                      <a:pt x="146" y="61"/>
                      <a:pt x="140" y="67"/>
                      <a:pt x="140" y="73"/>
                    </a:cubicBezTo>
                    <a:cubicBezTo>
                      <a:pt x="140" y="80"/>
                      <a:pt x="146" y="86"/>
                      <a:pt x="153" y="86"/>
                    </a:cubicBezTo>
                    <a:cubicBezTo>
                      <a:pt x="159" y="86"/>
                      <a:pt x="165" y="80"/>
                      <a:pt x="165" y="73"/>
                    </a:cubicBezTo>
                    <a:cubicBezTo>
                      <a:pt x="165" y="67"/>
                      <a:pt x="159" y="61"/>
                      <a:pt x="153" y="61"/>
                    </a:cubicBezTo>
                    <a:close/>
                    <a:moveTo>
                      <a:pt x="153" y="92"/>
                    </a:moveTo>
                    <a:cubicBezTo>
                      <a:pt x="146" y="92"/>
                      <a:pt x="140" y="98"/>
                      <a:pt x="140" y="104"/>
                    </a:cubicBezTo>
                    <a:cubicBezTo>
                      <a:pt x="140" y="111"/>
                      <a:pt x="146" y="116"/>
                      <a:pt x="153" y="116"/>
                    </a:cubicBezTo>
                    <a:cubicBezTo>
                      <a:pt x="159" y="116"/>
                      <a:pt x="165" y="111"/>
                      <a:pt x="165" y="104"/>
                    </a:cubicBezTo>
                    <a:cubicBezTo>
                      <a:pt x="165" y="98"/>
                      <a:pt x="159" y="92"/>
                      <a:pt x="153" y="92"/>
                    </a:cubicBezTo>
                    <a:close/>
                    <a:moveTo>
                      <a:pt x="153" y="154"/>
                    </a:moveTo>
                    <a:cubicBezTo>
                      <a:pt x="146" y="154"/>
                      <a:pt x="140" y="159"/>
                      <a:pt x="140" y="166"/>
                    </a:cubicBezTo>
                    <a:cubicBezTo>
                      <a:pt x="140" y="172"/>
                      <a:pt x="146" y="178"/>
                      <a:pt x="153" y="178"/>
                    </a:cubicBezTo>
                    <a:cubicBezTo>
                      <a:pt x="159" y="178"/>
                      <a:pt x="165" y="172"/>
                      <a:pt x="165" y="166"/>
                    </a:cubicBezTo>
                    <a:cubicBezTo>
                      <a:pt x="165" y="159"/>
                      <a:pt x="159" y="154"/>
                      <a:pt x="153" y="154"/>
                    </a:cubicBezTo>
                    <a:close/>
                    <a:moveTo>
                      <a:pt x="153" y="123"/>
                    </a:moveTo>
                    <a:cubicBezTo>
                      <a:pt x="146" y="123"/>
                      <a:pt x="140" y="128"/>
                      <a:pt x="140" y="135"/>
                    </a:cubicBezTo>
                    <a:cubicBezTo>
                      <a:pt x="140" y="142"/>
                      <a:pt x="146" y="147"/>
                      <a:pt x="153" y="147"/>
                    </a:cubicBezTo>
                    <a:cubicBezTo>
                      <a:pt x="159" y="147"/>
                      <a:pt x="165" y="142"/>
                      <a:pt x="165" y="135"/>
                    </a:cubicBezTo>
                    <a:cubicBezTo>
                      <a:pt x="165" y="128"/>
                      <a:pt x="159" y="123"/>
                      <a:pt x="153" y="123"/>
                    </a:cubicBezTo>
                    <a:close/>
                    <a:moveTo>
                      <a:pt x="153" y="369"/>
                    </a:moveTo>
                    <a:cubicBezTo>
                      <a:pt x="146" y="369"/>
                      <a:pt x="140" y="374"/>
                      <a:pt x="140" y="381"/>
                    </a:cubicBezTo>
                    <a:cubicBezTo>
                      <a:pt x="140" y="388"/>
                      <a:pt x="146" y="393"/>
                      <a:pt x="153" y="393"/>
                    </a:cubicBezTo>
                    <a:cubicBezTo>
                      <a:pt x="159" y="393"/>
                      <a:pt x="165" y="388"/>
                      <a:pt x="165" y="381"/>
                    </a:cubicBezTo>
                    <a:cubicBezTo>
                      <a:pt x="165" y="374"/>
                      <a:pt x="159" y="369"/>
                      <a:pt x="153" y="369"/>
                    </a:cubicBezTo>
                    <a:close/>
                    <a:moveTo>
                      <a:pt x="153" y="31"/>
                    </a:moveTo>
                    <a:cubicBezTo>
                      <a:pt x="146" y="31"/>
                      <a:pt x="140" y="36"/>
                      <a:pt x="140" y="43"/>
                    </a:cubicBezTo>
                    <a:cubicBezTo>
                      <a:pt x="140" y="49"/>
                      <a:pt x="146" y="55"/>
                      <a:pt x="153" y="55"/>
                    </a:cubicBezTo>
                    <a:cubicBezTo>
                      <a:pt x="159" y="55"/>
                      <a:pt x="165" y="49"/>
                      <a:pt x="165" y="43"/>
                    </a:cubicBezTo>
                    <a:cubicBezTo>
                      <a:pt x="165" y="36"/>
                      <a:pt x="159" y="31"/>
                      <a:pt x="153" y="31"/>
                    </a:cubicBezTo>
                    <a:close/>
                    <a:moveTo>
                      <a:pt x="153" y="430"/>
                    </a:moveTo>
                    <a:cubicBezTo>
                      <a:pt x="146" y="430"/>
                      <a:pt x="140" y="436"/>
                      <a:pt x="140" y="442"/>
                    </a:cubicBezTo>
                    <a:cubicBezTo>
                      <a:pt x="140" y="449"/>
                      <a:pt x="146" y="455"/>
                      <a:pt x="153" y="455"/>
                    </a:cubicBezTo>
                    <a:cubicBezTo>
                      <a:pt x="159" y="455"/>
                      <a:pt x="165" y="449"/>
                      <a:pt x="165" y="442"/>
                    </a:cubicBezTo>
                    <a:cubicBezTo>
                      <a:pt x="165" y="436"/>
                      <a:pt x="159" y="430"/>
                      <a:pt x="153" y="430"/>
                    </a:cubicBezTo>
                    <a:close/>
                    <a:moveTo>
                      <a:pt x="153" y="399"/>
                    </a:moveTo>
                    <a:cubicBezTo>
                      <a:pt x="146" y="399"/>
                      <a:pt x="140" y="405"/>
                      <a:pt x="140" y="412"/>
                    </a:cubicBezTo>
                    <a:cubicBezTo>
                      <a:pt x="140" y="418"/>
                      <a:pt x="146" y="424"/>
                      <a:pt x="153" y="424"/>
                    </a:cubicBezTo>
                    <a:cubicBezTo>
                      <a:pt x="159" y="424"/>
                      <a:pt x="165" y="418"/>
                      <a:pt x="165" y="412"/>
                    </a:cubicBezTo>
                    <a:cubicBezTo>
                      <a:pt x="165" y="405"/>
                      <a:pt x="159" y="399"/>
                      <a:pt x="153" y="399"/>
                    </a:cubicBezTo>
                    <a:close/>
                    <a:moveTo>
                      <a:pt x="153" y="461"/>
                    </a:moveTo>
                    <a:cubicBezTo>
                      <a:pt x="146" y="461"/>
                      <a:pt x="140" y="466"/>
                      <a:pt x="140" y="473"/>
                    </a:cubicBezTo>
                    <a:cubicBezTo>
                      <a:pt x="140" y="480"/>
                      <a:pt x="146" y="485"/>
                      <a:pt x="153" y="485"/>
                    </a:cubicBezTo>
                    <a:cubicBezTo>
                      <a:pt x="159" y="485"/>
                      <a:pt x="165" y="480"/>
                      <a:pt x="165" y="473"/>
                    </a:cubicBezTo>
                    <a:cubicBezTo>
                      <a:pt x="165" y="466"/>
                      <a:pt x="159" y="461"/>
                      <a:pt x="153" y="461"/>
                    </a:cubicBezTo>
                    <a:close/>
                    <a:moveTo>
                      <a:pt x="188" y="246"/>
                    </a:moveTo>
                    <a:cubicBezTo>
                      <a:pt x="181" y="246"/>
                      <a:pt x="175" y="251"/>
                      <a:pt x="175" y="258"/>
                    </a:cubicBezTo>
                    <a:cubicBezTo>
                      <a:pt x="175" y="265"/>
                      <a:pt x="181" y="270"/>
                      <a:pt x="188" y="270"/>
                    </a:cubicBezTo>
                    <a:cubicBezTo>
                      <a:pt x="194" y="270"/>
                      <a:pt x="200" y="265"/>
                      <a:pt x="200" y="258"/>
                    </a:cubicBezTo>
                    <a:cubicBezTo>
                      <a:pt x="200" y="251"/>
                      <a:pt x="194" y="246"/>
                      <a:pt x="188" y="246"/>
                    </a:cubicBezTo>
                    <a:close/>
                    <a:moveTo>
                      <a:pt x="188" y="277"/>
                    </a:moveTo>
                    <a:cubicBezTo>
                      <a:pt x="181" y="277"/>
                      <a:pt x="175" y="282"/>
                      <a:pt x="175" y="289"/>
                    </a:cubicBezTo>
                    <a:cubicBezTo>
                      <a:pt x="175" y="295"/>
                      <a:pt x="181" y="301"/>
                      <a:pt x="188" y="301"/>
                    </a:cubicBezTo>
                    <a:cubicBezTo>
                      <a:pt x="194" y="301"/>
                      <a:pt x="200" y="295"/>
                      <a:pt x="200" y="289"/>
                    </a:cubicBezTo>
                    <a:cubicBezTo>
                      <a:pt x="200" y="282"/>
                      <a:pt x="194" y="277"/>
                      <a:pt x="188" y="277"/>
                    </a:cubicBezTo>
                    <a:close/>
                    <a:moveTo>
                      <a:pt x="188" y="369"/>
                    </a:moveTo>
                    <a:cubicBezTo>
                      <a:pt x="181" y="369"/>
                      <a:pt x="175" y="374"/>
                      <a:pt x="175" y="381"/>
                    </a:cubicBezTo>
                    <a:cubicBezTo>
                      <a:pt x="175" y="388"/>
                      <a:pt x="181" y="393"/>
                      <a:pt x="188" y="393"/>
                    </a:cubicBezTo>
                    <a:cubicBezTo>
                      <a:pt x="194" y="393"/>
                      <a:pt x="200" y="388"/>
                      <a:pt x="200" y="381"/>
                    </a:cubicBezTo>
                    <a:cubicBezTo>
                      <a:pt x="200" y="374"/>
                      <a:pt x="194" y="369"/>
                      <a:pt x="188" y="369"/>
                    </a:cubicBezTo>
                    <a:close/>
                    <a:moveTo>
                      <a:pt x="188" y="307"/>
                    </a:moveTo>
                    <a:cubicBezTo>
                      <a:pt x="181" y="307"/>
                      <a:pt x="175" y="313"/>
                      <a:pt x="175" y="319"/>
                    </a:cubicBezTo>
                    <a:cubicBezTo>
                      <a:pt x="175" y="326"/>
                      <a:pt x="181" y="332"/>
                      <a:pt x="188" y="332"/>
                    </a:cubicBezTo>
                    <a:cubicBezTo>
                      <a:pt x="194" y="332"/>
                      <a:pt x="200" y="326"/>
                      <a:pt x="200" y="319"/>
                    </a:cubicBezTo>
                    <a:cubicBezTo>
                      <a:pt x="200" y="313"/>
                      <a:pt x="194" y="307"/>
                      <a:pt x="188" y="307"/>
                    </a:cubicBezTo>
                    <a:close/>
                    <a:moveTo>
                      <a:pt x="188" y="338"/>
                    </a:moveTo>
                    <a:cubicBezTo>
                      <a:pt x="181" y="338"/>
                      <a:pt x="175" y="343"/>
                      <a:pt x="175" y="350"/>
                    </a:cubicBezTo>
                    <a:cubicBezTo>
                      <a:pt x="175" y="357"/>
                      <a:pt x="181" y="362"/>
                      <a:pt x="188" y="362"/>
                    </a:cubicBezTo>
                    <a:cubicBezTo>
                      <a:pt x="194" y="362"/>
                      <a:pt x="200" y="357"/>
                      <a:pt x="200" y="350"/>
                    </a:cubicBezTo>
                    <a:cubicBezTo>
                      <a:pt x="200" y="343"/>
                      <a:pt x="194" y="338"/>
                      <a:pt x="188" y="338"/>
                    </a:cubicBezTo>
                    <a:close/>
                    <a:moveTo>
                      <a:pt x="188" y="399"/>
                    </a:moveTo>
                    <a:cubicBezTo>
                      <a:pt x="181" y="399"/>
                      <a:pt x="175" y="405"/>
                      <a:pt x="175" y="412"/>
                    </a:cubicBezTo>
                    <a:cubicBezTo>
                      <a:pt x="175" y="418"/>
                      <a:pt x="181" y="424"/>
                      <a:pt x="188" y="424"/>
                    </a:cubicBezTo>
                    <a:cubicBezTo>
                      <a:pt x="194" y="424"/>
                      <a:pt x="200" y="418"/>
                      <a:pt x="200" y="412"/>
                    </a:cubicBezTo>
                    <a:cubicBezTo>
                      <a:pt x="200" y="405"/>
                      <a:pt x="194" y="399"/>
                      <a:pt x="188" y="399"/>
                    </a:cubicBezTo>
                    <a:close/>
                    <a:moveTo>
                      <a:pt x="188" y="430"/>
                    </a:moveTo>
                    <a:cubicBezTo>
                      <a:pt x="181" y="430"/>
                      <a:pt x="175" y="436"/>
                      <a:pt x="175" y="442"/>
                    </a:cubicBezTo>
                    <a:cubicBezTo>
                      <a:pt x="175" y="449"/>
                      <a:pt x="181" y="455"/>
                      <a:pt x="188" y="455"/>
                    </a:cubicBezTo>
                    <a:cubicBezTo>
                      <a:pt x="194" y="455"/>
                      <a:pt x="200" y="449"/>
                      <a:pt x="200" y="442"/>
                    </a:cubicBezTo>
                    <a:cubicBezTo>
                      <a:pt x="200" y="436"/>
                      <a:pt x="194" y="430"/>
                      <a:pt x="188" y="430"/>
                    </a:cubicBezTo>
                    <a:close/>
                    <a:moveTo>
                      <a:pt x="153" y="0"/>
                    </a:moveTo>
                    <a:cubicBezTo>
                      <a:pt x="146" y="0"/>
                      <a:pt x="140" y="5"/>
                      <a:pt x="140" y="12"/>
                    </a:cubicBezTo>
                    <a:cubicBezTo>
                      <a:pt x="140" y="19"/>
                      <a:pt x="146" y="24"/>
                      <a:pt x="153" y="24"/>
                    </a:cubicBezTo>
                    <a:cubicBezTo>
                      <a:pt x="159" y="24"/>
                      <a:pt x="165" y="19"/>
                      <a:pt x="165" y="12"/>
                    </a:cubicBezTo>
                    <a:cubicBezTo>
                      <a:pt x="165" y="5"/>
                      <a:pt x="159" y="0"/>
                      <a:pt x="153" y="0"/>
                    </a:cubicBezTo>
                    <a:close/>
                    <a:moveTo>
                      <a:pt x="258" y="92"/>
                    </a:moveTo>
                    <a:cubicBezTo>
                      <a:pt x="251" y="92"/>
                      <a:pt x="245" y="98"/>
                      <a:pt x="245" y="104"/>
                    </a:cubicBezTo>
                    <a:cubicBezTo>
                      <a:pt x="245" y="111"/>
                      <a:pt x="251" y="116"/>
                      <a:pt x="258" y="116"/>
                    </a:cubicBezTo>
                    <a:cubicBezTo>
                      <a:pt x="264" y="116"/>
                      <a:pt x="270" y="111"/>
                      <a:pt x="270" y="104"/>
                    </a:cubicBezTo>
                    <a:cubicBezTo>
                      <a:pt x="270" y="98"/>
                      <a:pt x="264" y="92"/>
                      <a:pt x="258" y="92"/>
                    </a:cubicBezTo>
                    <a:close/>
                    <a:moveTo>
                      <a:pt x="258" y="184"/>
                    </a:moveTo>
                    <a:cubicBezTo>
                      <a:pt x="251" y="184"/>
                      <a:pt x="245" y="190"/>
                      <a:pt x="245" y="196"/>
                    </a:cubicBezTo>
                    <a:cubicBezTo>
                      <a:pt x="245" y="203"/>
                      <a:pt x="251" y="209"/>
                      <a:pt x="258" y="209"/>
                    </a:cubicBezTo>
                    <a:cubicBezTo>
                      <a:pt x="264" y="209"/>
                      <a:pt x="270" y="203"/>
                      <a:pt x="270" y="196"/>
                    </a:cubicBezTo>
                    <a:cubicBezTo>
                      <a:pt x="270" y="190"/>
                      <a:pt x="264" y="184"/>
                      <a:pt x="258" y="184"/>
                    </a:cubicBezTo>
                    <a:close/>
                    <a:moveTo>
                      <a:pt x="258" y="215"/>
                    </a:moveTo>
                    <a:cubicBezTo>
                      <a:pt x="251" y="215"/>
                      <a:pt x="245" y="220"/>
                      <a:pt x="245" y="227"/>
                    </a:cubicBezTo>
                    <a:cubicBezTo>
                      <a:pt x="245" y="234"/>
                      <a:pt x="251" y="239"/>
                      <a:pt x="258" y="239"/>
                    </a:cubicBezTo>
                    <a:cubicBezTo>
                      <a:pt x="264" y="239"/>
                      <a:pt x="270" y="234"/>
                      <a:pt x="270" y="227"/>
                    </a:cubicBezTo>
                    <a:cubicBezTo>
                      <a:pt x="270" y="220"/>
                      <a:pt x="264" y="215"/>
                      <a:pt x="258" y="215"/>
                    </a:cubicBezTo>
                    <a:close/>
                    <a:moveTo>
                      <a:pt x="258" y="154"/>
                    </a:moveTo>
                    <a:cubicBezTo>
                      <a:pt x="251" y="154"/>
                      <a:pt x="245" y="159"/>
                      <a:pt x="245" y="166"/>
                    </a:cubicBezTo>
                    <a:cubicBezTo>
                      <a:pt x="245" y="172"/>
                      <a:pt x="251" y="178"/>
                      <a:pt x="258" y="178"/>
                    </a:cubicBezTo>
                    <a:cubicBezTo>
                      <a:pt x="264" y="178"/>
                      <a:pt x="270" y="172"/>
                      <a:pt x="270" y="166"/>
                    </a:cubicBezTo>
                    <a:cubicBezTo>
                      <a:pt x="270" y="159"/>
                      <a:pt x="264" y="154"/>
                      <a:pt x="258" y="154"/>
                    </a:cubicBezTo>
                    <a:close/>
                    <a:moveTo>
                      <a:pt x="258" y="277"/>
                    </a:moveTo>
                    <a:cubicBezTo>
                      <a:pt x="251" y="277"/>
                      <a:pt x="245" y="282"/>
                      <a:pt x="245" y="289"/>
                    </a:cubicBezTo>
                    <a:cubicBezTo>
                      <a:pt x="245" y="295"/>
                      <a:pt x="251" y="301"/>
                      <a:pt x="258" y="301"/>
                    </a:cubicBezTo>
                    <a:cubicBezTo>
                      <a:pt x="264" y="301"/>
                      <a:pt x="270" y="295"/>
                      <a:pt x="270" y="289"/>
                    </a:cubicBezTo>
                    <a:cubicBezTo>
                      <a:pt x="270" y="282"/>
                      <a:pt x="264" y="277"/>
                      <a:pt x="258" y="277"/>
                    </a:cubicBezTo>
                    <a:close/>
                    <a:moveTo>
                      <a:pt x="258" y="246"/>
                    </a:moveTo>
                    <a:cubicBezTo>
                      <a:pt x="251" y="246"/>
                      <a:pt x="245" y="251"/>
                      <a:pt x="245" y="258"/>
                    </a:cubicBezTo>
                    <a:cubicBezTo>
                      <a:pt x="245" y="265"/>
                      <a:pt x="251" y="270"/>
                      <a:pt x="258" y="270"/>
                    </a:cubicBezTo>
                    <a:cubicBezTo>
                      <a:pt x="264" y="270"/>
                      <a:pt x="270" y="265"/>
                      <a:pt x="270" y="258"/>
                    </a:cubicBezTo>
                    <a:cubicBezTo>
                      <a:pt x="270" y="251"/>
                      <a:pt x="264" y="246"/>
                      <a:pt x="258" y="246"/>
                    </a:cubicBezTo>
                    <a:close/>
                    <a:moveTo>
                      <a:pt x="293" y="246"/>
                    </a:moveTo>
                    <a:cubicBezTo>
                      <a:pt x="286" y="246"/>
                      <a:pt x="281" y="251"/>
                      <a:pt x="281" y="258"/>
                    </a:cubicBezTo>
                    <a:cubicBezTo>
                      <a:pt x="281" y="265"/>
                      <a:pt x="286" y="270"/>
                      <a:pt x="293" y="270"/>
                    </a:cubicBezTo>
                    <a:cubicBezTo>
                      <a:pt x="299" y="270"/>
                      <a:pt x="305" y="265"/>
                      <a:pt x="305" y="258"/>
                    </a:cubicBezTo>
                    <a:cubicBezTo>
                      <a:pt x="305" y="251"/>
                      <a:pt x="299" y="246"/>
                      <a:pt x="293" y="246"/>
                    </a:cubicBezTo>
                    <a:close/>
                    <a:moveTo>
                      <a:pt x="293" y="277"/>
                    </a:moveTo>
                    <a:cubicBezTo>
                      <a:pt x="286" y="277"/>
                      <a:pt x="281" y="282"/>
                      <a:pt x="281" y="289"/>
                    </a:cubicBezTo>
                    <a:cubicBezTo>
                      <a:pt x="281" y="295"/>
                      <a:pt x="286" y="301"/>
                      <a:pt x="293" y="301"/>
                    </a:cubicBezTo>
                    <a:cubicBezTo>
                      <a:pt x="299" y="301"/>
                      <a:pt x="305" y="295"/>
                      <a:pt x="305" y="289"/>
                    </a:cubicBezTo>
                    <a:cubicBezTo>
                      <a:pt x="305" y="282"/>
                      <a:pt x="299" y="277"/>
                      <a:pt x="293" y="277"/>
                    </a:cubicBezTo>
                    <a:close/>
                    <a:moveTo>
                      <a:pt x="293" y="215"/>
                    </a:moveTo>
                    <a:cubicBezTo>
                      <a:pt x="286" y="215"/>
                      <a:pt x="281" y="220"/>
                      <a:pt x="281" y="227"/>
                    </a:cubicBezTo>
                    <a:cubicBezTo>
                      <a:pt x="281" y="234"/>
                      <a:pt x="286" y="239"/>
                      <a:pt x="293" y="239"/>
                    </a:cubicBezTo>
                    <a:cubicBezTo>
                      <a:pt x="299" y="239"/>
                      <a:pt x="305" y="234"/>
                      <a:pt x="305" y="227"/>
                    </a:cubicBezTo>
                    <a:cubicBezTo>
                      <a:pt x="305" y="220"/>
                      <a:pt x="299" y="215"/>
                      <a:pt x="293" y="215"/>
                    </a:cubicBezTo>
                    <a:close/>
                    <a:moveTo>
                      <a:pt x="293" y="184"/>
                    </a:moveTo>
                    <a:cubicBezTo>
                      <a:pt x="286" y="184"/>
                      <a:pt x="281" y="190"/>
                      <a:pt x="281" y="196"/>
                    </a:cubicBezTo>
                    <a:cubicBezTo>
                      <a:pt x="281" y="203"/>
                      <a:pt x="286" y="209"/>
                      <a:pt x="293" y="209"/>
                    </a:cubicBezTo>
                    <a:cubicBezTo>
                      <a:pt x="299" y="209"/>
                      <a:pt x="305" y="203"/>
                      <a:pt x="305" y="196"/>
                    </a:cubicBezTo>
                    <a:cubicBezTo>
                      <a:pt x="305" y="190"/>
                      <a:pt x="299" y="184"/>
                      <a:pt x="293" y="184"/>
                    </a:cubicBezTo>
                    <a:close/>
                    <a:moveTo>
                      <a:pt x="82" y="184"/>
                    </a:moveTo>
                    <a:cubicBezTo>
                      <a:pt x="76" y="184"/>
                      <a:pt x="70" y="190"/>
                      <a:pt x="70" y="196"/>
                    </a:cubicBezTo>
                    <a:cubicBezTo>
                      <a:pt x="70" y="203"/>
                      <a:pt x="76" y="209"/>
                      <a:pt x="82" y="209"/>
                    </a:cubicBezTo>
                    <a:cubicBezTo>
                      <a:pt x="89" y="209"/>
                      <a:pt x="95" y="203"/>
                      <a:pt x="95" y="196"/>
                    </a:cubicBezTo>
                    <a:cubicBezTo>
                      <a:pt x="95" y="190"/>
                      <a:pt x="89" y="184"/>
                      <a:pt x="82" y="184"/>
                    </a:cubicBezTo>
                    <a:close/>
                    <a:moveTo>
                      <a:pt x="118" y="338"/>
                    </a:moveTo>
                    <a:cubicBezTo>
                      <a:pt x="111" y="338"/>
                      <a:pt x="105" y="343"/>
                      <a:pt x="105" y="350"/>
                    </a:cubicBezTo>
                    <a:cubicBezTo>
                      <a:pt x="105" y="357"/>
                      <a:pt x="111" y="362"/>
                      <a:pt x="118" y="362"/>
                    </a:cubicBezTo>
                    <a:cubicBezTo>
                      <a:pt x="124" y="362"/>
                      <a:pt x="130" y="357"/>
                      <a:pt x="130" y="350"/>
                    </a:cubicBezTo>
                    <a:cubicBezTo>
                      <a:pt x="130" y="343"/>
                      <a:pt x="124" y="338"/>
                      <a:pt x="118" y="338"/>
                    </a:cubicBezTo>
                    <a:close/>
                    <a:moveTo>
                      <a:pt x="118" y="369"/>
                    </a:moveTo>
                    <a:cubicBezTo>
                      <a:pt x="111" y="369"/>
                      <a:pt x="105" y="374"/>
                      <a:pt x="105" y="381"/>
                    </a:cubicBezTo>
                    <a:cubicBezTo>
                      <a:pt x="105" y="388"/>
                      <a:pt x="111" y="393"/>
                      <a:pt x="118" y="393"/>
                    </a:cubicBezTo>
                    <a:cubicBezTo>
                      <a:pt x="124" y="393"/>
                      <a:pt x="130" y="388"/>
                      <a:pt x="130" y="381"/>
                    </a:cubicBezTo>
                    <a:cubicBezTo>
                      <a:pt x="130" y="374"/>
                      <a:pt x="124" y="369"/>
                      <a:pt x="118" y="369"/>
                    </a:cubicBezTo>
                    <a:close/>
                    <a:moveTo>
                      <a:pt x="118" y="399"/>
                    </a:moveTo>
                    <a:cubicBezTo>
                      <a:pt x="111" y="399"/>
                      <a:pt x="105" y="405"/>
                      <a:pt x="105" y="412"/>
                    </a:cubicBezTo>
                    <a:cubicBezTo>
                      <a:pt x="105" y="418"/>
                      <a:pt x="111" y="424"/>
                      <a:pt x="118" y="424"/>
                    </a:cubicBezTo>
                    <a:cubicBezTo>
                      <a:pt x="124" y="424"/>
                      <a:pt x="130" y="418"/>
                      <a:pt x="130" y="412"/>
                    </a:cubicBezTo>
                    <a:cubicBezTo>
                      <a:pt x="130" y="405"/>
                      <a:pt x="124" y="399"/>
                      <a:pt x="118" y="399"/>
                    </a:cubicBezTo>
                    <a:close/>
                    <a:moveTo>
                      <a:pt x="118" y="307"/>
                    </a:moveTo>
                    <a:cubicBezTo>
                      <a:pt x="111" y="307"/>
                      <a:pt x="105" y="313"/>
                      <a:pt x="105" y="319"/>
                    </a:cubicBezTo>
                    <a:cubicBezTo>
                      <a:pt x="105" y="326"/>
                      <a:pt x="111" y="332"/>
                      <a:pt x="118" y="332"/>
                    </a:cubicBezTo>
                    <a:cubicBezTo>
                      <a:pt x="124" y="332"/>
                      <a:pt x="130" y="326"/>
                      <a:pt x="130" y="319"/>
                    </a:cubicBezTo>
                    <a:cubicBezTo>
                      <a:pt x="130" y="313"/>
                      <a:pt x="124" y="307"/>
                      <a:pt x="118" y="307"/>
                    </a:cubicBezTo>
                    <a:close/>
                    <a:moveTo>
                      <a:pt x="118" y="246"/>
                    </a:moveTo>
                    <a:cubicBezTo>
                      <a:pt x="111" y="246"/>
                      <a:pt x="105" y="251"/>
                      <a:pt x="105" y="258"/>
                    </a:cubicBezTo>
                    <a:cubicBezTo>
                      <a:pt x="105" y="265"/>
                      <a:pt x="111" y="270"/>
                      <a:pt x="118" y="270"/>
                    </a:cubicBezTo>
                    <a:cubicBezTo>
                      <a:pt x="124" y="270"/>
                      <a:pt x="130" y="265"/>
                      <a:pt x="130" y="258"/>
                    </a:cubicBezTo>
                    <a:cubicBezTo>
                      <a:pt x="130" y="251"/>
                      <a:pt x="124" y="246"/>
                      <a:pt x="118" y="246"/>
                    </a:cubicBezTo>
                    <a:close/>
                    <a:moveTo>
                      <a:pt x="118" y="215"/>
                    </a:moveTo>
                    <a:cubicBezTo>
                      <a:pt x="111" y="215"/>
                      <a:pt x="105" y="220"/>
                      <a:pt x="105" y="227"/>
                    </a:cubicBezTo>
                    <a:cubicBezTo>
                      <a:pt x="105" y="234"/>
                      <a:pt x="111" y="239"/>
                      <a:pt x="118" y="239"/>
                    </a:cubicBezTo>
                    <a:cubicBezTo>
                      <a:pt x="124" y="239"/>
                      <a:pt x="130" y="234"/>
                      <a:pt x="130" y="227"/>
                    </a:cubicBezTo>
                    <a:cubicBezTo>
                      <a:pt x="130" y="220"/>
                      <a:pt x="124" y="215"/>
                      <a:pt x="118" y="215"/>
                    </a:cubicBezTo>
                    <a:close/>
                    <a:moveTo>
                      <a:pt x="118" y="184"/>
                    </a:moveTo>
                    <a:cubicBezTo>
                      <a:pt x="111" y="184"/>
                      <a:pt x="105" y="190"/>
                      <a:pt x="105" y="196"/>
                    </a:cubicBezTo>
                    <a:cubicBezTo>
                      <a:pt x="105" y="203"/>
                      <a:pt x="111" y="209"/>
                      <a:pt x="118" y="209"/>
                    </a:cubicBezTo>
                    <a:cubicBezTo>
                      <a:pt x="124" y="209"/>
                      <a:pt x="130" y="203"/>
                      <a:pt x="130" y="196"/>
                    </a:cubicBezTo>
                    <a:cubicBezTo>
                      <a:pt x="130" y="190"/>
                      <a:pt x="124" y="184"/>
                      <a:pt x="118" y="184"/>
                    </a:cubicBezTo>
                    <a:close/>
                    <a:moveTo>
                      <a:pt x="118" y="277"/>
                    </a:moveTo>
                    <a:cubicBezTo>
                      <a:pt x="111" y="277"/>
                      <a:pt x="105" y="282"/>
                      <a:pt x="105" y="289"/>
                    </a:cubicBezTo>
                    <a:cubicBezTo>
                      <a:pt x="105" y="295"/>
                      <a:pt x="111" y="301"/>
                      <a:pt x="118" y="301"/>
                    </a:cubicBezTo>
                    <a:cubicBezTo>
                      <a:pt x="124" y="301"/>
                      <a:pt x="130" y="295"/>
                      <a:pt x="130" y="289"/>
                    </a:cubicBezTo>
                    <a:cubicBezTo>
                      <a:pt x="130" y="282"/>
                      <a:pt x="124" y="277"/>
                      <a:pt x="118" y="277"/>
                    </a:cubicBezTo>
                    <a:close/>
                    <a:moveTo>
                      <a:pt x="118" y="154"/>
                    </a:moveTo>
                    <a:cubicBezTo>
                      <a:pt x="111" y="154"/>
                      <a:pt x="105" y="159"/>
                      <a:pt x="105" y="166"/>
                    </a:cubicBezTo>
                    <a:cubicBezTo>
                      <a:pt x="105" y="172"/>
                      <a:pt x="111" y="178"/>
                      <a:pt x="118" y="178"/>
                    </a:cubicBezTo>
                    <a:cubicBezTo>
                      <a:pt x="124" y="178"/>
                      <a:pt x="130" y="172"/>
                      <a:pt x="130" y="166"/>
                    </a:cubicBezTo>
                    <a:cubicBezTo>
                      <a:pt x="130" y="159"/>
                      <a:pt x="124" y="154"/>
                      <a:pt x="118" y="154"/>
                    </a:cubicBezTo>
                    <a:close/>
                    <a:moveTo>
                      <a:pt x="118" y="0"/>
                    </a:moveTo>
                    <a:cubicBezTo>
                      <a:pt x="111" y="0"/>
                      <a:pt x="105" y="5"/>
                      <a:pt x="105" y="12"/>
                    </a:cubicBezTo>
                    <a:cubicBezTo>
                      <a:pt x="105" y="19"/>
                      <a:pt x="111" y="24"/>
                      <a:pt x="118" y="24"/>
                    </a:cubicBezTo>
                    <a:cubicBezTo>
                      <a:pt x="124" y="24"/>
                      <a:pt x="130" y="19"/>
                      <a:pt x="130" y="12"/>
                    </a:cubicBezTo>
                    <a:cubicBezTo>
                      <a:pt x="130" y="5"/>
                      <a:pt x="124" y="0"/>
                      <a:pt x="118" y="0"/>
                    </a:cubicBezTo>
                    <a:close/>
                    <a:moveTo>
                      <a:pt x="118" y="31"/>
                    </a:moveTo>
                    <a:cubicBezTo>
                      <a:pt x="111" y="31"/>
                      <a:pt x="105" y="36"/>
                      <a:pt x="105" y="43"/>
                    </a:cubicBezTo>
                    <a:cubicBezTo>
                      <a:pt x="105" y="49"/>
                      <a:pt x="111" y="55"/>
                      <a:pt x="118" y="55"/>
                    </a:cubicBezTo>
                    <a:cubicBezTo>
                      <a:pt x="124" y="55"/>
                      <a:pt x="130" y="49"/>
                      <a:pt x="130" y="43"/>
                    </a:cubicBezTo>
                    <a:cubicBezTo>
                      <a:pt x="130" y="36"/>
                      <a:pt x="124" y="31"/>
                      <a:pt x="118" y="31"/>
                    </a:cubicBezTo>
                    <a:close/>
                    <a:moveTo>
                      <a:pt x="47" y="215"/>
                    </a:moveTo>
                    <a:cubicBezTo>
                      <a:pt x="41" y="215"/>
                      <a:pt x="35" y="220"/>
                      <a:pt x="35" y="227"/>
                    </a:cubicBezTo>
                    <a:cubicBezTo>
                      <a:pt x="35" y="234"/>
                      <a:pt x="41" y="239"/>
                      <a:pt x="47" y="239"/>
                    </a:cubicBezTo>
                    <a:cubicBezTo>
                      <a:pt x="54" y="239"/>
                      <a:pt x="60" y="234"/>
                      <a:pt x="60" y="227"/>
                    </a:cubicBezTo>
                    <a:cubicBezTo>
                      <a:pt x="60" y="220"/>
                      <a:pt x="54" y="215"/>
                      <a:pt x="47" y="215"/>
                    </a:cubicBezTo>
                    <a:close/>
                    <a:moveTo>
                      <a:pt x="47" y="246"/>
                    </a:moveTo>
                    <a:cubicBezTo>
                      <a:pt x="41" y="246"/>
                      <a:pt x="35" y="251"/>
                      <a:pt x="35" y="258"/>
                    </a:cubicBezTo>
                    <a:cubicBezTo>
                      <a:pt x="35" y="265"/>
                      <a:pt x="41" y="270"/>
                      <a:pt x="47" y="270"/>
                    </a:cubicBezTo>
                    <a:cubicBezTo>
                      <a:pt x="54" y="270"/>
                      <a:pt x="60" y="265"/>
                      <a:pt x="60" y="258"/>
                    </a:cubicBezTo>
                    <a:cubicBezTo>
                      <a:pt x="60" y="251"/>
                      <a:pt x="54" y="246"/>
                      <a:pt x="47" y="246"/>
                    </a:cubicBezTo>
                    <a:close/>
                    <a:moveTo>
                      <a:pt x="82" y="277"/>
                    </a:moveTo>
                    <a:cubicBezTo>
                      <a:pt x="76" y="277"/>
                      <a:pt x="70" y="282"/>
                      <a:pt x="70" y="289"/>
                    </a:cubicBezTo>
                    <a:cubicBezTo>
                      <a:pt x="70" y="295"/>
                      <a:pt x="76" y="301"/>
                      <a:pt x="82" y="301"/>
                    </a:cubicBezTo>
                    <a:cubicBezTo>
                      <a:pt x="89" y="301"/>
                      <a:pt x="95" y="295"/>
                      <a:pt x="95" y="289"/>
                    </a:cubicBezTo>
                    <a:cubicBezTo>
                      <a:pt x="95" y="282"/>
                      <a:pt x="89" y="277"/>
                      <a:pt x="82" y="277"/>
                    </a:cubicBezTo>
                    <a:close/>
                    <a:moveTo>
                      <a:pt x="82" y="246"/>
                    </a:moveTo>
                    <a:cubicBezTo>
                      <a:pt x="76" y="246"/>
                      <a:pt x="70" y="251"/>
                      <a:pt x="70" y="258"/>
                    </a:cubicBezTo>
                    <a:cubicBezTo>
                      <a:pt x="70" y="265"/>
                      <a:pt x="76" y="270"/>
                      <a:pt x="82" y="270"/>
                    </a:cubicBezTo>
                    <a:cubicBezTo>
                      <a:pt x="89" y="270"/>
                      <a:pt x="95" y="265"/>
                      <a:pt x="95" y="258"/>
                    </a:cubicBezTo>
                    <a:cubicBezTo>
                      <a:pt x="95" y="251"/>
                      <a:pt x="89" y="246"/>
                      <a:pt x="82" y="246"/>
                    </a:cubicBezTo>
                    <a:close/>
                    <a:moveTo>
                      <a:pt x="82" y="215"/>
                    </a:moveTo>
                    <a:cubicBezTo>
                      <a:pt x="76" y="215"/>
                      <a:pt x="70" y="220"/>
                      <a:pt x="70" y="227"/>
                    </a:cubicBezTo>
                    <a:cubicBezTo>
                      <a:pt x="70" y="234"/>
                      <a:pt x="76" y="239"/>
                      <a:pt x="82" y="239"/>
                    </a:cubicBezTo>
                    <a:cubicBezTo>
                      <a:pt x="89" y="239"/>
                      <a:pt x="95" y="234"/>
                      <a:pt x="95" y="227"/>
                    </a:cubicBezTo>
                    <a:cubicBezTo>
                      <a:pt x="95" y="220"/>
                      <a:pt x="89" y="215"/>
                      <a:pt x="82" y="215"/>
                    </a:cubicBezTo>
                    <a:close/>
                    <a:moveTo>
                      <a:pt x="188" y="0"/>
                    </a:moveTo>
                    <a:cubicBezTo>
                      <a:pt x="181" y="0"/>
                      <a:pt x="175" y="5"/>
                      <a:pt x="175" y="12"/>
                    </a:cubicBezTo>
                    <a:cubicBezTo>
                      <a:pt x="175" y="19"/>
                      <a:pt x="181" y="24"/>
                      <a:pt x="188" y="24"/>
                    </a:cubicBezTo>
                    <a:cubicBezTo>
                      <a:pt x="194" y="24"/>
                      <a:pt x="200" y="19"/>
                      <a:pt x="200" y="12"/>
                    </a:cubicBezTo>
                    <a:cubicBezTo>
                      <a:pt x="200" y="5"/>
                      <a:pt x="194" y="0"/>
                      <a:pt x="188" y="0"/>
                    </a:cubicBezTo>
                    <a:close/>
                    <a:moveTo>
                      <a:pt x="223" y="0"/>
                    </a:moveTo>
                    <a:cubicBezTo>
                      <a:pt x="216" y="0"/>
                      <a:pt x="210" y="5"/>
                      <a:pt x="210" y="12"/>
                    </a:cubicBezTo>
                    <a:cubicBezTo>
                      <a:pt x="210" y="19"/>
                      <a:pt x="216" y="24"/>
                      <a:pt x="223" y="24"/>
                    </a:cubicBezTo>
                    <a:cubicBezTo>
                      <a:pt x="229" y="24"/>
                      <a:pt x="235" y="19"/>
                      <a:pt x="235" y="12"/>
                    </a:cubicBezTo>
                    <a:cubicBezTo>
                      <a:pt x="235" y="5"/>
                      <a:pt x="229" y="0"/>
                      <a:pt x="223" y="0"/>
                    </a:cubicBezTo>
                    <a:close/>
                    <a:moveTo>
                      <a:pt x="223" y="31"/>
                    </a:moveTo>
                    <a:cubicBezTo>
                      <a:pt x="216" y="31"/>
                      <a:pt x="210" y="36"/>
                      <a:pt x="210" y="43"/>
                    </a:cubicBezTo>
                    <a:cubicBezTo>
                      <a:pt x="210" y="49"/>
                      <a:pt x="216" y="55"/>
                      <a:pt x="223" y="55"/>
                    </a:cubicBezTo>
                    <a:cubicBezTo>
                      <a:pt x="229" y="55"/>
                      <a:pt x="235" y="49"/>
                      <a:pt x="235" y="43"/>
                    </a:cubicBezTo>
                    <a:cubicBezTo>
                      <a:pt x="235" y="36"/>
                      <a:pt x="229" y="31"/>
                      <a:pt x="223" y="31"/>
                    </a:cubicBezTo>
                    <a:close/>
                    <a:moveTo>
                      <a:pt x="12" y="184"/>
                    </a:moveTo>
                    <a:cubicBezTo>
                      <a:pt x="6" y="184"/>
                      <a:pt x="0" y="190"/>
                      <a:pt x="0" y="196"/>
                    </a:cubicBezTo>
                    <a:cubicBezTo>
                      <a:pt x="0" y="203"/>
                      <a:pt x="6" y="209"/>
                      <a:pt x="12" y="209"/>
                    </a:cubicBezTo>
                    <a:cubicBezTo>
                      <a:pt x="19" y="209"/>
                      <a:pt x="25" y="203"/>
                      <a:pt x="25" y="196"/>
                    </a:cubicBezTo>
                    <a:cubicBezTo>
                      <a:pt x="25" y="190"/>
                      <a:pt x="19" y="184"/>
                      <a:pt x="12" y="184"/>
                    </a:cubicBezTo>
                    <a:close/>
                    <a:moveTo>
                      <a:pt x="47" y="184"/>
                    </a:moveTo>
                    <a:cubicBezTo>
                      <a:pt x="41" y="184"/>
                      <a:pt x="35" y="190"/>
                      <a:pt x="35" y="196"/>
                    </a:cubicBezTo>
                    <a:cubicBezTo>
                      <a:pt x="35" y="203"/>
                      <a:pt x="41" y="209"/>
                      <a:pt x="47" y="209"/>
                    </a:cubicBezTo>
                    <a:cubicBezTo>
                      <a:pt x="54" y="209"/>
                      <a:pt x="60" y="203"/>
                      <a:pt x="60" y="196"/>
                    </a:cubicBezTo>
                    <a:cubicBezTo>
                      <a:pt x="60" y="190"/>
                      <a:pt x="54" y="184"/>
                      <a:pt x="47" y="184"/>
                    </a:cubicBezTo>
                    <a:close/>
                  </a:path>
                </a:pathLst>
              </a:custGeom>
              <a:solidFill>
                <a:srgbClr val="FFFFFF"/>
              </a:solidFill>
              <a:ln>
                <a:noFill/>
              </a:ln>
              <a:extLst/>
            </p:spPr>
            <p:txBody>
              <a:bodyPr/>
              <a:lstStyle/>
              <a:p>
                <a:pPr>
                  <a:spcBef>
                    <a:spcPct val="50000"/>
                  </a:spcBef>
                  <a:defRPr/>
                </a:pPr>
                <a:endParaRPr lang="en-US">
                  <a:solidFill>
                    <a:srgbClr val="00A9D4"/>
                  </a:solidFill>
                  <a:latin typeface="Arial" charset="0"/>
                  <a:cs typeface="Arial" pitchFamily="34" charset="0"/>
                </a:endParaRPr>
              </a:p>
            </p:txBody>
          </p:sp>
        </p:grpSp>
        <p:sp>
          <p:nvSpPr>
            <p:cNvPr id="41" name="Oval 2"/>
            <p:cNvSpPr>
              <a:spLocks noChangeArrowheads="1"/>
            </p:cNvSpPr>
            <p:nvPr/>
          </p:nvSpPr>
          <p:spPr bwMode="auto">
            <a:xfrm>
              <a:off x="8880475" y="3713163"/>
              <a:ext cx="207963" cy="206375"/>
            </a:xfrm>
            <a:prstGeom prst="ellipse">
              <a:avLst/>
            </a:prstGeom>
            <a:solidFill>
              <a:srgbClr val="F08A00"/>
            </a:solidFill>
            <a:ln w="28575" algn="ctr">
              <a:solidFill>
                <a:schemeClr val="bg1"/>
              </a:solidFill>
              <a:round/>
              <a:headEnd/>
              <a:tailEnd/>
            </a:ln>
          </p:spPr>
          <p:txBody>
            <a:bodyPr wrap="none" lIns="72000" rIns="72000"/>
            <a:lstStyle/>
            <a:p>
              <a:pPr>
                <a:spcBef>
                  <a:spcPct val="50000"/>
                </a:spcBef>
              </a:pPr>
              <a:endParaRPr lang="en-US">
                <a:solidFill>
                  <a:srgbClr val="58585A"/>
                </a:solidFill>
                <a:cs typeface="Arial" pitchFamily="34" charset="0"/>
              </a:endParaRPr>
            </a:p>
          </p:txBody>
        </p:sp>
        <p:sp>
          <p:nvSpPr>
            <p:cNvPr id="42" name="Oval 32"/>
            <p:cNvSpPr>
              <a:spLocks noChangeArrowheads="1"/>
            </p:cNvSpPr>
            <p:nvPr/>
          </p:nvSpPr>
          <p:spPr bwMode="auto">
            <a:xfrm>
              <a:off x="9598025" y="3473450"/>
              <a:ext cx="206375" cy="206375"/>
            </a:xfrm>
            <a:prstGeom prst="ellipse">
              <a:avLst/>
            </a:prstGeom>
            <a:solidFill>
              <a:srgbClr val="00A9D4"/>
            </a:solidFill>
            <a:ln w="28575" algn="ctr">
              <a:solidFill>
                <a:schemeClr val="bg1"/>
              </a:solidFill>
              <a:round/>
              <a:headEnd/>
              <a:tailEnd/>
            </a:ln>
          </p:spPr>
          <p:txBody>
            <a:bodyPr wrap="none" lIns="72000" rIns="72000"/>
            <a:lstStyle/>
            <a:p>
              <a:pPr>
                <a:spcBef>
                  <a:spcPct val="50000"/>
                </a:spcBef>
              </a:pPr>
              <a:endParaRPr lang="en-US">
                <a:solidFill>
                  <a:srgbClr val="58585A"/>
                </a:solidFill>
                <a:cs typeface="Arial" pitchFamily="34" charset="0"/>
              </a:endParaRPr>
            </a:p>
          </p:txBody>
        </p:sp>
        <p:sp>
          <p:nvSpPr>
            <p:cNvPr id="43" name="Oval 33"/>
            <p:cNvSpPr>
              <a:spLocks noChangeArrowheads="1"/>
            </p:cNvSpPr>
            <p:nvPr/>
          </p:nvSpPr>
          <p:spPr bwMode="auto">
            <a:xfrm>
              <a:off x="9117013" y="4189413"/>
              <a:ext cx="207962" cy="206375"/>
            </a:xfrm>
            <a:prstGeom prst="ellipse">
              <a:avLst/>
            </a:prstGeom>
            <a:solidFill>
              <a:srgbClr val="8F3F7B"/>
            </a:solidFill>
            <a:ln w="28575" algn="ctr">
              <a:solidFill>
                <a:srgbClr val="FFFFFF"/>
              </a:solidFill>
              <a:round/>
              <a:headEnd/>
              <a:tailEnd/>
            </a:ln>
          </p:spPr>
          <p:txBody>
            <a:bodyPr wrap="none" lIns="72000" rIns="72000"/>
            <a:lstStyle/>
            <a:p>
              <a:pPr>
                <a:spcBef>
                  <a:spcPct val="50000"/>
                </a:spcBef>
              </a:pPr>
              <a:endParaRPr lang="en-US">
                <a:solidFill>
                  <a:srgbClr val="58585A"/>
                </a:solidFill>
                <a:cs typeface="Arial" pitchFamily="34" charset="0"/>
              </a:endParaRPr>
            </a:p>
          </p:txBody>
        </p:sp>
      </p:grpSp>
    </p:spTree>
    <p:extLst>
      <p:ext uri="{BB962C8B-B14F-4D97-AF65-F5344CB8AC3E}">
        <p14:creationId xmlns:p14="http://schemas.microsoft.com/office/powerpoint/2010/main" val="1947120640"/>
      </p:ext>
    </p:extLst>
  </p:cSld>
  <p:clrMapOvr>
    <a:masterClrMapping/>
  </p:clrMapOvr>
  <p:transition spd="slow"/>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239713"/>
            <a:ext cx="7857670" cy="1085371"/>
          </a:xfrm>
        </p:spPr>
        <p:txBody>
          <a:bodyPr/>
          <a:lstStyle/>
          <a:p>
            <a:r>
              <a:rPr lang="en-CA" dirty="0" smtClean="0"/>
              <a:t>DEPLOYMENT Implementation PHASES</a:t>
            </a:r>
            <a:endParaRPr lang="en-CA" dirty="0"/>
          </a:p>
        </p:txBody>
      </p:sp>
      <p:sp>
        <p:nvSpPr>
          <p:cNvPr id="4" name="AutoShape 3" descr="bpct-blend2"/>
          <p:cNvSpPr>
            <a:spLocks noChangeArrowheads="1"/>
          </p:cNvSpPr>
          <p:nvPr/>
        </p:nvSpPr>
        <p:spPr bwMode="auto">
          <a:xfrm>
            <a:off x="393701" y="1532901"/>
            <a:ext cx="1994808" cy="4608626"/>
          </a:xfrm>
          <a:prstGeom prst="roundRect">
            <a:avLst>
              <a:gd name="adj" fmla="val 5014"/>
            </a:avLst>
          </a:prstGeom>
          <a:solidFill>
            <a:srgbClr val="8F3F7B"/>
          </a:solidFill>
          <a:ln>
            <a:noFill/>
          </a:ln>
          <a:effectLst/>
          <a:extLst>
            <a:ext uri="{91240B29-F687-4F45-9708-019B960494DF}">
              <a14:hiddenLine xmlns:a14="http://schemas.microsoft.com/office/drawing/2010/main" w="6350" algn="ctr">
                <a:solidFill>
                  <a:schemeClr val="accent1"/>
                </a:solidFill>
                <a:prstDash val="dash"/>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91440" rIns="91440" bIns="91440" anchor="t">
            <a:noAutofit/>
          </a:bodyPr>
          <a:lstStyle/>
          <a:p>
            <a:r>
              <a:rPr lang="en-US" sz="1400" dirty="0" smtClean="0">
                <a:solidFill>
                  <a:schemeClr val="bg1"/>
                </a:solidFill>
              </a:rPr>
              <a:t>PHASE 1</a:t>
            </a:r>
            <a:endParaRPr lang="en-US" sz="1800" dirty="0"/>
          </a:p>
          <a:p>
            <a:endParaRPr lang="en-US" sz="1800" dirty="0" smtClean="0">
              <a:solidFill>
                <a:schemeClr val="bg1"/>
              </a:solidFill>
            </a:endParaRPr>
          </a:p>
          <a:p>
            <a:pPr algn="l">
              <a:lnSpc>
                <a:spcPct val="95000"/>
              </a:lnSpc>
              <a:spcAft>
                <a:spcPts val="600"/>
              </a:spcAft>
            </a:pPr>
            <a:r>
              <a:rPr lang="en-US" sz="1800" dirty="0" smtClean="0">
                <a:solidFill>
                  <a:schemeClr val="bg1"/>
                </a:solidFill>
              </a:rPr>
              <a:t>Install environments</a:t>
            </a:r>
          </a:p>
          <a:p>
            <a:pPr marL="174625" indent="-174625" algn="l">
              <a:lnSpc>
                <a:spcPct val="95000"/>
              </a:lnSpc>
              <a:spcAft>
                <a:spcPts val="200"/>
              </a:spcAft>
              <a:buFontTx/>
              <a:buChar char="-"/>
            </a:pPr>
            <a:r>
              <a:rPr lang="en-US" sz="1800" dirty="0" smtClean="0">
                <a:solidFill>
                  <a:schemeClr val="bg1"/>
                </a:solidFill>
              </a:rPr>
              <a:t>Install Software</a:t>
            </a:r>
          </a:p>
          <a:p>
            <a:pPr marL="174625" indent="-174625" algn="l">
              <a:lnSpc>
                <a:spcPct val="95000"/>
              </a:lnSpc>
              <a:spcAft>
                <a:spcPts val="200"/>
              </a:spcAft>
              <a:buFontTx/>
              <a:buChar char="-"/>
            </a:pPr>
            <a:r>
              <a:rPr lang="en-US" sz="1800" dirty="0" smtClean="0">
                <a:solidFill>
                  <a:schemeClr val="bg1"/>
                </a:solidFill>
              </a:rPr>
              <a:t>Analyze Metadata</a:t>
            </a:r>
          </a:p>
          <a:p>
            <a:pPr marL="174625" indent="-174625" algn="l">
              <a:lnSpc>
                <a:spcPct val="95000"/>
              </a:lnSpc>
              <a:spcAft>
                <a:spcPts val="200"/>
              </a:spcAft>
              <a:buFontTx/>
              <a:buChar char="-"/>
            </a:pPr>
            <a:r>
              <a:rPr lang="en-US" sz="1800" dirty="0" smtClean="0">
                <a:solidFill>
                  <a:schemeClr val="bg1"/>
                </a:solidFill>
              </a:rPr>
              <a:t>Analyze Release notes</a:t>
            </a:r>
          </a:p>
          <a:p>
            <a:pPr marL="174625" indent="-174625" algn="l">
              <a:lnSpc>
                <a:spcPct val="95000"/>
              </a:lnSpc>
              <a:spcAft>
                <a:spcPts val="200"/>
              </a:spcAft>
              <a:buFontTx/>
              <a:buChar char="-"/>
            </a:pPr>
            <a:r>
              <a:rPr lang="en-US" sz="1800" dirty="0" smtClean="0">
                <a:solidFill>
                  <a:schemeClr val="bg1"/>
                </a:solidFill>
              </a:rPr>
              <a:t>training</a:t>
            </a:r>
            <a:endParaRPr lang="en-US" sz="1800" dirty="0">
              <a:solidFill>
                <a:schemeClr val="bg1"/>
              </a:solidFill>
            </a:endParaRPr>
          </a:p>
          <a:p>
            <a:pPr marL="174625" indent="-174625" algn="l">
              <a:lnSpc>
                <a:spcPct val="95000"/>
              </a:lnSpc>
              <a:spcAft>
                <a:spcPts val="200"/>
              </a:spcAft>
              <a:buFontTx/>
              <a:buChar char="-"/>
            </a:pPr>
            <a:r>
              <a:rPr lang="en-US" sz="1800" dirty="0" smtClean="0">
                <a:solidFill>
                  <a:schemeClr val="bg1"/>
                </a:solidFill>
              </a:rPr>
              <a:t>Build work plan</a:t>
            </a:r>
          </a:p>
          <a:p>
            <a:endParaRPr lang="en-US" sz="1400" dirty="0" smtClean="0">
              <a:solidFill>
                <a:schemeClr val="bg1"/>
              </a:solidFill>
            </a:endParaRPr>
          </a:p>
          <a:p>
            <a:endParaRPr lang="en-US" sz="1400" dirty="0" smtClean="0">
              <a:solidFill>
                <a:schemeClr val="bg1"/>
              </a:solidFill>
            </a:endParaRPr>
          </a:p>
          <a:p>
            <a:endParaRPr lang="en-US" sz="1400" dirty="0" smtClean="0">
              <a:solidFill>
                <a:schemeClr val="bg1"/>
              </a:solidFill>
            </a:endParaRPr>
          </a:p>
          <a:p>
            <a:pPr>
              <a:spcBef>
                <a:spcPts val="1200"/>
              </a:spcBef>
            </a:pPr>
            <a:r>
              <a:rPr lang="en-US" sz="1400" dirty="0" smtClean="0">
                <a:solidFill>
                  <a:schemeClr val="bg1"/>
                </a:solidFill>
              </a:rPr>
              <a:t>Estimated Timeframe</a:t>
            </a:r>
            <a:br>
              <a:rPr lang="en-US" sz="1400" dirty="0" smtClean="0">
                <a:solidFill>
                  <a:schemeClr val="bg1"/>
                </a:solidFill>
              </a:rPr>
            </a:br>
            <a:r>
              <a:rPr lang="en-US" sz="1400" dirty="0" smtClean="0">
                <a:solidFill>
                  <a:schemeClr val="bg1"/>
                </a:solidFill>
              </a:rPr>
              <a:t>1 month</a:t>
            </a:r>
          </a:p>
        </p:txBody>
      </p:sp>
      <p:sp>
        <p:nvSpPr>
          <p:cNvPr id="6" name="AutoShape 3" descr="bpct-blend2"/>
          <p:cNvSpPr>
            <a:spLocks noChangeArrowheads="1"/>
          </p:cNvSpPr>
          <p:nvPr/>
        </p:nvSpPr>
        <p:spPr bwMode="auto">
          <a:xfrm>
            <a:off x="2527301" y="1532901"/>
            <a:ext cx="1994808" cy="4608626"/>
          </a:xfrm>
          <a:prstGeom prst="roundRect">
            <a:avLst>
              <a:gd name="adj" fmla="val 5014"/>
            </a:avLst>
          </a:prstGeom>
          <a:solidFill>
            <a:srgbClr val="007B78"/>
          </a:solidFill>
          <a:ln>
            <a:noFill/>
          </a:ln>
          <a:effectLst/>
          <a:extLst>
            <a:ext uri="{91240B29-F687-4F45-9708-019B960494DF}">
              <a14:hiddenLine xmlns:a14="http://schemas.microsoft.com/office/drawing/2010/main" w="6350" algn="ctr">
                <a:solidFill>
                  <a:schemeClr val="accent1"/>
                </a:solidFill>
                <a:prstDash val="dash"/>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91440" rIns="91440" bIns="91440" anchor="t">
            <a:noAutofit/>
          </a:bodyPr>
          <a:lstStyle/>
          <a:p>
            <a:r>
              <a:rPr lang="en-US" sz="1400" dirty="0">
                <a:solidFill>
                  <a:schemeClr val="bg1"/>
                </a:solidFill>
              </a:rPr>
              <a:t>PHASE </a:t>
            </a:r>
            <a:r>
              <a:rPr lang="en-US" sz="1400" dirty="0" smtClean="0">
                <a:solidFill>
                  <a:schemeClr val="bg1"/>
                </a:solidFill>
              </a:rPr>
              <a:t>2</a:t>
            </a:r>
            <a:endParaRPr lang="en-US" sz="1800" dirty="0"/>
          </a:p>
          <a:p>
            <a:endParaRPr lang="en-US" sz="1800" dirty="0" smtClean="0">
              <a:solidFill>
                <a:schemeClr val="bg1"/>
              </a:solidFill>
            </a:endParaRPr>
          </a:p>
          <a:p>
            <a:pPr algn="l">
              <a:lnSpc>
                <a:spcPct val="95000"/>
              </a:lnSpc>
              <a:spcAft>
                <a:spcPts val="600"/>
              </a:spcAft>
            </a:pPr>
            <a:r>
              <a:rPr lang="en-US" sz="1800" dirty="0" smtClean="0">
                <a:solidFill>
                  <a:schemeClr val="bg1"/>
                </a:solidFill>
              </a:rPr>
              <a:t>Migrate</a:t>
            </a:r>
          </a:p>
          <a:p>
            <a:pPr marL="174625" indent="-174625" algn="l">
              <a:lnSpc>
                <a:spcPct val="95000"/>
              </a:lnSpc>
              <a:spcAft>
                <a:spcPts val="200"/>
              </a:spcAft>
              <a:buFontTx/>
              <a:buChar char="-"/>
            </a:pPr>
            <a:r>
              <a:rPr lang="en-US" sz="1800" dirty="0" smtClean="0">
                <a:solidFill>
                  <a:schemeClr val="bg1"/>
                </a:solidFill>
              </a:rPr>
              <a:t>Catalog model changes</a:t>
            </a:r>
          </a:p>
          <a:p>
            <a:pPr marL="174625" indent="-174625" algn="l">
              <a:lnSpc>
                <a:spcPct val="95000"/>
              </a:lnSpc>
              <a:spcAft>
                <a:spcPts val="200"/>
              </a:spcAft>
              <a:buFontTx/>
              <a:buChar char="-"/>
            </a:pPr>
            <a:r>
              <a:rPr lang="en-US" sz="1800" dirty="0" smtClean="0">
                <a:solidFill>
                  <a:schemeClr val="bg1"/>
                </a:solidFill>
              </a:rPr>
              <a:t>Unified Workstation/ User Interface changes</a:t>
            </a:r>
          </a:p>
          <a:p>
            <a:pPr marL="174625" indent="-174625" algn="l">
              <a:lnSpc>
                <a:spcPct val="95000"/>
              </a:lnSpc>
              <a:spcAft>
                <a:spcPts val="200"/>
              </a:spcAft>
              <a:buFontTx/>
              <a:buChar char="-"/>
            </a:pPr>
            <a:r>
              <a:rPr lang="en-US" sz="1800" dirty="0" smtClean="0">
                <a:solidFill>
                  <a:schemeClr val="bg1"/>
                </a:solidFill>
              </a:rPr>
              <a:t>New feature introduction</a:t>
            </a:r>
          </a:p>
          <a:p>
            <a:pPr marL="174625" indent="-174625" algn="l">
              <a:lnSpc>
                <a:spcPct val="95000"/>
              </a:lnSpc>
              <a:spcAft>
                <a:spcPts val="200"/>
              </a:spcAft>
              <a:buFontTx/>
              <a:buChar char="-"/>
            </a:pPr>
            <a:r>
              <a:rPr lang="en-US" sz="1800" dirty="0" smtClean="0">
                <a:solidFill>
                  <a:schemeClr val="bg1"/>
                </a:solidFill>
              </a:rPr>
              <a:t>Data Migration</a:t>
            </a:r>
          </a:p>
          <a:p>
            <a:pPr marL="174625" indent="-174625" algn="l">
              <a:lnSpc>
                <a:spcPct val="95000"/>
              </a:lnSpc>
              <a:spcAft>
                <a:spcPts val="200"/>
              </a:spcAft>
              <a:buFontTx/>
              <a:buChar char="-"/>
            </a:pPr>
            <a:r>
              <a:rPr lang="en-US" sz="1800" dirty="0" smtClean="0">
                <a:solidFill>
                  <a:schemeClr val="bg1"/>
                </a:solidFill>
              </a:rPr>
              <a:t>Unit testing</a:t>
            </a:r>
          </a:p>
          <a:p>
            <a:pPr marL="285750" indent="-285750">
              <a:buFontTx/>
              <a:buChar char="-"/>
            </a:pPr>
            <a:endParaRPr lang="en-US" sz="1400" dirty="0" smtClean="0">
              <a:solidFill>
                <a:schemeClr val="bg1"/>
              </a:solidFill>
            </a:endParaRPr>
          </a:p>
          <a:p>
            <a:pPr>
              <a:spcBef>
                <a:spcPts val="600"/>
              </a:spcBef>
            </a:pPr>
            <a:r>
              <a:rPr lang="en-US" sz="1400" dirty="0" smtClean="0">
                <a:solidFill>
                  <a:schemeClr val="bg1"/>
                </a:solidFill>
              </a:rPr>
              <a:t>Estimated Timefram</a:t>
            </a:r>
            <a:r>
              <a:rPr lang="en-US" sz="1400" dirty="0">
                <a:solidFill>
                  <a:schemeClr val="bg1"/>
                </a:solidFill>
              </a:rPr>
              <a:t>e</a:t>
            </a:r>
            <a:br>
              <a:rPr lang="en-US" sz="1400" dirty="0">
                <a:solidFill>
                  <a:schemeClr val="bg1"/>
                </a:solidFill>
              </a:rPr>
            </a:br>
            <a:r>
              <a:rPr lang="en-US" sz="1400" dirty="0">
                <a:solidFill>
                  <a:schemeClr val="bg1"/>
                </a:solidFill>
              </a:rPr>
              <a:t>1 </a:t>
            </a:r>
            <a:r>
              <a:rPr lang="en-US" sz="1400" dirty="0" smtClean="0">
                <a:solidFill>
                  <a:schemeClr val="bg1"/>
                </a:solidFill>
              </a:rPr>
              <a:t>– 4 months</a:t>
            </a:r>
          </a:p>
        </p:txBody>
      </p:sp>
      <p:sp>
        <p:nvSpPr>
          <p:cNvPr id="7" name="AutoShape 3" descr="bpct-blend2"/>
          <p:cNvSpPr>
            <a:spLocks noChangeArrowheads="1"/>
          </p:cNvSpPr>
          <p:nvPr/>
        </p:nvSpPr>
        <p:spPr bwMode="auto">
          <a:xfrm>
            <a:off x="4715328" y="1552688"/>
            <a:ext cx="1994808" cy="4608626"/>
          </a:xfrm>
          <a:prstGeom prst="roundRect">
            <a:avLst>
              <a:gd name="adj" fmla="val 5014"/>
            </a:avLst>
          </a:prstGeom>
          <a:solidFill>
            <a:srgbClr val="00285F"/>
          </a:solidFill>
          <a:ln>
            <a:noFill/>
          </a:ln>
          <a:effectLst/>
          <a:extLst>
            <a:ext uri="{91240B29-F687-4F45-9708-019B960494DF}">
              <a14:hiddenLine xmlns:a14="http://schemas.microsoft.com/office/drawing/2010/main" w="6350" algn="ctr">
                <a:solidFill>
                  <a:schemeClr val="accent1"/>
                </a:solidFill>
                <a:prstDash val="dash"/>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91440" rIns="91440" bIns="91440" anchor="t">
            <a:noAutofit/>
          </a:bodyPr>
          <a:lstStyle/>
          <a:p>
            <a:r>
              <a:rPr lang="en-US" sz="1400" dirty="0">
                <a:solidFill>
                  <a:schemeClr val="bg1"/>
                </a:solidFill>
              </a:rPr>
              <a:t>PHASE </a:t>
            </a:r>
            <a:r>
              <a:rPr lang="en-US" sz="1400" dirty="0" smtClean="0">
                <a:solidFill>
                  <a:schemeClr val="bg1"/>
                </a:solidFill>
              </a:rPr>
              <a:t>3</a:t>
            </a:r>
          </a:p>
          <a:p>
            <a:endParaRPr lang="en-US" sz="1800" dirty="0"/>
          </a:p>
          <a:p>
            <a:pPr algn="l">
              <a:lnSpc>
                <a:spcPct val="95000"/>
              </a:lnSpc>
              <a:spcAft>
                <a:spcPts val="600"/>
              </a:spcAft>
            </a:pPr>
            <a:r>
              <a:rPr lang="en-US" sz="1800" dirty="0" smtClean="0">
                <a:solidFill>
                  <a:schemeClr val="bg1"/>
                </a:solidFill>
              </a:rPr>
              <a:t>Final preparation</a:t>
            </a:r>
          </a:p>
          <a:p>
            <a:pPr marL="174625" indent="-174625" algn="l">
              <a:lnSpc>
                <a:spcPct val="95000"/>
              </a:lnSpc>
              <a:spcAft>
                <a:spcPts val="200"/>
              </a:spcAft>
              <a:buFontTx/>
              <a:buChar char="-"/>
            </a:pPr>
            <a:r>
              <a:rPr lang="en-US" sz="1800" dirty="0" smtClean="0">
                <a:solidFill>
                  <a:schemeClr val="bg1"/>
                </a:solidFill>
              </a:rPr>
              <a:t>Functional Testing </a:t>
            </a:r>
          </a:p>
          <a:p>
            <a:pPr marL="174625" indent="-174625" algn="l">
              <a:lnSpc>
                <a:spcPct val="95000"/>
              </a:lnSpc>
              <a:spcAft>
                <a:spcPts val="200"/>
              </a:spcAft>
              <a:buFontTx/>
              <a:buChar char="-"/>
            </a:pPr>
            <a:r>
              <a:rPr lang="en-US" sz="1800" dirty="0" smtClean="0">
                <a:solidFill>
                  <a:schemeClr val="bg1"/>
                </a:solidFill>
              </a:rPr>
              <a:t>Regression Testing</a:t>
            </a:r>
          </a:p>
          <a:p>
            <a:pPr marL="174625" indent="-174625" algn="l">
              <a:lnSpc>
                <a:spcPct val="95000"/>
              </a:lnSpc>
              <a:spcAft>
                <a:spcPts val="200"/>
              </a:spcAft>
              <a:buFontTx/>
              <a:buChar char="-"/>
            </a:pPr>
            <a:r>
              <a:rPr lang="en-US" sz="1800" dirty="0" smtClean="0">
                <a:solidFill>
                  <a:schemeClr val="bg1"/>
                </a:solidFill>
              </a:rPr>
              <a:t>Operational readiness</a:t>
            </a:r>
          </a:p>
          <a:p>
            <a:pPr marL="174625" indent="-174625">
              <a:lnSpc>
                <a:spcPct val="95000"/>
              </a:lnSpc>
              <a:spcAft>
                <a:spcPts val="200"/>
              </a:spcAft>
              <a:buFontTx/>
              <a:buChar char="-"/>
            </a:pPr>
            <a:endParaRPr lang="en-US" sz="1800" dirty="0">
              <a:solidFill>
                <a:schemeClr val="bg1"/>
              </a:solidFill>
            </a:endParaRPr>
          </a:p>
          <a:p>
            <a:pPr marL="174625" indent="-174625">
              <a:lnSpc>
                <a:spcPct val="95000"/>
              </a:lnSpc>
              <a:spcAft>
                <a:spcPts val="200"/>
              </a:spcAft>
              <a:buFontTx/>
              <a:buChar char="-"/>
            </a:pPr>
            <a:endParaRPr lang="en-US" sz="1800" dirty="0" smtClean="0">
              <a:solidFill>
                <a:schemeClr val="bg1"/>
              </a:solidFill>
            </a:endParaRPr>
          </a:p>
          <a:p>
            <a:pPr marL="171450" indent="-171450">
              <a:buFontTx/>
              <a:buChar char="-"/>
            </a:pPr>
            <a:endParaRPr lang="en-US" sz="1800" dirty="0">
              <a:solidFill>
                <a:schemeClr val="bg1"/>
              </a:solidFill>
            </a:endParaRPr>
          </a:p>
          <a:p>
            <a:pPr marL="171450" indent="-171450">
              <a:buFontTx/>
              <a:buChar char="-"/>
            </a:pPr>
            <a:endParaRPr lang="en-US" sz="1800" dirty="0" smtClean="0">
              <a:solidFill>
                <a:schemeClr val="bg1"/>
              </a:solidFill>
            </a:endParaRPr>
          </a:p>
          <a:p>
            <a:endParaRPr lang="en-US" sz="1400" dirty="0">
              <a:solidFill>
                <a:schemeClr val="bg1"/>
              </a:solidFill>
            </a:endParaRPr>
          </a:p>
          <a:p>
            <a:pPr>
              <a:spcBef>
                <a:spcPts val="600"/>
              </a:spcBef>
            </a:pPr>
            <a:r>
              <a:rPr lang="en-US" sz="1400" dirty="0" smtClean="0">
                <a:solidFill>
                  <a:schemeClr val="bg1"/>
                </a:solidFill>
              </a:rPr>
              <a:t>Estimated Timeframe</a:t>
            </a:r>
            <a:r>
              <a:rPr lang="en-US" sz="1400" dirty="0">
                <a:solidFill>
                  <a:schemeClr val="bg1"/>
                </a:solidFill>
              </a:rPr>
              <a:t/>
            </a:r>
            <a:br>
              <a:rPr lang="en-US" sz="1400" dirty="0">
                <a:solidFill>
                  <a:schemeClr val="bg1"/>
                </a:solidFill>
              </a:rPr>
            </a:br>
            <a:r>
              <a:rPr lang="en-US" sz="1400" dirty="0">
                <a:solidFill>
                  <a:schemeClr val="bg1"/>
                </a:solidFill>
              </a:rPr>
              <a:t>2- </a:t>
            </a:r>
            <a:r>
              <a:rPr lang="en-US" sz="1400" dirty="0" smtClean="0">
                <a:solidFill>
                  <a:schemeClr val="bg1"/>
                </a:solidFill>
              </a:rPr>
              <a:t>4 months</a:t>
            </a:r>
          </a:p>
        </p:txBody>
      </p:sp>
      <p:sp>
        <p:nvSpPr>
          <p:cNvPr id="8" name="AutoShape 3" descr="bpct-blend2"/>
          <p:cNvSpPr>
            <a:spLocks noChangeArrowheads="1"/>
          </p:cNvSpPr>
          <p:nvPr/>
        </p:nvSpPr>
        <p:spPr bwMode="auto">
          <a:xfrm>
            <a:off x="6870701" y="1572475"/>
            <a:ext cx="1994808" cy="4608626"/>
          </a:xfrm>
          <a:prstGeom prst="roundRect">
            <a:avLst>
              <a:gd name="adj" fmla="val 5014"/>
            </a:avLst>
          </a:prstGeom>
          <a:solidFill>
            <a:srgbClr val="F08A00"/>
          </a:solidFill>
          <a:ln>
            <a:noFill/>
          </a:ln>
          <a:effectLst/>
          <a:extLst>
            <a:ext uri="{91240B29-F687-4F45-9708-019B960494DF}">
              <a14:hiddenLine xmlns:a14="http://schemas.microsoft.com/office/drawing/2010/main" w="6350" algn="ctr">
                <a:solidFill>
                  <a:schemeClr val="accent1"/>
                </a:solidFill>
                <a:prstDash val="dash"/>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91440" rIns="91440" bIns="91440" anchor="t">
            <a:noAutofit/>
          </a:bodyPr>
          <a:lstStyle/>
          <a:p>
            <a:r>
              <a:rPr lang="en-US" sz="1400" dirty="0">
                <a:solidFill>
                  <a:schemeClr val="bg1"/>
                </a:solidFill>
              </a:rPr>
              <a:t>PHASE </a:t>
            </a:r>
            <a:r>
              <a:rPr lang="en-US" sz="1400" dirty="0" smtClean="0">
                <a:solidFill>
                  <a:schemeClr val="bg1"/>
                </a:solidFill>
              </a:rPr>
              <a:t>4</a:t>
            </a:r>
            <a:endParaRPr lang="en-US" sz="1800" dirty="0"/>
          </a:p>
          <a:p>
            <a:endParaRPr lang="en-US" sz="1800" dirty="0" smtClean="0">
              <a:solidFill>
                <a:schemeClr val="bg1"/>
              </a:solidFill>
            </a:endParaRPr>
          </a:p>
          <a:p>
            <a:pPr algn="l">
              <a:lnSpc>
                <a:spcPct val="95000"/>
              </a:lnSpc>
              <a:spcAft>
                <a:spcPts val="600"/>
              </a:spcAft>
            </a:pPr>
            <a:r>
              <a:rPr lang="en-US" sz="1800" dirty="0" smtClean="0">
                <a:solidFill>
                  <a:schemeClr val="bg1"/>
                </a:solidFill>
              </a:rPr>
              <a:t>Production deployment</a:t>
            </a:r>
          </a:p>
          <a:p>
            <a:pPr marL="174625" indent="-174625" algn="l">
              <a:lnSpc>
                <a:spcPct val="95000"/>
              </a:lnSpc>
              <a:spcAft>
                <a:spcPts val="200"/>
              </a:spcAft>
              <a:buFontTx/>
              <a:buChar char="-"/>
            </a:pPr>
            <a:r>
              <a:rPr lang="en-US" sz="1800" dirty="0" smtClean="0">
                <a:solidFill>
                  <a:schemeClr val="bg1"/>
                </a:solidFill>
              </a:rPr>
              <a:t>Data Migration</a:t>
            </a:r>
          </a:p>
          <a:p>
            <a:pPr marL="174625" indent="-174625" algn="l">
              <a:lnSpc>
                <a:spcPct val="95000"/>
              </a:lnSpc>
              <a:spcAft>
                <a:spcPts val="200"/>
              </a:spcAft>
              <a:buFontTx/>
              <a:buChar char="-"/>
            </a:pPr>
            <a:r>
              <a:rPr lang="en-US" sz="1800" dirty="0" smtClean="0">
                <a:solidFill>
                  <a:schemeClr val="bg1"/>
                </a:solidFill>
              </a:rPr>
              <a:t>Limited launch</a:t>
            </a:r>
          </a:p>
          <a:p>
            <a:pPr marL="174625" indent="-174625">
              <a:lnSpc>
                <a:spcPct val="95000"/>
              </a:lnSpc>
              <a:spcAft>
                <a:spcPts val="200"/>
              </a:spcAft>
              <a:buFontTx/>
              <a:buChar char="-"/>
            </a:pPr>
            <a:endParaRPr lang="en-US" sz="1800" dirty="0">
              <a:solidFill>
                <a:schemeClr val="bg1"/>
              </a:solidFill>
            </a:endParaRPr>
          </a:p>
          <a:p>
            <a:pPr marL="174625" indent="-174625">
              <a:lnSpc>
                <a:spcPct val="95000"/>
              </a:lnSpc>
              <a:spcAft>
                <a:spcPts val="200"/>
              </a:spcAft>
              <a:buFontTx/>
              <a:buChar char="-"/>
            </a:pPr>
            <a:endParaRPr lang="en-US" sz="1800" dirty="0" smtClean="0">
              <a:solidFill>
                <a:schemeClr val="bg1"/>
              </a:solidFill>
            </a:endParaRPr>
          </a:p>
          <a:p>
            <a:pPr marL="174625" indent="-174625">
              <a:lnSpc>
                <a:spcPct val="95000"/>
              </a:lnSpc>
              <a:spcAft>
                <a:spcPts val="200"/>
              </a:spcAft>
            </a:pPr>
            <a:endParaRPr lang="en-US" sz="1400" dirty="0">
              <a:solidFill>
                <a:schemeClr val="bg1"/>
              </a:solidFill>
            </a:endParaRPr>
          </a:p>
          <a:p>
            <a:pPr marL="174625" indent="-174625"/>
            <a:endParaRPr lang="en-US" sz="1400" dirty="0" smtClean="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smtClean="0">
              <a:solidFill>
                <a:schemeClr val="bg1"/>
              </a:solidFill>
            </a:endParaRPr>
          </a:p>
          <a:p>
            <a:endParaRPr lang="en-US" sz="1400" dirty="0">
              <a:solidFill>
                <a:schemeClr val="bg1"/>
              </a:solidFill>
            </a:endParaRPr>
          </a:p>
          <a:p>
            <a:endParaRPr lang="en-US" sz="1400" dirty="0" smtClean="0">
              <a:solidFill>
                <a:schemeClr val="bg1"/>
              </a:solidFill>
            </a:endParaRPr>
          </a:p>
          <a:p>
            <a:pPr>
              <a:spcBef>
                <a:spcPts val="1200"/>
              </a:spcBef>
            </a:pPr>
            <a:r>
              <a:rPr lang="en-US" sz="1400" dirty="0" smtClean="0">
                <a:solidFill>
                  <a:schemeClr val="bg1"/>
                </a:solidFill>
              </a:rPr>
              <a:t>Estimated Timeframe</a:t>
            </a:r>
            <a:r>
              <a:rPr lang="en-US" sz="1400" dirty="0">
                <a:solidFill>
                  <a:schemeClr val="bg1"/>
                </a:solidFill>
              </a:rPr>
              <a:t/>
            </a:r>
            <a:br>
              <a:rPr lang="en-US" sz="1400" dirty="0">
                <a:solidFill>
                  <a:schemeClr val="bg1"/>
                </a:solidFill>
              </a:rPr>
            </a:br>
            <a:r>
              <a:rPr lang="en-US" sz="1400" dirty="0">
                <a:solidFill>
                  <a:schemeClr val="bg1"/>
                </a:solidFill>
              </a:rPr>
              <a:t>3 </a:t>
            </a:r>
            <a:r>
              <a:rPr lang="en-US" sz="1400" dirty="0" smtClean="0">
                <a:solidFill>
                  <a:schemeClr val="bg1"/>
                </a:solidFill>
              </a:rPr>
              <a:t>months</a:t>
            </a:r>
          </a:p>
        </p:txBody>
      </p:sp>
      <p:cxnSp>
        <p:nvCxnSpPr>
          <p:cNvPr id="5" name="Straight Connector 4"/>
          <p:cNvCxnSpPr/>
          <p:nvPr/>
        </p:nvCxnSpPr>
        <p:spPr bwMode="auto">
          <a:xfrm>
            <a:off x="250371" y="1981201"/>
            <a:ext cx="8773886" cy="0"/>
          </a:xfrm>
          <a:prstGeom prst="line">
            <a:avLst/>
          </a:prstGeom>
          <a:solidFill>
            <a:schemeClr val="accent1"/>
          </a:solidFill>
          <a:ln w="38100" cap="flat" cmpd="sng" algn="ctr">
            <a:solidFill>
              <a:srgbClr val="FFFFFF"/>
            </a:solidFill>
            <a:prstDash val="solid"/>
            <a:round/>
            <a:headEnd type="none" w="med" len="med"/>
            <a:tailEnd type="none" w="med" len="med"/>
          </a:ln>
          <a:effectLst/>
        </p:spPr>
      </p:cxnSp>
      <p:cxnSp>
        <p:nvCxnSpPr>
          <p:cNvPr id="9" name="Straight Connector 8"/>
          <p:cNvCxnSpPr/>
          <p:nvPr/>
        </p:nvCxnSpPr>
        <p:spPr bwMode="auto">
          <a:xfrm>
            <a:off x="250371" y="5312230"/>
            <a:ext cx="8773886" cy="0"/>
          </a:xfrm>
          <a:prstGeom prst="line">
            <a:avLst/>
          </a:prstGeom>
          <a:solidFill>
            <a:schemeClr val="accent1"/>
          </a:solidFill>
          <a:ln w="38100" cap="flat" cmpd="sng" algn="ctr">
            <a:solidFill>
              <a:srgbClr val="FFFFFF"/>
            </a:solidFill>
            <a:prstDash val="solid"/>
            <a:round/>
            <a:headEnd type="none" w="med" len="med"/>
            <a:tailEnd type="none" w="med" len="med"/>
          </a:ln>
          <a:effectLst/>
        </p:spPr>
      </p:cxnSp>
    </p:spTree>
    <p:extLst>
      <p:ext uri="{BB962C8B-B14F-4D97-AF65-F5344CB8AC3E}">
        <p14:creationId xmlns:p14="http://schemas.microsoft.com/office/powerpoint/2010/main" val="425407152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Title 1"/>
          <p:cNvSpPr>
            <a:spLocks noGrp="1"/>
          </p:cNvSpPr>
          <p:nvPr>
            <p:ph type="title"/>
          </p:nvPr>
        </p:nvSpPr>
        <p:spPr/>
        <p:txBody>
          <a:bodyPr/>
          <a:lstStyle/>
          <a:p>
            <a:r>
              <a:rPr lang="en-US" smtClean="0">
                <a:latin typeface="Ericsson Capital TT" pitchFamily="2" charset="0"/>
              </a:rPr>
              <a:t>Today’s Agenda</a:t>
            </a:r>
          </a:p>
        </p:txBody>
      </p:sp>
      <p:sp>
        <p:nvSpPr>
          <p:cNvPr id="6" name="Freeform 4"/>
          <p:cNvSpPr>
            <a:spLocks noChangeAspect="1" noEditPoints="1"/>
          </p:cNvSpPr>
          <p:nvPr/>
        </p:nvSpPr>
        <p:spPr bwMode="auto">
          <a:xfrm>
            <a:off x="527050" y="2150905"/>
            <a:ext cx="4741636" cy="3497800"/>
          </a:xfrm>
          <a:custGeom>
            <a:avLst/>
            <a:gdLst>
              <a:gd name="T0" fmla="*/ 2147483647 w 305"/>
              <a:gd name="T1" fmla="*/ 2147483647 h 300"/>
              <a:gd name="T2" fmla="*/ 2147483647 w 305"/>
              <a:gd name="T3" fmla="*/ 2147483647 h 300"/>
              <a:gd name="T4" fmla="*/ 2147483647 w 305"/>
              <a:gd name="T5" fmla="*/ 0 h 300"/>
              <a:gd name="T6" fmla="*/ 2147483647 w 305"/>
              <a:gd name="T7" fmla="*/ 2147483647 h 300"/>
              <a:gd name="T8" fmla="*/ 2147483647 w 305"/>
              <a:gd name="T9" fmla="*/ 2147483647 h 300"/>
              <a:gd name="T10" fmla="*/ 2147483647 w 305"/>
              <a:gd name="T11" fmla="*/ 2147483647 h 300"/>
              <a:gd name="T12" fmla="*/ 2147483647 w 305"/>
              <a:gd name="T13" fmla="*/ 2147483647 h 300"/>
              <a:gd name="T14" fmla="*/ 2147483647 w 305"/>
              <a:gd name="T15" fmla="*/ 2147483647 h 300"/>
              <a:gd name="T16" fmla="*/ 2147483647 w 305"/>
              <a:gd name="T17" fmla="*/ 2147483647 h 300"/>
              <a:gd name="T18" fmla="*/ 2147483647 w 305"/>
              <a:gd name="T19" fmla="*/ 2147483647 h 300"/>
              <a:gd name="T20" fmla="*/ 2147483647 w 305"/>
              <a:gd name="T21" fmla="*/ 2147483647 h 300"/>
              <a:gd name="T22" fmla="*/ 2147483647 w 305"/>
              <a:gd name="T23" fmla="*/ 2147483647 h 300"/>
              <a:gd name="T24" fmla="*/ 2147483647 w 305"/>
              <a:gd name="T25" fmla="*/ 2147483647 h 300"/>
              <a:gd name="T26" fmla="*/ 2147483647 w 305"/>
              <a:gd name="T27" fmla="*/ 2147483647 h 300"/>
              <a:gd name="T28" fmla="*/ 2147483647 w 305"/>
              <a:gd name="T29" fmla="*/ 2147483647 h 300"/>
              <a:gd name="T30" fmla="*/ 2147483647 w 305"/>
              <a:gd name="T31" fmla="*/ 2147483647 h 300"/>
              <a:gd name="T32" fmla="*/ 2147483647 w 305"/>
              <a:gd name="T33" fmla="*/ 2147483647 h 300"/>
              <a:gd name="T34" fmla="*/ 2147483647 w 305"/>
              <a:gd name="T35" fmla="*/ 2147483647 h 300"/>
              <a:gd name="T36" fmla="*/ 2147483647 w 305"/>
              <a:gd name="T37" fmla="*/ 2147483647 h 300"/>
              <a:gd name="T38" fmla="*/ 2147483647 w 305"/>
              <a:gd name="T39" fmla="*/ 2147483647 h 300"/>
              <a:gd name="T40" fmla="*/ 2147483647 w 305"/>
              <a:gd name="T41" fmla="*/ 2147483647 h 300"/>
              <a:gd name="T42" fmla="*/ 2147483647 w 305"/>
              <a:gd name="T43" fmla="*/ 2147483647 h 300"/>
              <a:gd name="T44" fmla="*/ 2147483647 w 305"/>
              <a:gd name="T45" fmla="*/ 2147483647 h 300"/>
              <a:gd name="T46" fmla="*/ 2147483647 w 305"/>
              <a:gd name="T47" fmla="*/ 2147483647 h 300"/>
              <a:gd name="T48" fmla="*/ 2147483647 w 305"/>
              <a:gd name="T49" fmla="*/ 2147483647 h 300"/>
              <a:gd name="T50" fmla="*/ 2147483647 w 305"/>
              <a:gd name="T51" fmla="*/ 2147483647 h 300"/>
              <a:gd name="T52" fmla="*/ 2147483647 w 305"/>
              <a:gd name="T53" fmla="*/ 2147483647 h 300"/>
              <a:gd name="T54" fmla="*/ 2147483647 w 305"/>
              <a:gd name="T55" fmla="*/ 2147483647 h 300"/>
              <a:gd name="T56" fmla="*/ 2147483647 w 305"/>
              <a:gd name="T57" fmla="*/ 2147483647 h 300"/>
              <a:gd name="T58" fmla="*/ 2147483647 w 305"/>
              <a:gd name="T59" fmla="*/ 2147483647 h 300"/>
              <a:gd name="T60" fmla="*/ 2147483647 w 305"/>
              <a:gd name="T61" fmla="*/ 2147483647 h 300"/>
              <a:gd name="T62" fmla="*/ 2147483647 w 305"/>
              <a:gd name="T63" fmla="*/ 2147483647 h 300"/>
              <a:gd name="T64" fmla="*/ 2147483647 w 305"/>
              <a:gd name="T65" fmla="*/ 2147483647 h 300"/>
              <a:gd name="T66" fmla="*/ 2147483647 w 305"/>
              <a:gd name="T67" fmla="*/ 2147483647 h 300"/>
              <a:gd name="T68" fmla="*/ 2147483647 w 305"/>
              <a:gd name="T69" fmla="*/ 2147483647 h 300"/>
              <a:gd name="T70" fmla="*/ 2147483647 w 305"/>
              <a:gd name="T71" fmla="*/ 2147483647 h 300"/>
              <a:gd name="T72" fmla="*/ 2147483647 w 305"/>
              <a:gd name="T73" fmla="*/ 2147483647 h 300"/>
              <a:gd name="T74" fmla="*/ 2147483647 w 305"/>
              <a:gd name="T75" fmla="*/ 2147483647 h 300"/>
              <a:gd name="T76" fmla="*/ 2147483647 w 305"/>
              <a:gd name="T77" fmla="*/ 2147483647 h 300"/>
              <a:gd name="T78" fmla="*/ 2147483647 w 305"/>
              <a:gd name="T79" fmla="*/ 2147483647 h 300"/>
              <a:gd name="T80" fmla="*/ 2147483647 w 305"/>
              <a:gd name="T81" fmla="*/ 2147483647 h 300"/>
              <a:gd name="T82" fmla="*/ 2147483647 w 305"/>
              <a:gd name="T83" fmla="*/ 2147483647 h 300"/>
              <a:gd name="T84" fmla="*/ 2147483647 w 305"/>
              <a:gd name="T85" fmla="*/ 2147483647 h 300"/>
              <a:gd name="T86" fmla="*/ 2147483647 w 305"/>
              <a:gd name="T87" fmla="*/ 2147483647 h 300"/>
              <a:gd name="T88" fmla="*/ 2147483647 w 305"/>
              <a:gd name="T89" fmla="*/ 2147483647 h 300"/>
              <a:gd name="T90" fmla="*/ 2147483647 w 305"/>
              <a:gd name="T91" fmla="*/ 2147483647 h 300"/>
              <a:gd name="T92" fmla="*/ 2147483647 w 305"/>
              <a:gd name="T93" fmla="*/ 2147483647 h 3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05"/>
              <a:gd name="T142" fmla="*/ 0 h 300"/>
              <a:gd name="T143" fmla="*/ 305 w 305"/>
              <a:gd name="T144" fmla="*/ 300 h 3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05" h="300">
                <a:moveTo>
                  <a:pt x="289" y="26"/>
                </a:moveTo>
                <a:cubicBezTo>
                  <a:pt x="287" y="26"/>
                  <a:pt x="286" y="27"/>
                  <a:pt x="284" y="27"/>
                </a:cubicBezTo>
                <a:cubicBezTo>
                  <a:pt x="284" y="27"/>
                  <a:pt x="267" y="34"/>
                  <a:pt x="243" y="43"/>
                </a:cubicBezTo>
                <a:cubicBezTo>
                  <a:pt x="240" y="18"/>
                  <a:pt x="240" y="18"/>
                  <a:pt x="240" y="18"/>
                </a:cubicBezTo>
                <a:cubicBezTo>
                  <a:pt x="240" y="13"/>
                  <a:pt x="238" y="10"/>
                  <a:pt x="236" y="6"/>
                </a:cubicBezTo>
                <a:cubicBezTo>
                  <a:pt x="233" y="3"/>
                  <a:pt x="229" y="0"/>
                  <a:pt x="224" y="0"/>
                </a:cubicBezTo>
                <a:cubicBezTo>
                  <a:pt x="222" y="0"/>
                  <a:pt x="221" y="0"/>
                  <a:pt x="219" y="1"/>
                </a:cubicBezTo>
                <a:cubicBezTo>
                  <a:pt x="219" y="1"/>
                  <a:pt x="196" y="9"/>
                  <a:pt x="171" y="19"/>
                </a:cubicBezTo>
                <a:cubicBezTo>
                  <a:pt x="147" y="28"/>
                  <a:pt x="121" y="38"/>
                  <a:pt x="114" y="40"/>
                </a:cubicBezTo>
                <a:cubicBezTo>
                  <a:pt x="114" y="40"/>
                  <a:pt x="114" y="40"/>
                  <a:pt x="114" y="40"/>
                </a:cubicBezTo>
                <a:cubicBezTo>
                  <a:pt x="113" y="39"/>
                  <a:pt x="112" y="35"/>
                  <a:pt x="110" y="31"/>
                </a:cubicBezTo>
                <a:cubicBezTo>
                  <a:pt x="109" y="29"/>
                  <a:pt x="108" y="27"/>
                  <a:pt x="105" y="25"/>
                </a:cubicBezTo>
                <a:cubicBezTo>
                  <a:pt x="103" y="22"/>
                  <a:pt x="99" y="21"/>
                  <a:pt x="96" y="21"/>
                </a:cubicBezTo>
                <a:cubicBezTo>
                  <a:pt x="93" y="21"/>
                  <a:pt x="90" y="22"/>
                  <a:pt x="88" y="23"/>
                </a:cubicBezTo>
                <a:cubicBezTo>
                  <a:pt x="69" y="30"/>
                  <a:pt x="18" y="49"/>
                  <a:pt x="18" y="49"/>
                </a:cubicBezTo>
                <a:cubicBezTo>
                  <a:pt x="13" y="50"/>
                  <a:pt x="9" y="52"/>
                  <a:pt x="5" y="56"/>
                </a:cubicBezTo>
                <a:cubicBezTo>
                  <a:pt x="2" y="60"/>
                  <a:pt x="0" y="66"/>
                  <a:pt x="0" y="72"/>
                </a:cubicBezTo>
                <a:cubicBezTo>
                  <a:pt x="0" y="73"/>
                  <a:pt x="0" y="75"/>
                  <a:pt x="1" y="77"/>
                </a:cubicBezTo>
                <a:cubicBezTo>
                  <a:pt x="1" y="77"/>
                  <a:pt x="1" y="77"/>
                  <a:pt x="1" y="77"/>
                </a:cubicBezTo>
                <a:cubicBezTo>
                  <a:pt x="30" y="285"/>
                  <a:pt x="30" y="285"/>
                  <a:pt x="30" y="285"/>
                </a:cubicBezTo>
                <a:cubicBezTo>
                  <a:pt x="30" y="285"/>
                  <a:pt x="30" y="285"/>
                  <a:pt x="30" y="285"/>
                </a:cubicBezTo>
                <a:cubicBezTo>
                  <a:pt x="30" y="286"/>
                  <a:pt x="31" y="287"/>
                  <a:pt x="31" y="288"/>
                </a:cubicBezTo>
                <a:cubicBezTo>
                  <a:pt x="32" y="291"/>
                  <a:pt x="34" y="294"/>
                  <a:pt x="36" y="296"/>
                </a:cubicBezTo>
                <a:cubicBezTo>
                  <a:pt x="39" y="299"/>
                  <a:pt x="44" y="300"/>
                  <a:pt x="48" y="300"/>
                </a:cubicBezTo>
                <a:cubicBezTo>
                  <a:pt x="51" y="300"/>
                  <a:pt x="54" y="300"/>
                  <a:pt x="56" y="299"/>
                </a:cubicBezTo>
                <a:cubicBezTo>
                  <a:pt x="204" y="243"/>
                  <a:pt x="204" y="243"/>
                  <a:pt x="204" y="243"/>
                </a:cubicBezTo>
                <a:cubicBezTo>
                  <a:pt x="208" y="241"/>
                  <a:pt x="210" y="237"/>
                  <a:pt x="209" y="233"/>
                </a:cubicBezTo>
                <a:cubicBezTo>
                  <a:pt x="207" y="228"/>
                  <a:pt x="202" y="226"/>
                  <a:pt x="198" y="228"/>
                </a:cubicBezTo>
                <a:cubicBezTo>
                  <a:pt x="51" y="284"/>
                  <a:pt x="51" y="284"/>
                  <a:pt x="51" y="284"/>
                </a:cubicBezTo>
                <a:cubicBezTo>
                  <a:pt x="50" y="284"/>
                  <a:pt x="49" y="284"/>
                  <a:pt x="48" y="284"/>
                </a:cubicBezTo>
                <a:cubicBezTo>
                  <a:pt x="47" y="284"/>
                  <a:pt x="47" y="284"/>
                  <a:pt x="46" y="284"/>
                </a:cubicBezTo>
                <a:cubicBezTo>
                  <a:pt x="46" y="284"/>
                  <a:pt x="46" y="284"/>
                  <a:pt x="46" y="284"/>
                </a:cubicBezTo>
                <a:cubicBezTo>
                  <a:pt x="46" y="283"/>
                  <a:pt x="46" y="283"/>
                  <a:pt x="46" y="283"/>
                </a:cubicBezTo>
                <a:cubicBezTo>
                  <a:pt x="46" y="283"/>
                  <a:pt x="46" y="283"/>
                  <a:pt x="46" y="283"/>
                </a:cubicBezTo>
                <a:cubicBezTo>
                  <a:pt x="46" y="283"/>
                  <a:pt x="46" y="283"/>
                  <a:pt x="46" y="283"/>
                </a:cubicBezTo>
                <a:cubicBezTo>
                  <a:pt x="46" y="283"/>
                  <a:pt x="46" y="283"/>
                  <a:pt x="46" y="283"/>
                </a:cubicBezTo>
                <a:cubicBezTo>
                  <a:pt x="79" y="123"/>
                  <a:pt x="79" y="123"/>
                  <a:pt x="79" y="123"/>
                </a:cubicBezTo>
                <a:cubicBezTo>
                  <a:pt x="79" y="123"/>
                  <a:pt x="80" y="123"/>
                  <a:pt x="80" y="122"/>
                </a:cubicBezTo>
                <a:cubicBezTo>
                  <a:pt x="80" y="122"/>
                  <a:pt x="80" y="122"/>
                  <a:pt x="80" y="122"/>
                </a:cubicBezTo>
                <a:cubicBezTo>
                  <a:pt x="80" y="122"/>
                  <a:pt x="80" y="121"/>
                  <a:pt x="81" y="121"/>
                </a:cubicBezTo>
                <a:cubicBezTo>
                  <a:pt x="81" y="121"/>
                  <a:pt x="81" y="121"/>
                  <a:pt x="81" y="121"/>
                </a:cubicBezTo>
                <a:cubicBezTo>
                  <a:pt x="81" y="120"/>
                  <a:pt x="82" y="120"/>
                  <a:pt x="84" y="119"/>
                </a:cubicBezTo>
                <a:cubicBezTo>
                  <a:pt x="84" y="119"/>
                  <a:pt x="84" y="119"/>
                  <a:pt x="84" y="119"/>
                </a:cubicBezTo>
                <a:cubicBezTo>
                  <a:pt x="84" y="119"/>
                  <a:pt x="84" y="119"/>
                  <a:pt x="84" y="119"/>
                </a:cubicBezTo>
                <a:cubicBezTo>
                  <a:pt x="84" y="119"/>
                  <a:pt x="123" y="104"/>
                  <a:pt x="163" y="89"/>
                </a:cubicBezTo>
                <a:cubicBezTo>
                  <a:pt x="211" y="72"/>
                  <a:pt x="282" y="45"/>
                  <a:pt x="289" y="43"/>
                </a:cubicBezTo>
                <a:cubicBezTo>
                  <a:pt x="289" y="43"/>
                  <a:pt x="289" y="43"/>
                  <a:pt x="289" y="43"/>
                </a:cubicBezTo>
                <a:cubicBezTo>
                  <a:pt x="289" y="43"/>
                  <a:pt x="289" y="43"/>
                  <a:pt x="289" y="43"/>
                </a:cubicBezTo>
                <a:cubicBezTo>
                  <a:pt x="253" y="203"/>
                  <a:pt x="253" y="203"/>
                  <a:pt x="253" y="203"/>
                </a:cubicBezTo>
                <a:cubicBezTo>
                  <a:pt x="252" y="205"/>
                  <a:pt x="251" y="207"/>
                  <a:pt x="251" y="207"/>
                </a:cubicBezTo>
                <a:cubicBezTo>
                  <a:pt x="250" y="208"/>
                  <a:pt x="250" y="208"/>
                  <a:pt x="248" y="209"/>
                </a:cubicBezTo>
                <a:cubicBezTo>
                  <a:pt x="248" y="209"/>
                  <a:pt x="248" y="209"/>
                  <a:pt x="248" y="209"/>
                </a:cubicBezTo>
                <a:cubicBezTo>
                  <a:pt x="226" y="217"/>
                  <a:pt x="226" y="217"/>
                  <a:pt x="226" y="217"/>
                </a:cubicBezTo>
                <a:cubicBezTo>
                  <a:pt x="222" y="219"/>
                  <a:pt x="219" y="224"/>
                  <a:pt x="221" y="228"/>
                </a:cubicBezTo>
                <a:cubicBezTo>
                  <a:pt x="223" y="232"/>
                  <a:pt x="227" y="234"/>
                  <a:pt x="231" y="232"/>
                </a:cubicBezTo>
                <a:cubicBezTo>
                  <a:pt x="231" y="232"/>
                  <a:pt x="231" y="232"/>
                  <a:pt x="231" y="232"/>
                </a:cubicBezTo>
                <a:cubicBezTo>
                  <a:pt x="253" y="224"/>
                  <a:pt x="253" y="224"/>
                  <a:pt x="253" y="224"/>
                </a:cubicBezTo>
                <a:cubicBezTo>
                  <a:pt x="257" y="223"/>
                  <a:pt x="261" y="220"/>
                  <a:pt x="263" y="217"/>
                </a:cubicBezTo>
                <a:cubicBezTo>
                  <a:pt x="266" y="214"/>
                  <a:pt x="267" y="211"/>
                  <a:pt x="268" y="208"/>
                </a:cubicBezTo>
                <a:cubicBezTo>
                  <a:pt x="268" y="208"/>
                  <a:pt x="268" y="208"/>
                  <a:pt x="268" y="208"/>
                </a:cubicBezTo>
                <a:cubicBezTo>
                  <a:pt x="305" y="47"/>
                  <a:pt x="305" y="47"/>
                  <a:pt x="305" y="47"/>
                </a:cubicBezTo>
                <a:cubicBezTo>
                  <a:pt x="305" y="45"/>
                  <a:pt x="305" y="44"/>
                  <a:pt x="305" y="43"/>
                </a:cubicBezTo>
                <a:cubicBezTo>
                  <a:pt x="305" y="34"/>
                  <a:pt x="298" y="27"/>
                  <a:pt x="289" y="26"/>
                </a:cubicBezTo>
                <a:close/>
                <a:moveTo>
                  <a:pt x="16" y="75"/>
                </a:moveTo>
                <a:cubicBezTo>
                  <a:pt x="16" y="74"/>
                  <a:pt x="16" y="73"/>
                  <a:pt x="16" y="72"/>
                </a:cubicBezTo>
                <a:cubicBezTo>
                  <a:pt x="16" y="68"/>
                  <a:pt x="17" y="67"/>
                  <a:pt x="17" y="67"/>
                </a:cubicBezTo>
                <a:cubicBezTo>
                  <a:pt x="18" y="66"/>
                  <a:pt x="19" y="65"/>
                  <a:pt x="23" y="64"/>
                </a:cubicBezTo>
                <a:cubicBezTo>
                  <a:pt x="23" y="64"/>
                  <a:pt x="23" y="64"/>
                  <a:pt x="23" y="64"/>
                </a:cubicBezTo>
                <a:cubicBezTo>
                  <a:pt x="23" y="64"/>
                  <a:pt x="23" y="64"/>
                  <a:pt x="23" y="64"/>
                </a:cubicBezTo>
                <a:cubicBezTo>
                  <a:pt x="23" y="64"/>
                  <a:pt x="75" y="44"/>
                  <a:pt x="93" y="38"/>
                </a:cubicBezTo>
                <a:cubicBezTo>
                  <a:pt x="94" y="37"/>
                  <a:pt x="95" y="37"/>
                  <a:pt x="95" y="37"/>
                </a:cubicBezTo>
                <a:cubicBezTo>
                  <a:pt x="96" y="37"/>
                  <a:pt x="96" y="38"/>
                  <a:pt x="96" y="39"/>
                </a:cubicBezTo>
                <a:cubicBezTo>
                  <a:pt x="97" y="41"/>
                  <a:pt x="98" y="44"/>
                  <a:pt x="100" y="48"/>
                </a:cubicBezTo>
                <a:cubicBezTo>
                  <a:pt x="102" y="51"/>
                  <a:pt x="107" y="56"/>
                  <a:pt x="114" y="56"/>
                </a:cubicBezTo>
                <a:cubicBezTo>
                  <a:pt x="116" y="56"/>
                  <a:pt x="118" y="56"/>
                  <a:pt x="119" y="55"/>
                </a:cubicBezTo>
                <a:cubicBezTo>
                  <a:pt x="132" y="51"/>
                  <a:pt x="211" y="21"/>
                  <a:pt x="223" y="16"/>
                </a:cubicBezTo>
                <a:cubicBezTo>
                  <a:pt x="223" y="17"/>
                  <a:pt x="224" y="18"/>
                  <a:pt x="224" y="18"/>
                </a:cubicBezTo>
                <a:cubicBezTo>
                  <a:pt x="224" y="19"/>
                  <a:pt x="224" y="19"/>
                  <a:pt x="224" y="19"/>
                </a:cubicBezTo>
                <a:cubicBezTo>
                  <a:pt x="224" y="19"/>
                  <a:pt x="224" y="19"/>
                  <a:pt x="224" y="19"/>
                </a:cubicBezTo>
                <a:cubicBezTo>
                  <a:pt x="228" y="48"/>
                  <a:pt x="228" y="48"/>
                  <a:pt x="228" y="48"/>
                </a:cubicBezTo>
                <a:cubicBezTo>
                  <a:pt x="195" y="61"/>
                  <a:pt x="155" y="75"/>
                  <a:pt x="133" y="84"/>
                </a:cubicBezTo>
                <a:cubicBezTo>
                  <a:pt x="113" y="91"/>
                  <a:pt x="113" y="91"/>
                  <a:pt x="113" y="91"/>
                </a:cubicBezTo>
                <a:cubicBezTo>
                  <a:pt x="100" y="96"/>
                  <a:pt x="100" y="96"/>
                  <a:pt x="100" y="96"/>
                </a:cubicBezTo>
                <a:cubicBezTo>
                  <a:pt x="88" y="100"/>
                  <a:pt x="81" y="103"/>
                  <a:pt x="79" y="104"/>
                </a:cubicBezTo>
                <a:cubicBezTo>
                  <a:pt x="74" y="105"/>
                  <a:pt x="70" y="108"/>
                  <a:pt x="67" y="112"/>
                </a:cubicBezTo>
                <a:cubicBezTo>
                  <a:pt x="67" y="113"/>
                  <a:pt x="67" y="113"/>
                  <a:pt x="66" y="114"/>
                </a:cubicBezTo>
                <a:cubicBezTo>
                  <a:pt x="66" y="114"/>
                  <a:pt x="66" y="114"/>
                  <a:pt x="66" y="114"/>
                </a:cubicBezTo>
                <a:cubicBezTo>
                  <a:pt x="66" y="115"/>
                  <a:pt x="65" y="115"/>
                  <a:pt x="65" y="116"/>
                </a:cubicBezTo>
                <a:cubicBezTo>
                  <a:pt x="65" y="116"/>
                  <a:pt x="65" y="116"/>
                  <a:pt x="65" y="117"/>
                </a:cubicBezTo>
                <a:cubicBezTo>
                  <a:pt x="65" y="117"/>
                  <a:pt x="65" y="117"/>
                  <a:pt x="65" y="117"/>
                </a:cubicBezTo>
                <a:cubicBezTo>
                  <a:pt x="64" y="118"/>
                  <a:pt x="64" y="119"/>
                  <a:pt x="64" y="119"/>
                </a:cubicBezTo>
                <a:cubicBezTo>
                  <a:pt x="64" y="119"/>
                  <a:pt x="64" y="119"/>
                  <a:pt x="64" y="119"/>
                </a:cubicBezTo>
                <a:cubicBezTo>
                  <a:pt x="64" y="120"/>
                  <a:pt x="64" y="120"/>
                  <a:pt x="64" y="120"/>
                </a:cubicBezTo>
                <a:cubicBezTo>
                  <a:pt x="39" y="237"/>
                  <a:pt x="39" y="237"/>
                  <a:pt x="39" y="237"/>
                </a:cubicBezTo>
                <a:lnTo>
                  <a:pt x="16" y="75"/>
                </a:lnTo>
                <a:close/>
              </a:path>
            </a:pathLst>
          </a:custGeom>
          <a:solidFill>
            <a:srgbClr val="E1E2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 name="Rectangle 4"/>
          <p:cNvSpPr>
            <a:spLocks noChangeArrowheads="1"/>
          </p:cNvSpPr>
          <p:nvPr/>
        </p:nvSpPr>
        <p:spPr bwMode="gray">
          <a:xfrm>
            <a:off x="2971799" y="1716311"/>
            <a:ext cx="5827373" cy="705404"/>
          </a:xfrm>
          <a:prstGeom prst="roundRect">
            <a:avLst>
              <a:gd name="adj" fmla="val 16667"/>
            </a:avLst>
          </a:prstGeom>
          <a:blipFill dpi="0" rotWithShape="1">
            <a:blip r:embed="rId3"/>
            <a:srcRect/>
            <a:stretch>
              <a:fillRect/>
            </a:stretch>
          </a:blipFill>
          <a:ln>
            <a:noFill/>
          </a:ln>
          <a:extLst>
            <a:ext uri="{91240B29-F687-4F45-9708-019B960494DF}">
              <a14:hiddenLine xmlns:a14="http://schemas.microsoft.com/office/drawing/2010/main" w="9525" algn="ctr">
                <a:solidFill>
                  <a:srgbClr val="000000"/>
                </a:solidFill>
                <a:round/>
                <a:headEnd/>
                <a:tailEnd/>
              </a14:hiddenLine>
            </a:ext>
          </a:extLst>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pPr>
            <a:r>
              <a:rPr lang="en-US" sz="1800" dirty="0" smtClean="0">
                <a:solidFill>
                  <a:schemeClr val="bg1"/>
                </a:solidFill>
              </a:rPr>
              <a:t>ERICSSON VISION AND STRATEGY</a:t>
            </a:r>
            <a:endParaRPr lang="en-US" sz="1800" dirty="0">
              <a:solidFill>
                <a:schemeClr val="bg1"/>
              </a:solidFill>
            </a:endParaRPr>
          </a:p>
        </p:txBody>
      </p:sp>
      <p:sp>
        <p:nvSpPr>
          <p:cNvPr id="8" name="Rectangle 4"/>
          <p:cNvSpPr>
            <a:spLocks noChangeArrowheads="1"/>
          </p:cNvSpPr>
          <p:nvPr/>
        </p:nvSpPr>
        <p:spPr bwMode="gray">
          <a:xfrm>
            <a:off x="2971799" y="2596328"/>
            <a:ext cx="5827373" cy="705404"/>
          </a:xfrm>
          <a:prstGeom prst="roundRect">
            <a:avLst>
              <a:gd name="adj" fmla="val 16667"/>
            </a:avLst>
          </a:prstGeom>
          <a:blipFill>
            <a:blip r:embed="rId4" cstate="print"/>
            <a:stretch>
              <a:fillRect/>
            </a:stretch>
          </a:blipFill>
          <a:ln>
            <a:noFill/>
          </a:ln>
          <a:extLst/>
        </p:spPr>
        <p:txBody>
          <a:bodyPr lIns="72009" tIns="72009" rIns="72009" bIns="72009" anchor="ctr"/>
          <a:lstStyle/>
          <a:p>
            <a:pPr marL="228600" indent="-228600" algn="l" eaLnBrk="0" hangingPunct="0">
              <a:lnSpc>
                <a:spcPct val="90000"/>
              </a:lnSpc>
              <a:spcAft>
                <a:spcPct val="70000"/>
              </a:spcAft>
              <a:buClr>
                <a:schemeClr val="hlink"/>
              </a:buClr>
              <a:buFont typeface="Ericsson Capital TT" pitchFamily="2" charset="0"/>
              <a:buNone/>
              <a:tabLst>
                <a:tab pos="1701800" algn="l"/>
              </a:tabLst>
            </a:pPr>
            <a:r>
              <a:rPr lang="en-US" sz="1800" dirty="0" smtClean="0">
                <a:solidFill>
                  <a:schemeClr val="bg1"/>
                </a:solidFill>
                <a:cs typeface="Arial" charset="0"/>
              </a:rPr>
              <a:t>ERICSSON CATALOG MANAGER</a:t>
            </a:r>
            <a:br>
              <a:rPr lang="en-US" sz="1800" dirty="0" smtClean="0">
                <a:solidFill>
                  <a:schemeClr val="bg1"/>
                </a:solidFill>
                <a:cs typeface="Arial" charset="0"/>
              </a:rPr>
            </a:br>
            <a:r>
              <a:rPr lang="en-US" sz="1800" dirty="0" smtClean="0">
                <a:solidFill>
                  <a:schemeClr val="bg1"/>
                </a:solidFill>
                <a:cs typeface="Arial" charset="0"/>
              </a:rPr>
              <a:t>RELEASE 14 ENHANCEMENTS AND ROADMAP</a:t>
            </a:r>
            <a:endParaRPr lang="en-US" sz="1800" dirty="0">
              <a:solidFill>
                <a:schemeClr val="bg1"/>
              </a:solidFill>
              <a:cs typeface="Arial" charset="0"/>
            </a:endParaRPr>
          </a:p>
        </p:txBody>
      </p:sp>
      <p:sp>
        <p:nvSpPr>
          <p:cNvPr id="9" name="Rectangle 4"/>
          <p:cNvSpPr>
            <a:spLocks noChangeArrowheads="1"/>
          </p:cNvSpPr>
          <p:nvPr/>
        </p:nvSpPr>
        <p:spPr bwMode="gray">
          <a:xfrm>
            <a:off x="2971799" y="3476345"/>
            <a:ext cx="5827373" cy="705404"/>
          </a:xfrm>
          <a:prstGeom prst="roundRect">
            <a:avLst>
              <a:gd name="adj" fmla="val 16667"/>
            </a:avLst>
          </a:prstGeom>
          <a:blipFill dpi="0" rotWithShape="1">
            <a:blip r:embed="rId5"/>
            <a:srcRect/>
            <a:stretch>
              <a:fillRect/>
            </a:stretch>
          </a:blipFill>
          <a:ln>
            <a:noFill/>
          </a:ln>
          <a:extLst>
            <a:ext uri="{91240B29-F687-4F45-9708-019B960494DF}">
              <a14:hiddenLine xmlns:a14="http://schemas.microsoft.com/office/drawing/2010/main" w="9525" algn="ctr">
                <a:solidFill>
                  <a:srgbClr val="000000"/>
                </a:solidFill>
                <a:round/>
                <a:headEnd/>
                <a:tailEnd/>
              </a14:hiddenLine>
            </a:ext>
          </a:extLst>
        </p:spPr>
        <p:txBody>
          <a:bodyPr lIns="72009" tIns="72009" rIns="72009" bIns="72009" anchor="ctr"/>
          <a:lstStyle/>
          <a:p>
            <a:pPr marL="228600" indent="-228600" algn="l" eaLnBrk="0" hangingPunct="0">
              <a:lnSpc>
                <a:spcPct val="90000"/>
              </a:lnSpc>
              <a:spcAft>
                <a:spcPct val="70000"/>
              </a:spcAft>
              <a:buClr>
                <a:schemeClr val="hlink"/>
              </a:buClr>
              <a:buFont typeface="Ericsson Capital TT" pitchFamily="2" charset="0"/>
              <a:buNone/>
              <a:tabLst>
                <a:tab pos="1701800" algn="l"/>
              </a:tabLst>
            </a:pPr>
            <a:r>
              <a:rPr lang="en-US" sz="1800" dirty="0" smtClean="0">
                <a:solidFill>
                  <a:schemeClr val="bg1"/>
                </a:solidFill>
              </a:rPr>
              <a:t>ERICSSON ORDER CARE</a:t>
            </a:r>
            <a:br>
              <a:rPr lang="en-US" sz="1800" dirty="0" smtClean="0">
                <a:solidFill>
                  <a:schemeClr val="bg1"/>
                </a:solidFill>
              </a:rPr>
            </a:br>
            <a:r>
              <a:rPr lang="en-US" sz="1800" dirty="0" smtClean="0">
                <a:solidFill>
                  <a:schemeClr val="bg1"/>
                </a:solidFill>
              </a:rPr>
              <a:t>RELEASE 14 ENHANCEMENTS AND ROADMAP</a:t>
            </a:r>
            <a:endParaRPr lang="en-US" sz="1800" dirty="0">
              <a:solidFill>
                <a:schemeClr val="bg1"/>
              </a:solidFill>
            </a:endParaRPr>
          </a:p>
        </p:txBody>
      </p:sp>
      <p:sp>
        <p:nvSpPr>
          <p:cNvPr id="10" name="Rectangle 4"/>
          <p:cNvSpPr>
            <a:spLocks noChangeArrowheads="1"/>
          </p:cNvSpPr>
          <p:nvPr/>
        </p:nvSpPr>
        <p:spPr bwMode="gray">
          <a:xfrm>
            <a:off x="2971799" y="4356362"/>
            <a:ext cx="5827373" cy="705404"/>
          </a:xfrm>
          <a:prstGeom prst="roundRect">
            <a:avLst>
              <a:gd name="adj" fmla="val 16667"/>
            </a:avLst>
          </a:prstGeom>
          <a:blipFill dpi="0" rotWithShape="1">
            <a:blip r:embed="rId6"/>
            <a:srcRect/>
            <a:stretch>
              <a:fillRect/>
            </a:stretch>
          </a:blipFill>
          <a:ln>
            <a:noFill/>
          </a:ln>
          <a:extLst/>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defRPr/>
            </a:pPr>
            <a:r>
              <a:rPr lang="en-US" sz="1800" dirty="0" smtClean="0">
                <a:solidFill>
                  <a:schemeClr val="bg1"/>
                </a:solidFill>
                <a:latin typeface="Arial" charset="0"/>
                <a:cs typeface="Arial" charset="0"/>
              </a:rPr>
              <a:t>BEST PRACTICES FOR UPGRADING TO 14.X</a:t>
            </a:r>
            <a:endParaRPr lang="en-US" sz="1800" dirty="0">
              <a:solidFill>
                <a:schemeClr val="bg1"/>
              </a:solidFill>
              <a:latin typeface="Arial" charset="0"/>
              <a:cs typeface="Arial" charset="0"/>
            </a:endParaRPr>
          </a:p>
        </p:txBody>
      </p:sp>
      <p:sp>
        <p:nvSpPr>
          <p:cNvPr id="19" name="Rectangle 4"/>
          <p:cNvSpPr>
            <a:spLocks noChangeArrowheads="1"/>
          </p:cNvSpPr>
          <p:nvPr/>
        </p:nvSpPr>
        <p:spPr bwMode="gray">
          <a:xfrm>
            <a:off x="2971799" y="5236378"/>
            <a:ext cx="5827373" cy="705404"/>
          </a:xfrm>
          <a:prstGeom prst="roundRect">
            <a:avLst>
              <a:gd name="adj" fmla="val 16667"/>
            </a:avLst>
          </a:prstGeom>
          <a:blipFill dpi="0" rotWithShape="1">
            <a:blip r:embed="rId7"/>
            <a:srcRect/>
            <a:stretch>
              <a:fillRect/>
            </a:stretch>
          </a:blipFill>
          <a:ln>
            <a:noFill/>
          </a:ln>
          <a:extLst/>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defRPr/>
            </a:pPr>
            <a:r>
              <a:rPr lang="en-US" sz="1800" dirty="0" smtClean="0">
                <a:solidFill>
                  <a:schemeClr val="bg1"/>
                </a:solidFill>
                <a:latin typeface="Arial" charset="0"/>
                <a:cs typeface="Arial" charset="0"/>
              </a:rPr>
              <a:t>WRAP-UP AND Q&amp;A</a:t>
            </a:r>
            <a:endParaRPr lang="en-US" sz="1800" dirty="0">
              <a:solidFill>
                <a:schemeClr val="bg1"/>
              </a:solidFill>
              <a:latin typeface="Arial" charset="0"/>
              <a:cs typeface="Arial" charset="0"/>
            </a:endParaRPr>
          </a:p>
        </p:txBody>
      </p:sp>
      <p:sp>
        <p:nvSpPr>
          <p:cNvPr id="12" name="Freeform 8"/>
          <p:cNvSpPr>
            <a:spLocks noChangeAspect="1"/>
          </p:cNvSpPr>
          <p:nvPr/>
        </p:nvSpPr>
        <p:spPr bwMode="auto">
          <a:xfrm>
            <a:off x="1901819" y="5161331"/>
            <a:ext cx="996049" cy="847719"/>
          </a:xfrm>
          <a:custGeom>
            <a:avLst/>
            <a:gdLst>
              <a:gd name="T0" fmla="*/ 2147483647 w 529"/>
              <a:gd name="T1" fmla="*/ 2147483647 h 450"/>
              <a:gd name="T2" fmla="*/ 2147483647 w 529"/>
              <a:gd name="T3" fmla="*/ 2147483647 h 450"/>
              <a:gd name="T4" fmla="*/ 2147483647 w 529"/>
              <a:gd name="T5" fmla="*/ 2147483647 h 450"/>
              <a:gd name="T6" fmla="*/ 2147483647 w 529"/>
              <a:gd name="T7" fmla="*/ 2147483647 h 450"/>
              <a:gd name="T8" fmla="*/ 2147483647 w 529"/>
              <a:gd name="T9" fmla="*/ 2147483647 h 450"/>
              <a:gd name="T10" fmla="*/ 2147483647 w 529"/>
              <a:gd name="T11" fmla="*/ 2147483647 h 450"/>
              <a:gd name="T12" fmla="*/ 2147483647 w 529"/>
              <a:gd name="T13" fmla="*/ 2147483647 h 450"/>
              <a:gd name="T14" fmla="*/ 0 w 529"/>
              <a:gd name="T15" fmla="*/ 2147483647 h 450"/>
              <a:gd name="T16" fmla="*/ 0 w 529"/>
              <a:gd name="T17" fmla="*/ 2147483647 h 450"/>
              <a:gd name="T18" fmla="*/ 2147483647 w 529"/>
              <a:gd name="T19" fmla="*/ 2147483647 h 450"/>
              <a:gd name="T20" fmla="*/ 2147483647 w 529"/>
              <a:gd name="T21" fmla="*/ 2147483647 h 450"/>
              <a:gd name="T22" fmla="*/ 2147483647 w 529"/>
              <a:gd name="T23" fmla="*/ 2147483647 h 450"/>
              <a:gd name="T24" fmla="*/ 2147483647 w 529"/>
              <a:gd name="T25" fmla="*/ 2147483647 h 450"/>
              <a:gd name="T26" fmla="*/ 2147483647 w 529"/>
              <a:gd name="T27" fmla="*/ 2147483647 h 4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9"/>
              <a:gd name="T43" fmla="*/ 0 h 450"/>
              <a:gd name="T44" fmla="*/ 529 w 529"/>
              <a:gd name="T45" fmla="*/ 450 h 4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9" h="450">
                <a:moveTo>
                  <a:pt x="524" y="241"/>
                </a:moveTo>
                <a:cubicBezTo>
                  <a:pt x="528" y="232"/>
                  <a:pt x="529" y="231"/>
                  <a:pt x="529" y="225"/>
                </a:cubicBezTo>
                <a:cubicBezTo>
                  <a:pt x="529" y="218"/>
                  <a:pt x="529" y="217"/>
                  <a:pt x="524" y="208"/>
                </a:cubicBezTo>
                <a:cubicBezTo>
                  <a:pt x="519" y="198"/>
                  <a:pt x="425" y="27"/>
                  <a:pt x="418" y="14"/>
                </a:cubicBezTo>
                <a:cubicBezTo>
                  <a:pt x="410" y="0"/>
                  <a:pt x="391" y="3"/>
                  <a:pt x="390" y="23"/>
                </a:cubicBezTo>
                <a:cubicBezTo>
                  <a:pt x="390" y="27"/>
                  <a:pt x="390" y="33"/>
                  <a:pt x="390" y="40"/>
                </a:cubicBezTo>
                <a:cubicBezTo>
                  <a:pt x="14" y="40"/>
                  <a:pt x="14" y="40"/>
                  <a:pt x="14" y="40"/>
                </a:cubicBezTo>
                <a:cubicBezTo>
                  <a:pt x="6" y="40"/>
                  <a:pt x="0" y="46"/>
                  <a:pt x="0" y="54"/>
                </a:cubicBezTo>
                <a:cubicBezTo>
                  <a:pt x="0" y="396"/>
                  <a:pt x="0" y="396"/>
                  <a:pt x="0" y="396"/>
                </a:cubicBezTo>
                <a:cubicBezTo>
                  <a:pt x="0" y="403"/>
                  <a:pt x="6" y="409"/>
                  <a:pt x="14" y="409"/>
                </a:cubicBezTo>
                <a:cubicBezTo>
                  <a:pt x="390" y="409"/>
                  <a:pt x="390" y="409"/>
                  <a:pt x="390" y="409"/>
                </a:cubicBezTo>
                <a:cubicBezTo>
                  <a:pt x="390" y="416"/>
                  <a:pt x="390" y="422"/>
                  <a:pt x="390" y="426"/>
                </a:cubicBezTo>
                <a:cubicBezTo>
                  <a:pt x="391" y="446"/>
                  <a:pt x="409" y="450"/>
                  <a:pt x="417" y="437"/>
                </a:cubicBezTo>
                <a:cubicBezTo>
                  <a:pt x="429" y="415"/>
                  <a:pt x="521" y="248"/>
                  <a:pt x="524" y="241"/>
                </a:cubicBezTo>
                <a:close/>
              </a:path>
            </a:pathLst>
          </a:custGeom>
          <a:blipFill dpi="0" rotWithShape="1">
            <a:blip r:embed="rId7"/>
            <a:srcRect/>
            <a:stretch>
              <a:fillRect/>
            </a:stretch>
          </a:blipFill>
          <a:ln>
            <a:noFill/>
          </a:ln>
        </p:spPr>
        <p:txBody>
          <a:bodyPr lIns="72009" tIns="72009" rIns="72009" bIns="72009" anchor="ctr"/>
          <a:lstStyle/>
          <a:p>
            <a:pPr algn="l" eaLnBrk="0" hangingPunct="0">
              <a:lnSpc>
                <a:spcPct val="90000"/>
              </a:lnSpc>
              <a:spcAft>
                <a:spcPct val="70000"/>
              </a:spcAft>
              <a:buClr>
                <a:schemeClr val="hlink"/>
              </a:buClr>
              <a:buFont typeface="Ericsson Capital TT" pitchFamily="2" charset="0"/>
              <a:buNone/>
              <a:tabLst>
                <a:tab pos="1701800" algn="l"/>
              </a:tabLst>
            </a:pPr>
            <a:endParaRPr lang="en-US" sz="1800" dirty="0">
              <a:solidFill>
                <a:schemeClr val="bg1"/>
              </a:solidFill>
              <a:latin typeface="Arial" charset="0"/>
              <a:cs typeface="Arial" charset="0"/>
            </a:endParaRPr>
          </a:p>
        </p:txBody>
      </p:sp>
      <p:sp>
        <p:nvSpPr>
          <p:cNvPr id="11" name="Right Arrow 10"/>
          <p:cNvSpPr/>
          <p:nvPr/>
        </p:nvSpPr>
        <p:spPr bwMode="auto">
          <a:xfrm>
            <a:off x="8523513" y="6429375"/>
            <a:ext cx="504825" cy="352425"/>
          </a:xfrm>
          <a:prstGeom prst="rightArrow">
            <a:avLst/>
          </a:prstGeom>
          <a:solidFill>
            <a:srgbClr val="B1B3B4"/>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kumimoji="0" lang="en-US" sz="1100" b="1" i="0" u="none" strike="noStrike" cap="none" normalizeH="0" baseline="0" dirty="0" smtClean="0">
                <a:ln>
                  <a:noFill/>
                </a:ln>
                <a:solidFill>
                  <a:schemeClr val="tx1"/>
                </a:solidFill>
                <a:effectLst/>
                <a:latin typeface="Arial" charset="0"/>
              </a:rPr>
              <a:t>P3</a:t>
            </a:r>
          </a:p>
        </p:txBody>
      </p:sp>
    </p:spTree>
    <p:extLst>
      <p:ext uri="{BB962C8B-B14F-4D97-AF65-F5344CB8AC3E}">
        <p14:creationId xmlns:p14="http://schemas.microsoft.com/office/powerpoint/2010/main" val="246275315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394098" y="239713"/>
            <a:ext cx="7493794" cy="1085850"/>
          </a:xfrm>
        </p:spPr>
        <p:txBody>
          <a:bodyPr/>
          <a:lstStyle/>
          <a:p>
            <a:pPr eaLnBrk="1" hangingPunct="1"/>
            <a:r>
              <a:rPr lang="en-US" smtClean="0">
                <a:latin typeface="Ericsson Capital TT" pitchFamily="2" charset="0"/>
                <a:cs typeface="Geneva"/>
              </a:rPr>
              <a:t>Measurable Success</a:t>
            </a:r>
            <a:endParaRPr lang="en-US" sz="3600" smtClean="0">
              <a:latin typeface="Ericsson Capital TT" pitchFamily="2" charset="0"/>
              <a:cs typeface="Geneva"/>
            </a:endParaRPr>
          </a:p>
        </p:txBody>
      </p:sp>
      <p:grpSp>
        <p:nvGrpSpPr>
          <p:cNvPr id="56" name="Group 1"/>
          <p:cNvGrpSpPr>
            <a:grpSpLocks/>
          </p:cNvGrpSpPr>
          <p:nvPr/>
        </p:nvGrpSpPr>
        <p:grpSpPr bwMode="auto">
          <a:xfrm>
            <a:off x="6040191" y="1785248"/>
            <a:ext cx="2923587" cy="4259036"/>
            <a:chOff x="609600" y="1436688"/>
            <a:chExt cx="3416300" cy="4976812"/>
          </a:xfrm>
        </p:grpSpPr>
        <p:sp>
          <p:nvSpPr>
            <p:cNvPr id="57" name="Rounded Rectangle 16"/>
            <p:cNvSpPr>
              <a:spLocks noChangeArrowheads="1"/>
            </p:cNvSpPr>
            <p:nvPr/>
          </p:nvSpPr>
          <p:spPr bwMode="auto">
            <a:xfrm>
              <a:off x="728663" y="1436688"/>
              <a:ext cx="3179762" cy="3695700"/>
            </a:xfrm>
            <a:prstGeom prst="roundRect">
              <a:avLst>
                <a:gd name="adj" fmla="val 4287"/>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lgn="l">
                <a:lnSpc>
                  <a:spcPct val="90000"/>
                </a:lnSpc>
                <a:spcBef>
                  <a:spcPct val="50000"/>
                </a:spcBef>
              </a:pPr>
              <a:endParaRPr lang="en-US" sz="1800">
                <a:solidFill>
                  <a:srgbClr val="58585A"/>
                </a:solidFill>
                <a:cs typeface="Arial" pitchFamily="34" charset="0"/>
              </a:endParaRPr>
            </a:p>
          </p:txBody>
        </p:sp>
        <p:sp>
          <p:nvSpPr>
            <p:cNvPr id="58" name="Freeform 22"/>
            <p:cNvSpPr>
              <a:spLocks noChangeAspect="1"/>
            </p:cNvSpPr>
            <p:nvPr/>
          </p:nvSpPr>
          <p:spPr bwMode="auto">
            <a:xfrm rot="-5400000">
              <a:off x="1451769" y="3839369"/>
              <a:ext cx="1731962" cy="3416300"/>
            </a:xfrm>
            <a:custGeom>
              <a:avLst/>
              <a:gdLst>
                <a:gd name="T0" fmla="*/ 2147483647 w 462"/>
                <a:gd name="T1" fmla="*/ 2147483647 h 911"/>
                <a:gd name="T2" fmla="*/ 2147483647 w 462"/>
                <a:gd name="T3" fmla="*/ 2147483647 h 911"/>
                <a:gd name="T4" fmla="*/ 2147483647 w 462"/>
                <a:gd name="T5" fmla="*/ 2147483647 h 911"/>
                <a:gd name="T6" fmla="*/ 2147483647 w 462"/>
                <a:gd name="T7" fmla="*/ 2147483647 h 911"/>
                <a:gd name="T8" fmla="*/ 2147483647 w 462"/>
                <a:gd name="T9" fmla="*/ 2147483647 h 911"/>
                <a:gd name="T10" fmla="*/ 2147483647 w 462"/>
                <a:gd name="T11" fmla="*/ 2147483647 h 911"/>
                <a:gd name="T12" fmla="*/ 2147483647 w 462"/>
                <a:gd name="T13" fmla="*/ 2147483647 h 911"/>
                <a:gd name="T14" fmla="*/ 0 w 462"/>
                <a:gd name="T15" fmla="*/ 2147483647 h 911"/>
                <a:gd name="T16" fmla="*/ 0 w 462"/>
                <a:gd name="T17" fmla="*/ 2147483647 h 911"/>
                <a:gd name="T18" fmla="*/ 2147483647 w 462"/>
                <a:gd name="T19" fmla="*/ 2147483647 h 911"/>
                <a:gd name="T20" fmla="*/ 2147483647 w 462"/>
                <a:gd name="T21" fmla="*/ 2147483647 h 911"/>
                <a:gd name="T22" fmla="*/ 2147483647 w 462"/>
                <a:gd name="T23" fmla="*/ 2147483647 h 911"/>
                <a:gd name="T24" fmla="*/ 2147483647 w 462"/>
                <a:gd name="T25" fmla="*/ 2147483647 h 911"/>
                <a:gd name="T26" fmla="*/ 2147483647 w 462"/>
                <a:gd name="T27" fmla="*/ 2147483647 h 9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2"/>
                <a:gd name="T43" fmla="*/ 0 h 911"/>
                <a:gd name="T44" fmla="*/ 462 w 462"/>
                <a:gd name="T45" fmla="*/ 911 h 9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2" h="911">
                  <a:moveTo>
                    <a:pt x="459" y="472"/>
                  </a:moveTo>
                  <a:cubicBezTo>
                    <a:pt x="461" y="462"/>
                    <a:pt x="462" y="462"/>
                    <a:pt x="462" y="455"/>
                  </a:cubicBezTo>
                  <a:cubicBezTo>
                    <a:pt x="462" y="448"/>
                    <a:pt x="462" y="449"/>
                    <a:pt x="459" y="439"/>
                  </a:cubicBezTo>
                  <a:cubicBezTo>
                    <a:pt x="454" y="421"/>
                    <a:pt x="358" y="44"/>
                    <a:pt x="351" y="16"/>
                  </a:cubicBezTo>
                  <a:cubicBezTo>
                    <a:pt x="347" y="0"/>
                    <a:pt x="324" y="6"/>
                    <a:pt x="323" y="26"/>
                  </a:cubicBezTo>
                  <a:cubicBezTo>
                    <a:pt x="323" y="30"/>
                    <a:pt x="323" y="36"/>
                    <a:pt x="323" y="42"/>
                  </a:cubicBezTo>
                  <a:cubicBezTo>
                    <a:pt x="14" y="42"/>
                    <a:pt x="14" y="42"/>
                    <a:pt x="14" y="42"/>
                  </a:cubicBezTo>
                  <a:cubicBezTo>
                    <a:pt x="6" y="42"/>
                    <a:pt x="0" y="49"/>
                    <a:pt x="0" y="56"/>
                  </a:cubicBezTo>
                  <a:cubicBezTo>
                    <a:pt x="0" y="854"/>
                    <a:pt x="0" y="854"/>
                    <a:pt x="0" y="854"/>
                  </a:cubicBezTo>
                  <a:cubicBezTo>
                    <a:pt x="0" y="862"/>
                    <a:pt x="6" y="868"/>
                    <a:pt x="14" y="868"/>
                  </a:cubicBezTo>
                  <a:cubicBezTo>
                    <a:pt x="323" y="868"/>
                    <a:pt x="323" y="868"/>
                    <a:pt x="323" y="868"/>
                  </a:cubicBezTo>
                  <a:cubicBezTo>
                    <a:pt x="323" y="875"/>
                    <a:pt x="323" y="881"/>
                    <a:pt x="323" y="885"/>
                  </a:cubicBezTo>
                  <a:cubicBezTo>
                    <a:pt x="324" y="905"/>
                    <a:pt x="346" y="911"/>
                    <a:pt x="350" y="896"/>
                  </a:cubicBezTo>
                  <a:cubicBezTo>
                    <a:pt x="358" y="870"/>
                    <a:pt x="455" y="488"/>
                    <a:pt x="459" y="472"/>
                  </a:cubicBezTo>
                  <a:close/>
                </a:path>
              </a:pathLst>
            </a:custGeom>
            <a:solidFill>
              <a:srgbClr val="DFCDDD">
                <a:alpha val="50195"/>
              </a:srgbClr>
            </a:solidFill>
            <a:ln w="12700" cap="flat" cmpd="sng" algn="ctr">
              <a:solidFill>
                <a:srgbClr val="8F3F7B"/>
              </a:solidFill>
              <a:prstDash val="solid"/>
              <a:round/>
              <a:headEnd type="none" w="med" len="med"/>
              <a:tailEnd type="none" w="med" len="med"/>
            </a:ln>
          </p:spPr>
          <p:txBody>
            <a:bodyPr wrap="none" lIns="72000" rIns="72000"/>
            <a:lstStyle/>
            <a:p>
              <a:pPr algn="l">
                <a:lnSpc>
                  <a:spcPct val="90000"/>
                </a:lnSpc>
              </a:pPr>
              <a:endParaRPr lang="en-US" sz="1800"/>
            </a:p>
          </p:txBody>
        </p:sp>
        <p:sp>
          <p:nvSpPr>
            <p:cNvPr id="59" name="Rectangle 4"/>
            <p:cNvSpPr>
              <a:spLocks noChangeArrowheads="1"/>
            </p:cNvSpPr>
            <p:nvPr/>
          </p:nvSpPr>
          <p:spPr bwMode="auto">
            <a:xfrm>
              <a:off x="812799" y="5368925"/>
              <a:ext cx="2468563" cy="981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l">
                <a:lnSpc>
                  <a:spcPct val="90000"/>
                </a:lnSpc>
                <a:spcBef>
                  <a:spcPct val="50000"/>
                </a:spcBef>
              </a:pPr>
              <a:r>
                <a:rPr lang="sv-SE" sz="1800" b="1">
                  <a:solidFill>
                    <a:srgbClr val="8F3F7B"/>
                  </a:solidFill>
                  <a:cs typeface="Arial" pitchFamily="34" charset="0"/>
                </a:rPr>
                <a:t>NEW AND ACCELERATED REVENUE</a:t>
              </a:r>
            </a:p>
          </p:txBody>
        </p:sp>
        <p:sp>
          <p:nvSpPr>
            <p:cNvPr id="60" name="Freeform 3"/>
            <p:cNvSpPr>
              <a:spLocks noChangeAspect="1" noEditPoints="1"/>
            </p:cNvSpPr>
            <p:nvPr/>
          </p:nvSpPr>
          <p:spPr bwMode="auto">
            <a:xfrm>
              <a:off x="3038475" y="5640388"/>
              <a:ext cx="657225" cy="530225"/>
            </a:xfrm>
            <a:custGeom>
              <a:avLst/>
              <a:gdLst>
                <a:gd name="T0" fmla="*/ 2147483647 w 524"/>
                <a:gd name="T1" fmla="*/ 2147483647 h 422"/>
                <a:gd name="T2" fmla="*/ 2147483647 w 524"/>
                <a:gd name="T3" fmla="*/ 2147483647 h 422"/>
                <a:gd name="T4" fmla="*/ 2147483647 w 524"/>
                <a:gd name="T5" fmla="*/ 2147483647 h 422"/>
                <a:gd name="T6" fmla="*/ 2147483647 w 524"/>
                <a:gd name="T7" fmla="*/ 2147483647 h 422"/>
                <a:gd name="T8" fmla="*/ 2147483647 w 524"/>
                <a:gd name="T9" fmla="*/ 2147483647 h 422"/>
                <a:gd name="T10" fmla="*/ 2147483647 w 524"/>
                <a:gd name="T11" fmla="*/ 2147483647 h 422"/>
                <a:gd name="T12" fmla="*/ 2147483647 w 524"/>
                <a:gd name="T13" fmla="*/ 2147483647 h 422"/>
                <a:gd name="T14" fmla="*/ 2147483647 w 524"/>
                <a:gd name="T15" fmla="*/ 2147483647 h 422"/>
                <a:gd name="T16" fmla="*/ 2147483647 w 524"/>
                <a:gd name="T17" fmla="*/ 2147483647 h 422"/>
                <a:gd name="T18" fmla="*/ 2147483647 w 524"/>
                <a:gd name="T19" fmla="*/ 2147483647 h 422"/>
                <a:gd name="T20" fmla="*/ 2147483647 w 524"/>
                <a:gd name="T21" fmla="*/ 2147483647 h 422"/>
                <a:gd name="T22" fmla="*/ 2147483647 w 524"/>
                <a:gd name="T23" fmla="*/ 2147483647 h 422"/>
                <a:gd name="T24" fmla="*/ 2147483647 w 524"/>
                <a:gd name="T25" fmla="*/ 2147483647 h 422"/>
                <a:gd name="T26" fmla="*/ 2147483647 w 524"/>
                <a:gd name="T27" fmla="*/ 2147483647 h 422"/>
                <a:gd name="T28" fmla="*/ 2147483647 w 524"/>
                <a:gd name="T29" fmla="*/ 2147483647 h 422"/>
                <a:gd name="T30" fmla="*/ 2147483647 w 524"/>
                <a:gd name="T31" fmla="*/ 2147483647 h 422"/>
                <a:gd name="T32" fmla="*/ 2147483647 w 524"/>
                <a:gd name="T33" fmla="*/ 2147483647 h 422"/>
                <a:gd name="T34" fmla="*/ 2147483647 w 524"/>
                <a:gd name="T35" fmla="*/ 2147483647 h 422"/>
                <a:gd name="T36" fmla="*/ 2147483647 w 524"/>
                <a:gd name="T37" fmla="*/ 2147483647 h 422"/>
                <a:gd name="T38" fmla="*/ 2147483647 w 524"/>
                <a:gd name="T39" fmla="*/ 2147483647 h 422"/>
                <a:gd name="T40" fmla="*/ 2147483647 w 524"/>
                <a:gd name="T41" fmla="*/ 2147483647 h 422"/>
                <a:gd name="T42" fmla="*/ 2147483647 w 524"/>
                <a:gd name="T43" fmla="*/ 2147483647 h 422"/>
                <a:gd name="T44" fmla="*/ 2147483647 w 524"/>
                <a:gd name="T45" fmla="*/ 2147483647 h 422"/>
                <a:gd name="T46" fmla="*/ 2147483647 w 524"/>
                <a:gd name="T47" fmla="*/ 2147483647 h 422"/>
                <a:gd name="T48" fmla="*/ 2147483647 w 524"/>
                <a:gd name="T49" fmla="*/ 2147483647 h 422"/>
                <a:gd name="T50" fmla="*/ 2147483647 w 524"/>
                <a:gd name="T51" fmla="*/ 2147483647 h 422"/>
                <a:gd name="T52" fmla="*/ 2147483647 w 524"/>
                <a:gd name="T53" fmla="*/ 2147483647 h 422"/>
                <a:gd name="T54" fmla="*/ 2147483647 w 524"/>
                <a:gd name="T55" fmla="*/ 2147483647 h 422"/>
                <a:gd name="T56" fmla="*/ 2147483647 w 524"/>
                <a:gd name="T57" fmla="*/ 2147483647 h 422"/>
                <a:gd name="T58" fmla="*/ 2147483647 w 524"/>
                <a:gd name="T59" fmla="*/ 2147483647 h 422"/>
                <a:gd name="T60" fmla="*/ 2147483647 w 524"/>
                <a:gd name="T61" fmla="*/ 2147483647 h 422"/>
                <a:gd name="T62" fmla="*/ 2147483647 w 524"/>
                <a:gd name="T63" fmla="*/ 2147483647 h 422"/>
                <a:gd name="T64" fmla="*/ 2147483647 w 524"/>
                <a:gd name="T65" fmla="*/ 2147483647 h 422"/>
                <a:gd name="T66" fmla="*/ 2147483647 w 524"/>
                <a:gd name="T67" fmla="*/ 2147483647 h 422"/>
                <a:gd name="T68" fmla="*/ 2147483647 w 524"/>
                <a:gd name="T69" fmla="*/ 2147483647 h 422"/>
                <a:gd name="T70" fmla="*/ 2147483647 w 524"/>
                <a:gd name="T71" fmla="*/ 2147483647 h 422"/>
                <a:gd name="T72" fmla="*/ 2147483647 w 524"/>
                <a:gd name="T73" fmla="*/ 2147483647 h 422"/>
                <a:gd name="T74" fmla="*/ 2147483647 w 524"/>
                <a:gd name="T75" fmla="*/ 2147483647 h 422"/>
                <a:gd name="T76" fmla="*/ 2147483647 w 524"/>
                <a:gd name="T77" fmla="*/ 2147483647 h 422"/>
                <a:gd name="T78" fmla="*/ 2147483647 w 524"/>
                <a:gd name="T79" fmla="*/ 2147483647 h 422"/>
                <a:gd name="T80" fmla="*/ 2147483647 w 524"/>
                <a:gd name="T81" fmla="*/ 2147483647 h 422"/>
                <a:gd name="T82" fmla="*/ 2147483647 w 524"/>
                <a:gd name="T83" fmla="*/ 2147483647 h 422"/>
                <a:gd name="T84" fmla="*/ 2147483647 w 524"/>
                <a:gd name="T85" fmla="*/ 2147483647 h 422"/>
                <a:gd name="T86" fmla="*/ 2147483647 w 524"/>
                <a:gd name="T87" fmla="*/ 2147483647 h 422"/>
                <a:gd name="T88" fmla="*/ 2147483647 w 524"/>
                <a:gd name="T89" fmla="*/ 2147483647 h 422"/>
                <a:gd name="T90" fmla="*/ 2147483647 w 524"/>
                <a:gd name="T91" fmla="*/ 2147483647 h 422"/>
                <a:gd name="T92" fmla="*/ 2147483647 w 524"/>
                <a:gd name="T93" fmla="*/ 2147483647 h 422"/>
                <a:gd name="T94" fmla="*/ 2147483647 w 524"/>
                <a:gd name="T95" fmla="*/ 2147483647 h 422"/>
                <a:gd name="T96" fmla="*/ 2147483647 w 524"/>
                <a:gd name="T97" fmla="*/ 2147483647 h 422"/>
                <a:gd name="T98" fmla="*/ 2147483647 w 524"/>
                <a:gd name="T99" fmla="*/ 2147483647 h 422"/>
                <a:gd name="T100" fmla="*/ 2147483647 w 524"/>
                <a:gd name="T101" fmla="*/ 2147483647 h 422"/>
                <a:gd name="T102" fmla="*/ 2147483647 w 524"/>
                <a:gd name="T103" fmla="*/ 2147483647 h 422"/>
                <a:gd name="T104" fmla="*/ 2147483647 w 524"/>
                <a:gd name="T105" fmla="*/ 2147483647 h 422"/>
                <a:gd name="T106" fmla="*/ 2147483647 w 524"/>
                <a:gd name="T107" fmla="*/ 2147483647 h 422"/>
                <a:gd name="T108" fmla="*/ 2147483647 w 524"/>
                <a:gd name="T109" fmla="*/ 2147483647 h 422"/>
                <a:gd name="T110" fmla="*/ 2147483647 w 524"/>
                <a:gd name="T111" fmla="*/ 2147483647 h 422"/>
                <a:gd name="T112" fmla="*/ 2147483647 w 524"/>
                <a:gd name="T113" fmla="*/ 2147483647 h 422"/>
                <a:gd name="T114" fmla="*/ 2147483647 w 524"/>
                <a:gd name="T115" fmla="*/ 2147483647 h 422"/>
                <a:gd name="T116" fmla="*/ 2147483647 w 524"/>
                <a:gd name="T117" fmla="*/ 2147483647 h 4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24" h="422">
                  <a:moveTo>
                    <a:pt x="519" y="389"/>
                  </a:moveTo>
                  <a:cubicBezTo>
                    <a:pt x="469" y="372"/>
                    <a:pt x="469" y="372"/>
                    <a:pt x="469" y="372"/>
                  </a:cubicBezTo>
                  <a:cubicBezTo>
                    <a:pt x="467" y="371"/>
                    <a:pt x="464" y="371"/>
                    <a:pt x="462" y="373"/>
                  </a:cubicBezTo>
                  <a:cubicBezTo>
                    <a:pt x="460" y="374"/>
                    <a:pt x="458" y="377"/>
                    <a:pt x="458" y="379"/>
                  </a:cubicBezTo>
                  <a:cubicBezTo>
                    <a:pt x="458" y="388"/>
                    <a:pt x="458" y="388"/>
                    <a:pt x="458" y="388"/>
                  </a:cubicBezTo>
                  <a:cubicBezTo>
                    <a:pt x="419" y="388"/>
                    <a:pt x="419" y="388"/>
                    <a:pt x="419" y="388"/>
                  </a:cubicBezTo>
                  <a:cubicBezTo>
                    <a:pt x="415" y="388"/>
                    <a:pt x="411" y="392"/>
                    <a:pt x="411" y="396"/>
                  </a:cubicBezTo>
                  <a:cubicBezTo>
                    <a:pt x="411" y="401"/>
                    <a:pt x="415" y="404"/>
                    <a:pt x="419" y="404"/>
                  </a:cubicBezTo>
                  <a:cubicBezTo>
                    <a:pt x="459" y="404"/>
                    <a:pt x="459" y="404"/>
                    <a:pt x="459" y="404"/>
                  </a:cubicBezTo>
                  <a:cubicBezTo>
                    <a:pt x="459" y="414"/>
                    <a:pt x="459" y="414"/>
                    <a:pt x="459" y="414"/>
                  </a:cubicBezTo>
                  <a:cubicBezTo>
                    <a:pt x="459" y="417"/>
                    <a:pt x="460" y="419"/>
                    <a:pt x="462" y="420"/>
                  </a:cubicBezTo>
                  <a:cubicBezTo>
                    <a:pt x="463" y="421"/>
                    <a:pt x="465" y="422"/>
                    <a:pt x="467" y="422"/>
                  </a:cubicBezTo>
                  <a:cubicBezTo>
                    <a:pt x="467" y="422"/>
                    <a:pt x="468" y="422"/>
                    <a:pt x="469" y="421"/>
                  </a:cubicBezTo>
                  <a:cubicBezTo>
                    <a:pt x="519" y="404"/>
                    <a:pt x="519" y="404"/>
                    <a:pt x="519" y="404"/>
                  </a:cubicBezTo>
                  <a:cubicBezTo>
                    <a:pt x="522" y="403"/>
                    <a:pt x="524" y="400"/>
                    <a:pt x="524" y="396"/>
                  </a:cubicBezTo>
                  <a:cubicBezTo>
                    <a:pt x="524" y="393"/>
                    <a:pt x="522" y="390"/>
                    <a:pt x="519" y="389"/>
                  </a:cubicBezTo>
                  <a:close/>
                  <a:moveTo>
                    <a:pt x="446" y="314"/>
                  </a:moveTo>
                  <a:cubicBezTo>
                    <a:pt x="448" y="312"/>
                    <a:pt x="449" y="309"/>
                    <a:pt x="449" y="306"/>
                  </a:cubicBezTo>
                  <a:cubicBezTo>
                    <a:pt x="449" y="301"/>
                    <a:pt x="446" y="297"/>
                    <a:pt x="441" y="295"/>
                  </a:cubicBezTo>
                  <a:cubicBezTo>
                    <a:pt x="435" y="292"/>
                    <a:pt x="435" y="292"/>
                    <a:pt x="435" y="292"/>
                  </a:cubicBezTo>
                  <a:cubicBezTo>
                    <a:pt x="446" y="279"/>
                    <a:pt x="446" y="279"/>
                    <a:pt x="446" y="279"/>
                  </a:cubicBezTo>
                  <a:cubicBezTo>
                    <a:pt x="448" y="277"/>
                    <a:pt x="449" y="274"/>
                    <a:pt x="449" y="271"/>
                  </a:cubicBezTo>
                  <a:cubicBezTo>
                    <a:pt x="449" y="266"/>
                    <a:pt x="446" y="261"/>
                    <a:pt x="441" y="260"/>
                  </a:cubicBezTo>
                  <a:cubicBezTo>
                    <a:pt x="435" y="256"/>
                    <a:pt x="435" y="256"/>
                    <a:pt x="435" y="256"/>
                  </a:cubicBezTo>
                  <a:cubicBezTo>
                    <a:pt x="446" y="244"/>
                    <a:pt x="446" y="244"/>
                    <a:pt x="446" y="244"/>
                  </a:cubicBezTo>
                  <a:cubicBezTo>
                    <a:pt x="448" y="242"/>
                    <a:pt x="449" y="239"/>
                    <a:pt x="449" y="235"/>
                  </a:cubicBezTo>
                  <a:cubicBezTo>
                    <a:pt x="449" y="231"/>
                    <a:pt x="446" y="226"/>
                    <a:pt x="441" y="225"/>
                  </a:cubicBezTo>
                  <a:cubicBezTo>
                    <a:pt x="435" y="221"/>
                    <a:pt x="435" y="221"/>
                    <a:pt x="435" y="221"/>
                  </a:cubicBezTo>
                  <a:cubicBezTo>
                    <a:pt x="446" y="208"/>
                    <a:pt x="446" y="208"/>
                    <a:pt x="446" y="208"/>
                  </a:cubicBezTo>
                  <a:cubicBezTo>
                    <a:pt x="448" y="206"/>
                    <a:pt x="449" y="203"/>
                    <a:pt x="449" y="200"/>
                  </a:cubicBezTo>
                  <a:cubicBezTo>
                    <a:pt x="449" y="195"/>
                    <a:pt x="446" y="191"/>
                    <a:pt x="441" y="189"/>
                  </a:cubicBezTo>
                  <a:cubicBezTo>
                    <a:pt x="435" y="186"/>
                    <a:pt x="435" y="186"/>
                    <a:pt x="435" y="186"/>
                  </a:cubicBezTo>
                  <a:cubicBezTo>
                    <a:pt x="446" y="173"/>
                    <a:pt x="446" y="173"/>
                    <a:pt x="446" y="173"/>
                  </a:cubicBezTo>
                  <a:cubicBezTo>
                    <a:pt x="448" y="171"/>
                    <a:pt x="449" y="168"/>
                    <a:pt x="449" y="165"/>
                  </a:cubicBezTo>
                  <a:cubicBezTo>
                    <a:pt x="449" y="160"/>
                    <a:pt x="446" y="156"/>
                    <a:pt x="441" y="154"/>
                  </a:cubicBezTo>
                  <a:cubicBezTo>
                    <a:pt x="435" y="151"/>
                    <a:pt x="435" y="151"/>
                    <a:pt x="435" y="151"/>
                  </a:cubicBezTo>
                  <a:cubicBezTo>
                    <a:pt x="446" y="138"/>
                    <a:pt x="446" y="138"/>
                    <a:pt x="446" y="138"/>
                  </a:cubicBezTo>
                  <a:cubicBezTo>
                    <a:pt x="448" y="136"/>
                    <a:pt x="449" y="133"/>
                    <a:pt x="449" y="130"/>
                  </a:cubicBezTo>
                  <a:cubicBezTo>
                    <a:pt x="449" y="125"/>
                    <a:pt x="445" y="120"/>
                    <a:pt x="441" y="119"/>
                  </a:cubicBezTo>
                  <a:cubicBezTo>
                    <a:pt x="340" y="80"/>
                    <a:pt x="340" y="80"/>
                    <a:pt x="340" y="80"/>
                  </a:cubicBezTo>
                  <a:cubicBezTo>
                    <a:pt x="338" y="80"/>
                    <a:pt x="336" y="79"/>
                    <a:pt x="334" y="79"/>
                  </a:cubicBezTo>
                  <a:cubicBezTo>
                    <a:pt x="330" y="80"/>
                    <a:pt x="325" y="81"/>
                    <a:pt x="322" y="85"/>
                  </a:cubicBezTo>
                  <a:cubicBezTo>
                    <a:pt x="290" y="122"/>
                    <a:pt x="290" y="122"/>
                    <a:pt x="290" y="122"/>
                  </a:cubicBezTo>
                  <a:cubicBezTo>
                    <a:pt x="288" y="124"/>
                    <a:pt x="287" y="127"/>
                    <a:pt x="287" y="130"/>
                  </a:cubicBezTo>
                  <a:cubicBezTo>
                    <a:pt x="287" y="135"/>
                    <a:pt x="291" y="140"/>
                    <a:pt x="295" y="141"/>
                  </a:cubicBezTo>
                  <a:cubicBezTo>
                    <a:pt x="303" y="144"/>
                    <a:pt x="303" y="144"/>
                    <a:pt x="303" y="144"/>
                  </a:cubicBezTo>
                  <a:cubicBezTo>
                    <a:pt x="290" y="157"/>
                    <a:pt x="290" y="157"/>
                    <a:pt x="290" y="157"/>
                  </a:cubicBezTo>
                  <a:cubicBezTo>
                    <a:pt x="290" y="157"/>
                    <a:pt x="290" y="157"/>
                    <a:pt x="290" y="157"/>
                  </a:cubicBezTo>
                  <a:cubicBezTo>
                    <a:pt x="288" y="159"/>
                    <a:pt x="287" y="162"/>
                    <a:pt x="287" y="165"/>
                  </a:cubicBezTo>
                  <a:cubicBezTo>
                    <a:pt x="287" y="170"/>
                    <a:pt x="291" y="175"/>
                    <a:pt x="295" y="176"/>
                  </a:cubicBezTo>
                  <a:cubicBezTo>
                    <a:pt x="303" y="179"/>
                    <a:pt x="303" y="179"/>
                    <a:pt x="303" y="179"/>
                  </a:cubicBezTo>
                  <a:cubicBezTo>
                    <a:pt x="290" y="192"/>
                    <a:pt x="290" y="192"/>
                    <a:pt x="290" y="192"/>
                  </a:cubicBezTo>
                  <a:cubicBezTo>
                    <a:pt x="290" y="192"/>
                    <a:pt x="290" y="192"/>
                    <a:pt x="290" y="192"/>
                  </a:cubicBezTo>
                  <a:cubicBezTo>
                    <a:pt x="288" y="195"/>
                    <a:pt x="287" y="197"/>
                    <a:pt x="287" y="201"/>
                  </a:cubicBezTo>
                  <a:cubicBezTo>
                    <a:pt x="287" y="206"/>
                    <a:pt x="291" y="210"/>
                    <a:pt x="295" y="212"/>
                  </a:cubicBezTo>
                  <a:cubicBezTo>
                    <a:pt x="303" y="215"/>
                    <a:pt x="303" y="215"/>
                    <a:pt x="303" y="215"/>
                  </a:cubicBezTo>
                  <a:cubicBezTo>
                    <a:pt x="290" y="227"/>
                    <a:pt x="290" y="227"/>
                    <a:pt x="290" y="227"/>
                  </a:cubicBezTo>
                  <a:cubicBezTo>
                    <a:pt x="290" y="228"/>
                    <a:pt x="290" y="228"/>
                    <a:pt x="290" y="228"/>
                  </a:cubicBezTo>
                  <a:cubicBezTo>
                    <a:pt x="288" y="230"/>
                    <a:pt x="287" y="233"/>
                    <a:pt x="287" y="236"/>
                  </a:cubicBezTo>
                  <a:cubicBezTo>
                    <a:pt x="287" y="241"/>
                    <a:pt x="291" y="246"/>
                    <a:pt x="295" y="247"/>
                  </a:cubicBezTo>
                  <a:cubicBezTo>
                    <a:pt x="303" y="250"/>
                    <a:pt x="303" y="250"/>
                    <a:pt x="303" y="250"/>
                  </a:cubicBezTo>
                  <a:cubicBezTo>
                    <a:pt x="290" y="263"/>
                    <a:pt x="290" y="263"/>
                    <a:pt x="290" y="263"/>
                  </a:cubicBezTo>
                  <a:cubicBezTo>
                    <a:pt x="290" y="263"/>
                    <a:pt x="290" y="263"/>
                    <a:pt x="290" y="263"/>
                  </a:cubicBezTo>
                  <a:cubicBezTo>
                    <a:pt x="288" y="265"/>
                    <a:pt x="287" y="268"/>
                    <a:pt x="287" y="271"/>
                  </a:cubicBezTo>
                  <a:cubicBezTo>
                    <a:pt x="287" y="276"/>
                    <a:pt x="291" y="281"/>
                    <a:pt x="295" y="282"/>
                  </a:cubicBezTo>
                  <a:cubicBezTo>
                    <a:pt x="303" y="285"/>
                    <a:pt x="303" y="285"/>
                    <a:pt x="303" y="285"/>
                  </a:cubicBezTo>
                  <a:cubicBezTo>
                    <a:pt x="290" y="298"/>
                    <a:pt x="290" y="298"/>
                    <a:pt x="290" y="298"/>
                  </a:cubicBezTo>
                  <a:cubicBezTo>
                    <a:pt x="290" y="298"/>
                    <a:pt x="290" y="298"/>
                    <a:pt x="290" y="298"/>
                  </a:cubicBezTo>
                  <a:cubicBezTo>
                    <a:pt x="288" y="300"/>
                    <a:pt x="287" y="303"/>
                    <a:pt x="287" y="306"/>
                  </a:cubicBezTo>
                  <a:cubicBezTo>
                    <a:pt x="287" y="311"/>
                    <a:pt x="291" y="316"/>
                    <a:pt x="295" y="317"/>
                  </a:cubicBezTo>
                  <a:cubicBezTo>
                    <a:pt x="396" y="356"/>
                    <a:pt x="396" y="356"/>
                    <a:pt x="396" y="356"/>
                  </a:cubicBezTo>
                  <a:cubicBezTo>
                    <a:pt x="398" y="356"/>
                    <a:pt x="400" y="357"/>
                    <a:pt x="401" y="357"/>
                  </a:cubicBezTo>
                  <a:cubicBezTo>
                    <a:pt x="406" y="357"/>
                    <a:pt x="411" y="355"/>
                    <a:pt x="414" y="351"/>
                  </a:cubicBezTo>
                  <a:lnTo>
                    <a:pt x="446" y="314"/>
                  </a:lnTo>
                  <a:close/>
                  <a:moveTo>
                    <a:pt x="402" y="235"/>
                  </a:moveTo>
                  <a:cubicBezTo>
                    <a:pt x="402" y="235"/>
                    <a:pt x="402" y="235"/>
                    <a:pt x="402" y="235"/>
                  </a:cubicBezTo>
                  <a:cubicBezTo>
                    <a:pt x="306" y="199"/>
                    <a:pt x="306" y="199"/>
                    <a:pt x="306" y="199"/>
                  </a:cubicBezTo>
                  <a:cubicBezTo>
                    <a:pt x="319" y="186"/>
                    <a:pt x="319" y="186"/>
                    <a:pt x="319" y="186"/>
                  </a:cubicBezTo>
                  <a:cubicBezTo>
                    <a:pt x="396" y="215"/>
                    <a:pt x="396" y="215"/>
                    <a:pt x="396" y="215"/>
                  </a:cubicBezTo>
                  <a:cubicBezTo>
                    <a:pt x="398" y="215"/>
                    <a:pt x="400" y="216"/>
                    <a:pt x="401" y="216"/>
                  </a:cubicBezTo>
                  <a:cubicBezTo>
                    <a:pt x="406" y="216"/>
                    <a:pt x="411" y="214"/>
                    <a:pt x="414" y="210"/>
                  </a:cubicBezTo>
                  <a:cubicBezTo>
                    <a:pt x="424" y="198"/>
                    <a:pt x="424" y="198"/>
                    <a:pt x="424" y="198"/>
                  </a:cubicBezTo>
                  <a:cubicBezTo>
                    <a:pt x="430" y="202"/>
                    <a:pt x="430" y="202"/>
                    <a:pt x="430" y="202"/>
                  </a:cubicBezTo>
                  <a:lnTo>
                    <a:pt x="402" y="235"/>
                  </a:lnTo>
                  <a:close/>
                  <a:moveTo>
                    <a:pt x="430" y="237"/>
                  </a:moveTo>
                  <a:cubicBezTo>
                    <a:pt x="402" y="270"/>
                    <a:pt x="402" y="270"/>
                    <a:pt x="402" y="270"/>
                  </a:cubicBezTo>
                  <a:cubicBezTo>
                    <a:pt x="402" y="270"/>
                    <a:pt x="402" y="270"/>
                    <a:pt x="402" y="270"/>
                  </a:cubicBezTo>
                  <a:cubicBezTo>
                    <a:pt x="306" y="234"/>
                    <a:pt x="306" y="234"/>
                    <a:pt x="306" y="234"/>
                  </a:cubicBezTo>
                  <a:cubicBezTo>
                    <a:pt x="319" y="221"/>
                    <a:pt x="319" y="221"/>
                    <a:pt x="319" y="221"/>
                  </a:cubicBezTo>
                  <a:cubicBezTo>
                    <a:pt x="396" y="250"/>
                    <a:pt x="396" y="250"/>
                    <a:pt x="396" y="250"/>
                  </a:cubicBezTo>
                  <a:cubicBezTo>
                    <a:pt x="398" y="251"/>
                    <a:pt x="400" y="251"/>
                    <a:pt x="401" y="251"/>
                  </a:cubicBezTo>
                  <a:cubicBezTo>
                    <a:pt x="406" y="251"/>
                    <a:pt x="411" y="249"/>
                    <a:pt x="414" y="245"/>
                  </a:cubicBezTo>
                  <a:cubicBezTo>
                    <a:pt x="424" y="234"/>
                    <a:pt x="424" y="234"/>
                    <a:pt x="424" y="234"/>
                  </a:cubicBezTo>
                  <a:lnTo>
                    <a:pt x="430" y="237"/>
                  </a:lnTo>
                  <a:close/>
                  <a:moveTo>
                    <a:pt x="402" y="199"/>
                  </a:moveTo>
                  <a:cubicBezTo>
                    <a:pt x="402" y="199"/>
                    <a:pt x="402" y="200"/>
                    <a:pt x="402" y="200"/>
                  </a:cubicBezTo>
                  <a:cubicBezTo>
                    <a:pt x="306" y="164"/>
                    <a:pt x="306" y="164"/>
                    <a:pt x="306" y="164"/>
                  </a:cubicBezTo>
                  <a:cubicBezTo>
                    <a:pt x="319" y="150"/>
                    <a:pt x="319" y="150"/>
                    <a:pt x="319" y="150"/>
                  </a:cubicBezTo>
                  <a:cubicBezTo>
                    <a:pt x="396" y="179"/>
                    <a:pt x="396" y="179"/>
                    <a:pt x="396" y="179"/>
                  </a:cubicBezTo>
                  <a:cubicBezTo>
                    <a:pt x="398" y="180"/>
                    <a:pt x="400" y="180"/>
                    <a:pt x="401" y="180"/>
                  </a:cubicBezTo>
                  <a:cubicBezTo>
                    <a:pt x="406" y="180"/>
                    <a:pt x="411" y="179"/>
                    <a:pt x="414" y="175"/>
                  </a:cubicBezTo>
                  <a:cubicBezTo>
                    <a:pt x="408" y="169"/>
                    <a:pt x="408" y="169"/>
                    <a:pt x="408" y="169"/>
                  </a:cubicBezTo>
                  <a:cubicBezTo>
                    <a:pt x="414" y="175"/>
                    <a:pt x="414" y="175"/>
                    <a:pt x="414" y="175"/>
                  </a:cubicBezTo>
                  <a:cubicBezTo>
                    <a:pt x="424" y="163"/>
                    <a:pt x="424" y="163"/>
                    <a:pt x="424" y="163"/>
                  </a:cubicBezTo>
                  <a:cubicBezTo>
                    <a:pt x="430" y="166"/>
                    <a:pt x="430" y="166"/>
                    <a:pt x="430" y="166"/>
                  </a:cubicBezTo>
                  <a:lnTo>
                    <a:pt x="402" y="199"/>
                  </a:lnTo>
                  <a:close/>
                  <a:moveTo>
                    <a:pt x="334" y="96"/>
                  </a:moveTo>
                  <a:cubicBezTo>
                    <a:pt x="334" y="96"/>
                    <a:pt x="334" y="96"/>
                    <a:pt x="334" y="95"/>
                  </a:cubicBezTo>
                  <a:cubicBezTo>
                    <a:pt x="430" y="132"/>
                    <a:pt x="430" y="132"/>
                    <a:pt x="430" y="132"/>
                  </a:cubicBezTo>
                  <a:cubicBezTo>
                    <a:pt x="402" y="164"/>
                    <a:pt x="402" y="164"/>
                    <a:pt x="402" y="164"/>
                  </a:cubicBezTo>
                  <a:cubicBezTo>
                    <a:pt x="402" y="164"/>
                    <a:pt x="402" y="164"/>
                    <a:pt x="402" y="164"/>
                  </a:cubicBezTo>
                  <a:cubicBezTo>
                    <a:pt x="306" y="128"/>
                    <a:pt x="306" y="128"/>
                    <a:pt x="306" y="128"/>
                  </a:cubicBezTo>
                  <a:lnTo>
                    <a:pt x="334" y="96"/>
                  </a:lnTo>
                  <a:close/>
                  <a:moveTo>
                    <a:pt x="319" y="256"/>
                  </a:moveTo>
                  <a:cubicBezTo>
                    <a:pt x="396" y="285"/>
                    <a:pt x="396" y="285"/>
                    <a:pt x="396" y="285"/>
                  </a:cubicBezTo>
                  <a:cubicBezTo>
                    <a:pt x="398" y="286"/>
                    <a:pt x="400" y="286"/>
                    <a:pt x="401" y="286"/>
                  </a:cubicBezTo>
                  <a:cubicBezTo>
                    <a:pt x="406" y="286"/>
                    <a:pt x="411" y="284"/>
                    <a:pt x="414" y="280"/>
                  </a:cubicBezTo>
                  <a:cubicBezTo>
                    <a:pt x="424" y="269"/>
                    <a:pt x="424" y="269"/>
                    <a:pt x="424" y="269"/>
                  </a:cubicBezTo>
                  <a:cubicBezTo>
                    <a:pt x="430" y="272"/>
                    <a:pt x="430" y="272"/>
                    <a:pt x="430" y="272"/>
                  </a:cubicBezTo>
                  <a:cubicBezTo>
                    <a:pt x="402" y="305"/>
                    <a:pt x="402" y="305"/>
                    <a:pt x="402" y="305"/>
                  </a:cubicBezTo>
                  <a:cubicBezTo>
                    <a:pt x="402" y="305"/>
                    <a:pt x="402" y="305"/>
                    <a:pt x="402" y="305"/>
                  </a:cubicBezTo>
                  <a:cubicBezTo>
                    <a:pt x="306" y="269"/>
                    <a:pt x="306" y="269"/>
                    <a:pt x="306" y="269"/>
                  </a:cubicBezTo>
                  <a:lnTo>
                    <a:pt x="319" y="256"/>
                  </a:lnTo>
                  <a:close/>
                  <a:moveTo>
                    <a:pt x="402" y="341"/>
                  </a:moveTo>
                  <a:cubicBezTo>
                    <a:pt x="306" y="305"/>
                    <a:pt x="306" y="305"/>
                    <a:pt x="306" y="305"/>
                  </a:cubicBezTo>
                  <a:cubicBezTo>
                    <a:pt x="319" y="291"/>
                    <a:pt x="319" y="291"/>
                    <a:pt x="319" y="291"/>
                  </a:cubicBezTo>
                  <a:cubicBezTo>
                    <a:pt x="396" y="320"/>
                    <a:pt x="396" y="320"/>
                    <a:pt x="396" y="320"/>
                  </a:cubicBezTo>
                  <a:cubicBezTo>
                    <a:pt x="398" y="321"/>
                    <a:pt x="400" y="321"/>
                    <a:pt x="401" y="321"/>
                  </a:cubicBezTo>
                  <a:cubicBezTo>
                    <a:pt x="406" y="321"/>
                    <a:pt x="411" y="320"/>
                    <a:pt x="414" y="316"/>
                  </a:cubicBezTo>
                  <a:cubicBezTo>
                    <a:pt x="424" y="304"/>
                    <a:pt x="424" y="304"/>
                    <a:pt x="424" y="304"/>
                  </a:cubicBezTo>
                  <a:cubicBezTo>
                    <a:pt x="430" y="307"/>
                    <a:pt x="430" y="307"/>
                    <a:pt x="430" y="307"/>
                  </a:cubicBezTo>
                  <a:cubicBezTo>
                    <a:pt x="402" y="340"/>
                    <a:pt x="402" y="340"/>
                    <a:pt x="402" y="340"/>
                  </a:cubicBezTo>
                  <a:cubicBezTo>
                    <a:pt x="402" y="340"/>
                    <a:pt x="402" y="341"/>
                    <a:pt x="402" y="341"/>
                  </a:cubicBezTo>
                  <a:close/>
                  <a:moveTo>
                    <a:pt x="101" y="111"/>
                  </a:moveTo>
                  <a:cubicBezTo>
                    <a:pt x="101" y="111"/>
                    <a:pt x="102" y="111"/>
                    <a:pt x="103" y="111"/>
                  </a:cubicBezTo>
                  <a:cubicBezTo>
                    <a:pt x="414" y="37"/>
                    <a:pt x="414" y="37"/>
                    <a:pt x="414" y="37"/>
                  </a:cubicBezTo>
                  <a:cubicBezTo>
                    <a:pt x="416" y="46"/>
                    <a:pt x="416" y="46"/>
                    <a:pt x="416" y="46"/>
                  </a:cubicBezTo>
                  <a:cubicBezTo>
                    <a:pt x="417" y="48"/>
                    <a:pt x="419" y="51"/>
                    <a:pt x="421" y="51"/>
                  </a:cubicBezTo>
                  <a:cubicBezTo>
                    <a:pt x="422" y="52"/>
                    <a:pt x="423" y="52"/>
                    <a:pt x="424" y="52"/>
                  </a:cubicBezTo>
                  <a:cubicBezTo>
                    <a:pt x="426" y="52"/>
                    <a:pt x="427" y="52"/>
                    <a:pt x="428" y="51"/>
                  </a:cubicBezTo>
                  <a:cubicBezTo>
                    <a:pt x="472" y="22"/>
                    <a:pt x="472" y="22"/>
                    <a:pt x="472" y="22"/>
                  </a:cubicBezTo>
                  <a:cubicBezTo>
                    <a:pt x="475" y="20"/>
                    <a:pt x="477" y="17"/>
                    <a:pt x="476" y="14"/>
                  </a:cubicBezTo>
                  <a:cubicBezTo>
                    <a:pt x="475" y="10"/>
                    <a:pt x="472" y="8"/>
                    <a:pt x="469" y="7"/>
                  </a:cubicBezTo>
                  <a:cubicBezTo>
                    <a:pt x="417" y="2"/>
                    <a:pt x="417" y="2"/>
                    <a:pt x="417" y="2"/>
                  </a:cubicBezTo>
                  <a:cubicBezTo>
                    <a:pt x="414" y="2"/>
                    <a:pt x="412" y="3"/>
                    <a:pt x="410" y="5"/>
                  </a:cubicBezTo>
                  <a:cubicBezTo>
                    <a:pt x="408" y="7"/>
                    <a:pt x="408" y="10"/>
                    <a:pt x="408" y="12"/>
                  </a:cubicBezTo>
                  <a:cubicBezTo>
                    <a:pt x="410" y="21"/>
                    <a:pt x="410" y="21"/>
                    <a:pt x="410" y="21"/>
                  </a:cubicBezTo>
                  <a:cubicBezTo>
                    <a:pt x="99" y="95"/>
                    <a:pt x="99" y="95"/>
                    <a:pt x="99" y="95"/>
                  </a:cubicBezTo>
                  <a:cubicBezTo>
                    <a:pt x="95" y="96"/>
                    <a:pt x="92" y="101"/>
                    <a:pt x="93" y="105"/>
                  </a:cubicBezTo>
                  <a:cubicBezTo>
                    <a:pt x="94" y="109"/>
                    <a:pt x="97" y="111"/>
                    <a:pt x="101" y="111"/>
                  </a:cubicBezTo>
                  <a:close/>
                  <a:moveTo>
                    <a:pt x="379" y="125"/>
                  </a:moveTo>
                  <a:cubicBezTo>
                    <a:pt x="379" y="125"/>
                    <a:pt x="379" y="124"/>
                    <a:pt x="377" y="123"/>
                  </a:cubicBezTo>
                  <a:cubicBezTo>
                    <a:pt x="378" y="122"/>
                    <a:pt x="378" y="120"/>
                    <a:pt x="377" y="119"/>
                  </a:cubicBezTo>
                  <a:cubicBezTo>
                    <a:pt x="376" y="118"/>
                    <a:pt x="375" y="118"/>
                    <a:pt x="374" y="119"/>
                  </a:cubicBezTo>
                  <a:cubicBezTo>
                    <a:pt x="373" y="120"/>
                    <a:pt x="373" y="120"/>
                    <a:pt x="373" y="120"/>
                  </a:cubicBezTo>
                  <a:cubicBezTo>
                    <a:pt x="372" y="120"/>
                    <a:pt x="371" y="120"/>
                    <a:pt x="370" y="120"/>
                  </a:cubicBezTo>
                  <a:cubicBezTo>
                    <a:pt x="369" y="120"/>
                    <a:pt x="366" y="121"/>
                    <a:pt x="364" y="123"/>
                  </a:cubicBezTo>
                  <a:cubicBezTo>
                    <a:pt x="363" y="124"/>
                    <a:pt x="363" y="125"/>
                    <a:pt x="363" y="126"/>
                  </a:cubicBezTo>
                  <a:cubicBezTo>
                    <a:pt x="363" y="128"/>
                    <a:pt x="364" y="130"/>
                    <a:pt x="365" y="130"/>
                  </a:cubicBezTo>
                  <a:cubicBezTo>
                    <a:pt x="366" y="131"/>
                    <a:pt x="366" y="132"/>
                    <a:pt x="367" y="132"/>
                  </a:cubicBezTo>
                  <a:cubicBezTo>
                    <a:pt x="367" y="132"/>
                    <a:pt x="368" y="133"/>
                    <a:pt x="368" y="133"/>
                  </a:cubicBezTo>
                  <a:cubicBezTo>
                    <a:pt x="369" y="133"/>
                    <a:pt x="369" y="133"/>
                    <a:pt x="369" y="133"/>
                  </a:cubicBezTo>
                  <a:cubicBezTo>
                    <a:pt x="369" y="133"/>
                    <a:pt x="369" y="133"/>
                    <a:pt x="369" y="133"/>
                  </a:cubicBezTo>
                  <a:cubicBezTo>
                    <a:pt x="369" y="133"/>
                    <a:pt x="369" y="133"/>
                    <a:pt x="369" y="133"/>
                  </a:cubicBezTo>
                  <a:cubicBezTo>
                    <a:pt x="369" y="133"/>
                    <a:pt x="369" y="134"/>
                    <a:pt x="368" y="134"/>
                  </a:cubicBezTo>
                  <a:cubicBezTo>
                    <a:pt x="368" y="135"/>
                    <a:pt x="367" y="135"/>
                    <a:pt x="366" y="135"/>
                  </a:cubicBezTo>
                  <a:cubicBezTo>
                    <a:pt x="365" y="135"/>
                    <a:pt x="364" y="135"/>
                    <a:pt x="364" y="135"/>
                  </a:cubicBezTo>
                  <a:cubicBezTo>
                    <a:pt x="363" y="135"/>
                    <a:pt x="363" y="135"/>
                    <a:pt x="363" y="134"/>
                  </a:cubicBezTo>
                  <a:cubicBezTo>
                    <a:pt x="363" y="134"/>
                    <a:pt x="363" y="134"/>
                    <a:pt x="363" y="134"/>
                  </a:cubicBezTo>
                  <a:cubicBezTo>
                    <a:pt x="363" y="134"/>
                    <a:pt x="363" y="134"/>
                    <a:pt x="363" y="134"/>
                  </a:cubicBezTo>
                  <a:cubicBezTo>
                    <a:pt x="362" y="134"/>
                    <a:pt x="362" y="134"/>
                    <a:pt x="361" y="133"/>
                  </a:cubicBezTo>
                  <a:cubicBezTo>
                    <a:pt x="361" y="133"/>
                    <a:pt x="361" y="132"/>
                    <a:pt x="361" y="132"/>
                  </a:cubicBezTo>
                  <a:cubicBezTo>
                    <a:pt x="361" y="132"/>
                    <a:pt x="361" y="132"/>
                    <a:pt x="361" y="132"/>
                  </a:cubicBezTo>
                  <a:cubicBezTo>
                    <a:pt x="360" y="131"/>
                    <a:pt x="359" y="130"/>
                    <a:pt x="357" y="131"/>
                  </a:cubicBezTo>
                  <a:cubicBezTo>
                    <a:pt x="356" y="131"/>
                    <a:pt x="356" y="133"/>
                    <a:pt x="356" y="134"/>
                  </a:cubicBezTo>
                  <a:cubicBezTo>
                    <a:pt x="356" y="134"/>
                    <a:pt x="357" y="136"/>
                    <a:pt x="358" y="137"/>
                  </a:cubicBezTo>
                  <a:cubicBezTo>
                    <a:pt x="358" y="137"/>
                    <a:pt x="358" y="137"/>
                    <a:pt x="358" y="137"/>
                  </a:cubicBezTo>
                  <a:cubicBezTo>
                    <a:pt x="357" y="138"/>
                    <a:pt x="358" y="140"/>
                    <a:pt x="359" y="141"/>
                  </a:cubicBezTo>
                  <a:cubicBezTo>
                    <a:pt x="359" y="141"/>
                    <a:pt x="360" y="141"/>
                    <a:pt x="360" y="141"/>
                  </a:cubicBezTo>
                  <a:cubicBezTo>
                    <a:pt x="361" y="141"/>
                    <a:pt x="362" y="141"/>
                    <a:pt x="362" y="141"/>
                  </a:cubicBezTo>
                  <a:cubicBezTo>
                    <a:pt x="363" y="139"/>
                    <a:pt x="363" y="139"/>
                    <a:pt x="363" y="139"/>
                  </a:cubicBezTo>
                  <a:cubicBezTo>
                    <a:pt x="364" y="140"/>
                    <a:pt x="365" y="140"/>
                    <a:pt x="366" y="140"/>
                  </a:cubicBezTo>
                  <a:cubicBezTo>
                    <a:pt x="366" y="140"/>
                    <a:pt x="366" y="140"/>
                    <a:pt x="366" y="140"/>
                  </a:cubicBezTo>
                  <a:cubicBezTo>
                    <a:pt x="368" y="140"/>
                    <a:pt x="370" y="139"/>
                    <a:pt x="372" y="137"/>
                  </a:cubicBezTo>
                  <a:cubicBezTo>
                    <a:pt x="373" y="136"/>
                    <a:pt x="373" y="136"/>
                    <a:pt x="373" y="135"/>
                  </a:cubicBezTo>
                  <a:cubicBezTo>
                    <a:pt x="373" y="134"/>
                    <a:pt x="374" y="134"/>
                    <a:pt x="374" y="133"/>
                  </a:cubicBezTo>
                  <a:cubicBezTo>
                    <a:pt x="374" y="132"/>
                    <a:pt x="373" y="130"/>
                    <a:pt x="372" y="129"/>
                  </a:cubicBezTo>
                  <a:cubicBezTo>
                    <a:pt x="371" y="129"/>
                    <a:pt x="370" y="128"/>
                    <a:pt x="370" y="128"/>
                  </a:cubicBezTo>
                  <a:cubicBezTo>
                    <a:pt x="369" y="127"/>
                    <a:pt x="368" y="127"/>
                    <a:pt x="368" y="127"/>
                  </a:cubicBezTo>
                  <a:cubicBezTo>
                    <a:pt x="368" y="127"/>
                    <a:pt x="368" y="126"/>
                    <a:pt x="368" y="126"/>
                  </a:cubicBezTo>
                  <a:cubicBezTo>
                    <a:pt x="368" y="126"/>
                    <a:pt x="368" y="126"/>
                    <a:pt x="368" y="126"/>
                  </a:cubicBezTo>
                  <a:cubicBezTo>
                    <a:pt x="368" y="125"/>
                    <a:pt x="369" y="125"/>
                    <a:pt x="370" y="125"/>
                  </a:cubicBezTo>
                  <a:cubicBezTo>
                    <a:pt x="371" y="125"/>
                    <a:pt x="372" y="125"/>
                    <a:pt x="372" y="125"/>
                  </a:cubicBezTo>
                  <a:cubicBezTo>
                    <a:pt x="372" y="125"/>
                    <a:pt x="372" y="125"/>
                    <a:pt x="373" y="125"/>
                  </a:cubicBezTo>
                  <a:cubicBezTo>
                    <a:pt x="373" y="125"/>
                    <a:pt x="373" y="125"/>
                    <a:pt x="373" y="125"/>
                  </a:cubicBezTo>
                  <a:cubicBezTo>
                    <a:pt x="373" y="125"/>
                    <a:pt x="373" y="125"/>
                    <a:pt x="373" y="125"/>
                  </a:cubicBezTo>
                  <a:cubicBezTo>
                    <a:pt x="374" y="126"/>
                    <a:pt x="374" y="126"/>
                    <a:pt x="375" y="126"/>
                  </a:cubicBezTo>
                  <a:cubicBezTo>
                    <a:pt x="375" y="127"/>
                    <a:pt x="375" y="127"/>
                    <a:pt x="375" y="127"/>
                  </a:cubicBezTo>
                  <a:cubicBezTo>
                    <a:pt x="375" y="128"/>
                    <a:pt x="376" y="128"/>
                    <a:pt x="378" y="128"/>
                  </a:cubicBezTo>
                  <a:cubicBezTo>
                    <a:pt x="379" y="128"/>
                    <a:pt x="380" y="126"/>
                    <a:pt x="379" y="125"/>
                  </a:cubicBezTo>
                  <a:close/>
                  <a:moveTo>
                    <a:pt x="185" y="196"/>
                  </a:moveTo>
                  <a:cubicBezTo>
                    <a:pt x="185" y="195"/>
                    <a:pt x="184" y="194"/>
                    <a:pt x="183" y="193"/>
                  </a:cubicBezTo>
                  <a:cubicBezTo>
                    <a:pt x="184" y="192"/>
                    <a:pt x="184" y="191"/>
                    <a:pt x="183" y="190"/>
                  </a:cubicBezTo>
                  <a:cubicBezTo>
                    <a:pt x="182" y="189"/>
                    <a:pt x="180" y="189"/>
                    <a:pt x="179" y="190"/>
                  </a:cubicBezTo>
                  <a:cubicBezTo>
                    <a:pt x="179" y="191"/>
                    <a:pt x="179" y="191"/>
                    <a:pt x="179" y="191"/>
                  </a:cubicBezTo>
                  <a:cubicBezTo>
                    <a:pt x="178" y="191"/>
                    <a:pt x="177" y="191"/>
                    <a:pt x="176" y="191"/>
                  </a:cubicBezTo>
                  <a:cubicBezTo>
                    <a:pt x="174" y="191"/>
                    <a:pt x="172" y="191"/>
                    <a:pt x="170" y="193"/>
                  </a:cubicBezTo>
                  <a:cubicBezTo>
                    <a:pt x="169" y="194"/>
                    <a:pt x="168" y="196"/>
                    <a:pt x="168" y="197"/>
                  </a:cubicBezTo>
                  <a:cubicBezTo>
                    <a:pt x="168" y="199"/>
                    <a:pt x="170" y="200"/>
                    <a:pt x="170" y="201"/>
                  </a:cubicBezTo>
                  <a:cubicBezTo>
                    <a:pt x="171" y="202"/>
                    <a:pt x="172" y="202"/>
                    <a:pt x="173" y="202"/>
                  </a:cubicBezTo>
                  <a:cubicBezTo>
                    <a:pt x="173" y="203"/>
                    <a:pt x="174" y="203"/>
                    <a:pt x="174" y="203"/>
                  </a:cubicBezTo>
                  <a:cubicBezTo>
                    <a:pt x="174" y="204"/>
                    <a:pt x="174" y="204"/>
                    <a:pt x="174" y="204"/>
                  </a:cubicBezTo>
                  <a:cubicBezTo>
                    <a:pt x="174" y="204"/>
                    <a:pt x="174" y="204"/>
                    <a:pt x="174" y="204"/>
                  </a:cubicBezTo>
                  <a:cubicBezTo>
                    <a:pt x="174" y="204"/>
                    <a:pt x="174" y="204"/>
                    <a:pt x="174" y="204"/>
                  </a:cubicBezTo>
                  <a:cubicBezTo>
                    <a:pt x="174" y="204"/>
                    <a:pt x="174" y="204"/>
                    <a:pt x="174" y="204"/>
                  </a:cubicBezTo>
                  <a:cubicBezTo>
                    <a:pt x="173" y="205"/>
                    <a:pt x="173" y="205"/>
                    <a:pt x="171" y="205"/>
                  </a:cubicBezTo>
                  <a:cubicBezTo>
                    <a:pt x="171" y="205"/>
                    <a:pt x="170" y="205"/>
                    <a:pt x="170" y="205"/>
                  </a:cubicBezTo>
                  <a:cubicBezTo>
                    <a:pt x="169" y="205"/>
                    <a:pt x="169" y="205"/>
                    <a:pt x="169" y="205"/>
                  </a:cubicBezTo>
                  <a:cubicBezTo>
                    <a:pt x="169" y="205"/>
                    <a:pt x="169" y="205"/>
                    <a:pt x="169" y="205"/>
                  </a:cubicBezTo>
                  <a:cubicBezTo>
                    <a:pt x="169" y="205"/>
                    <a:pt x="169" y="205"/>
                    <a:pt x="169" y="205"/>
                  </a:cubicBezTo>
                  <a:cubicBezTo>
                    <a:pt x="168" y="205"/>
                    <a:pt x="167" y="204"/>
                    <a:pt x="167" y="203"/>
                  </a:cubicBezTo>
                  <a:cubicBezTo>
                    <a:pt x="167" y="203"/>
                    <a:pt x="167" y="203"/>
                    <a:pt x="166" y="203"/>
                  </a:cubicBezTo>
                  <a:cubicBezTo>
                    <a:pt x="166" y="203"/>
                    <a:pt x="166" y="203"/>
                    <a:pt x="166" y="203"/>
                  </a:cubicBezTo>
                  <a:cubicBezTo>
                    <a:pt x="166" y="201"/>
                    <a:pt x="164" y="201"/>
                    <a:pt x="163" y="201"/>
                  </a:cubicBezTo>
                  <a:cubicBezTo>
                    <a:pt x="162" y="202"/>
                    <a:pt x="161" y="203"/>
                    <a:pt x="162" y="204"/>
                  </a:cubicBezTo>
                  <a:cubicBezTo>
                    <a:pt x="162" y="204"/>
                    <a:pt x="162" y="206"/>
                    <a:pt x="164" y="208"/>
                  </a:cubicBezTo>
                  <a:cubicBezTo>
                    <a:pt x="164" y="208"/>
                    <a:pt x="164" y="208"/>
                    <a:pt x="164" y="208"/>
                  </a:cubicBezTo>
                  <a:cubicBezTo>
                    <a:pt x="163" y="209"/>
                    <a:pt x="163" y="210"/>
                    <a:pt x="164" y="211"/>
                  </a:cubicBezTo>
                  <a:cubicBezTo>
                    <a:pt x="165" y="212"/>
                    <a:pt x="165" y="212"/>
                    <a:pt x="166" y="212"/>
                  </a:cubicBezTo>
                  <a:cubicBezTo>
                    <a:pt x="167" y="212"/>
                    <a:pt x="167" y="212"/>
                    <a:pt x="168" y="211"/>
                  </a:cubicBezTo>
                  <a:cubicBezTo>
                    <a:pt x="169" y="210"/>
                    <a:pt x="169" y="210"/>
                    <a:pt x="169" y="210"/>
                  </a:cubicBezTo>
                  <a:cubicBezTo>
                    <a:pt x="169" y="210"/>
                    <a:pt x="170" y="210"/>
                    <a:pt x="171" y="210"/>
                  </a:cubicBezTo>
                  <a:cubicBezTo>
                    <a:pt x="172" y="210"/>
                    <a:pt x="172" y="210"/>
                    <a:pt x="172" y="210"/>
                  </a:cubicBezTo>
                  <a:cubicBezTo>
                    <a:pt x="173" y="210"/>
                    <a:pt x="176" y="210"/>
                    <a:pt x="178" y="208"/>
                  </a:cubicBezTo>
                  <a:cubicBezTo>
                    <a:pt x="178" y="207"/>
                    <a:pt x="179" y="206"/>
                    <a:pt x="179" y="205"/>
                  </a:cubicBezTo>
                  <a:cubicBezTo>
                    <a:pt x="179" y="205"/>
                    <a:pt x="179" y="204"/>
                    <a:pt x="179" y="204"/>
                  </a:cubicBezTo>
                  <a:cubicBezTo>
                    <a:pt x="179" y="202"/>
                    <a:pt x="178" y="201"/>
                    <a:pt x="178" y="200"/>
                  </a:cubicBezTo>
                  <a:cubicBezTo>
                    <a:pt x="177" y="199"/>
                    <a:pt x="176" y="199"/>
                    <a:pt x="175" y="198"/>
                  </a:cubicBezTo>
                  <a:cubicBezTo>
                    <a:pt x="175" y="198"/>
                    <a:pt x="174" y="197"/>
                    <a:pt x="174" y="197"/>
                  </a:cubicBezTo>
                  <a:cubicBezTo>
                    <a:pt x="174" y="197"/>
                    <a:pt x="173" y="197"/>
                    <a:pt x="173" y="197"/>
                  </a:cubicBezTo>
                  <a:cubicBezTo>
                    <a:pt x="173" y="197"/>
                    <a:pt x="174" y="197"/>
                    <a:pt x="174" y="196"/>
                  </a:cubicBezTo>
                  <a:cubicBezTo>
                    <a:pt x="174" y="196"/>
                    <a:pt x="175" y="196"/>
                    <a:pt x="176" y="196"/>
                  </a:cubicBezTo>
                  <a:cubicBezTo>
                    <a:pt x="177" y="196"/>
                    <a:pt x="177" y="196"/>
                    <a:pt x="178" y="196"/>
                  </a:cubicBezTo>
                  <a:cubicBezTo>
                    <a:pt x="178" y="196"/>
                    <a:pt x="178" y="196"/>
                    <a:pt x="178" y="196"/>
                  </a:cubicBezTo>
                  <a:cubicBezTo>
                    <a:pt x="178" y="196"/>
                    <a:pt x="178" y="196"/>
                    <a:pt x="178" y="196"/>
                  </a:cubicBezTo>
                  <a:cubicBezTo>
                    <a:pt x="178" y="196"/>
                    <a:pt x="178" y="196"/>
                    <a:pt x="178" y="196"/>
                  </a:cubicBezTo>
                  <a:cubicBezTo>
                    <a:pt x="180" y="196"/>
                    <a:pt x="180" y="197"/>
                    <a:pt x="180" y="197"/>
                  </a:cubicBezTo>
                  <a:cubicBezTo>
                    <a:pt x="180" y="197"/>
                    <a:pt x="180" y="197"/>
                    <a:pt x="180" y="197"/>
                  </a:cubicBezTo>
                  <a:cubicBezTo>
                    <a:pt x="181" y="198"/>
                    <a:pt x="182" y="199"/>
                    <a:pt x="183" y="199"/>
                  </a:cubicBezTo>
                  <a:cubicBezTo>
                    <a:pt x="185" y="198"/>
                    <a:pt x="185" y="197"/>
                    <a:pt x="185" y="196"/>
                  </a:cubicBezTo>
                  <a:close/>
                  <a:moveTo>
                    <a:pt x="101" y="212"/>
                  </a:moveTo>
                  <a:cubicBezTo>
                    <a:pt x="108" y="215"/>
                    <a:pt x="108" y="215"/>
                    <a:pt x="108" y="215"/>
                  </a:cubicBezTo>
                  <a:cubicBezTo>
                    <a:pt x="96" y="227"/>
                    <a:pt x="96" y="227"/>
                    <a:pt x="96" y="227"/>
                  </a:cubicBezTo>
                  <a:cubicBezTo>
                    <a:pt x="96" y="228"/>
                    <a:pt x="96" y="228"/>
                    <a:pt x="96" y="228"/>
                  </a:cubicBezTo>
                  <a:cubicBezTo>
                    <a:pt x="94" y="230"/>
                    <a:pt x="93" y="233"/>
                    <a:pt x="93" y="236"/>
                  </a:cubicBezTo>
                  <a:cubicBezTo>
                    <a:pt x="93" y="241"/>
                    <a:pt x="96" y="246"/>
                    <a:pt x="101" y="247"/>
                  </a:cubicBezTo>
                  <a:cubicBezTo>
                    <a:pt x="108" y="250"/>
                    <a:pt x="108" y="250"/>
                    <a:pt x="108" y="250"/>
                  </a:cubicBezTo>
                  <a:cubicBezTo>
                    <a:pt x="96" y="263"/>
                    <a:pt x="96" y="263"/>
                    <a:pt x="96" y="263"/>
                  </a:cubicBezTo>
                  <a:cubicBezTo>
                    <a:pt x="96" y="263"/>
                    <a:pt x="96" y="263"/>
                    <a:pt x="96" y="263"/>
                  </a:cubicBezTo>
                  <a:cubicBezTo>
                    <a:pt x="94" y="265"/>
                    <a:pt x="93" y="268"/>
                    <a:pt x="93" y="271"/>
                  </a:cubicBezTo>
                  <a:cubicBezTo>
                    <a:pt x="93" y="276"/>
                    <a:pt x="96" y="281"/>
                    <a:pt x="101" y="282"/>
                  </a:cubicBezTo>
                  <a:cubicBezTo>
                    <a:pt x="108" y="285"/>
                    <a:pt x="108" y="285"/>
                    <a:pt x="108" y="285"/>
                  </a:cubicBezTo>
                  <a:cubicBezTo>
                    <a:pt x="96" y="298"/>
                    <a:pt x="96" y="298"/>
                    <a:pt x="96" y="298"/>
                  </a:cubicBezTo>
                  <a:cubicBezTo>
                    <a:pt x="96" y="298"/>
                    <a:pt x="96" y="298"/>
                    <a:pt x="96" y="298"/>
                  </a:cubicBezTo>
                  <a:cubicBezTo>
                    <a:pt x="94" y="300"/>
                    <a:pt x="93" y="303"/>
                    <a:pt x="93" y="306"/>
                  </a:cubicBezTo>
                  <a:cubicBezTo>
                    <a:pt x="93" y="311"/>
                    <a:pt x="96" y="316"/>
                    <a:pt x="101" y="317"/>
                  </a:cubicBezTo>
                  <a:cubicBezTo>
                    <a:pt x="202" y="356"/>
                    <a:pt x="202" y="356"/>
                    <a:pt x="202" y="356"/>
                  </a:cubicBezTo>
                  <a:cubicBezTo>
                    <a:pt x="204" y="356"/>
                    <a:pt x="206" y="357"/>
                    <a:pt x="207" y="357"/>
                  </a:cubicBezTo>
                  <a:cubicBezTo>
                    <a:pt x="212" y="357"/>
                    <a:pt x="216" y="355"/>
                    <a:pt x="220" y="351"/>
                  </a:cubicBezTo>
                  <a:cubicBezTo>
                    <a:pt x="252" y="314"/>
                    <a:pt x="252" y="314"/>
                    <a:pt x="252" y="314"/>
                  </a:cubicBezTo>
                  <a:cubicBezTo>
                    <a:pt x="253" y="312"/>
                    <a:pt x="255" y="309"/>
                    <a:pt x="255" y="306"/>
                  </a:cubicBezTo>
                  <a:cubicBezTo>
                    <a:pt x="255" y="301"/>
                    <a:pt x="251" y="297"/>
                    <a:pt x="247" y="295"/>
                  </a:cubicBezTo>
                  <a:cubicBezTo>
                    <a:pt x="241" y="292"/>
                    <a:pt x="241" y="292"/>
                    <a:pt x="241" y="292"/>
                  </a:cubicBezTo>
                  <a:cubicBezTo>
                    <a:pt x="252" y="279"/>
                    <a:pt x="252" y="279"/>
                    <a:pt x="252" y="279"/>
                  </a:cubicBezTo>
                  <a:cubicBezTo>
                    <a:pt x="253" y="277"/>
                    <a:pt x="255" y="274"/>
                    <a:pt x="255" y="271"/>
                  </a:cubicBezTo>
                  <a:cubicBezTo>
                    <a:pt x="255" y="266"/>
                    <a:pt x="251" y="261"/>
                    <a:pt x="247" y="260"/>
                  </a:cubicBezTo>
                  <a:cubicBezTo>
                    <a:pt x="241" y="256"/>
                    <a:pt x="241" y="256"/>
                    <a:pt x="241" y="256"/>
                  </a:cubicBezTo>
                  <a:cubicBezTo>
                    <a:pt x="252" y="244"/>
                    <a:pt x="252" y="244"/>
                    <a:pt x="252" y="244"/>
                  </a:cubicBezTo>
                  <a:cubicBezTo>
                    <a:pt x="253" y="242"/>
                    <a:pt x="255" y="239"/>
                    <a:pt x="255" y="235"/>
                  </a:cubicBezTo>
                  <a:cubicBezTo>
                    <a:pt x="255" y="231"/>
                    <a:pt x="251" y="226"/>
                    <a:pt x="247" y="225"/>
                  </a:cubicBezTo>
                  <a:cubicBezTo>
                    <a:pt x="241" y="221"/>
                    <a:pt x="241" y="221"/>
                    <a:pt x="241" y="221"/>
                  </a:cubicBezTo>
                  <a:cubicBezTo>
                    <a:pt x="252" y="208"/>
                    <a:pt x="252" y="208"/>
                    <a:pt x="252" y="208"/>
                  </a:cubicBezTo>
                  <a:cubicBezTo>
                    <a:pt x="253" y="206"/>
                    <a:pt x="255" y="203"/>
                    <a:pt x="255" y="200"/>
                  </a:cubicBezTo>
                  <a:cubicBezTo>
                    <a:pt x="255" y="195"/>
                    <a:pt x="251" y="191"/>
                    <a:pt x="247" y="189"/>
                  </a:cubicBezTo>
                  <a:cubicBezTo>
                    <a:pt x="145" y="151"/>
                    <a:pt x="145" y="151"/>
                    <a:pt x="145" y="151"/>
                  </a:cubicBezTo>
                  <a:cubicBezTo>
                    <a:pt x="144" y="150"/>
                    <a:pt x="142" y="150"/>
                    <a:pt x="140" y="150"/>
                  </a:cubicBezTo>
                  <a:cubicBezTo>
                    <a:pt x="135" y="150"/>
                    <a:pt x="131" y="152"/>
                    <a:pt x="127" y="156"/>
                  </a:cubicBezTo>
                  <a:cubicBezTo>
                    <a:pt x="96" y="192"/>
                    <a:pt x="96" y="192"/>
                    <a:pt x="96" y="192"/>
                  </a:cubicBezTo>
                  <a:cubicBezTo>
                    <a:pt x="94" y="195"/>
                    <a:pt x="93" y="197"/>
                    <a:pt x="93" y="201"/>
                  </a:cubicBezTo>
                  <a:cubicBezTo>
                    <a:pt x="93" y="206"/>
                    <a:pt x="96" y="210"/>
                    <a:pt x="101" y="212"/>
                  </a:cubicBezTo>
                  <a:close/>
                  <a:moveTo>
                    <a:pt x="208" y="340"/>
                  </a:moveTo>
                  <a:cubicBezTo>
                    <a:pt x="208" y="340"/>
                    <a:pt x="208" y="340"/>
                    <a:pt x="208" y="340"/>
                  </a:cubicBezTo>
                  <a:cubicBezTo>
                    <a:pt x="208" y="340"/>
                    <a:pt x="208" y="341"/>
                    <a:pt x="207" y="341"/>
                  </a:cubicBezTo>
                  <a:cubicBezTo>
                    <a:pt x="112" y="305"/>
                    <a:pt x="112" y="305"/>
                    <a:pt x="112" y="305"/>
                  </a:cubicBezTo>
                  <a:cubicBezTo>
                    <a:pt x="125" y="291"/>
                    <a:pt x="125" y="291"/>
                    <a:pt x="125" y="291"/>
                  </a:cubicBezTo>
                  <a:cubicBezTo>
                    <a:pt x="202" y="320"/>
                    <a:pt x="202" y="320"/>
                    <a:pt x="202" y="320"/>
                  </a:cubicBezTo>
                  <a:cubicBezTo>
                    <a:pt x="204" y="321"/>
                    <a:pt x="206" y="321"/>
                    <a:pt x="207" y="321"/>
                  </a:cubicBezTo>
                  <a:cubicBezTo>
                    <a:pt x="212" y="321"/>
                    <a:pt x="216" y="320"/>
                    <a:pt x="220" y="316"/>
                  </a:cubicBezTo>
                  <a:cubicBezTo>
                    <a:pt x="230" y="304"/>
                    <a:pt x="230" y="304"/>
                    <a:pt x="230" y="304"/>
                  </a:cubicBezTo>
                  <a:cubicBezTo>
                    <a:pt x="236" y="307"/>
                    <a:pt x="236" y="307"/>
                    <a:pt x="236" y="307"/>
                  </a:cubicBezTo>
                  <a:lnTo>
                    <a:pt x="208" y="340"/>
                  </a:lnTo>
                  <a:close/>
                  <a:moveTo>
                    <a:pt x="208" y="305"/>
                  </a:moveTo>
                  <a:cubicBezTo>
                    <a:pt x="208" y="305"/>
                    <a:pt x="208" y="305"/>
                    <a:pt x="208" y="305"/>
                  </a:cubicBezTo>
                  <a:cubicBezTo>
                    <a:pt x="208" y="305"/>
                    <a:pt x="208" y="305"/>
                    <a:pt x="207" y="305"/>
                  </a:cubicBezTo>
                  <a:cubicBezTo>
                    <a:pt x="112" y="269"/>
                    <a:pt x="112" y="269"/>
                    <a:pt x="112" y="269"/>
                  </a:cubicBezTo>
                  <a:cubicBezTo>
                    <a:pt x="125" y="256"/>
                    <a:pt x="125" y="256"/>
                    <a:pt x="125" y="256"/>
                  </a:cubicBezTo>
                  <a:cubicBezTo>
                    <a:pt x="202" y="285"/>
                    <a:pt x="202" y="285"/>
                    <a:pt x="202" y="285"/>
                  </a:cubicBezTo>
                  <a:cubicBezTo>
                    <a:pt x="204" y="286"/>
                    <a:pt x="206" y="286"/>
                    <a:pt x="207" y="286"/>
                  </a:cubicBezTo>
                  <a:cubicBezTo>
                    <a:pt x="212" y="286"/>
                    <a:pt x="216" y="284"/>
                    <a:pt x="220" y="280"/>
                  </a:cubicBezTo>
                  <a:cubicBezTo>
                    <a:pt x="230" y="269"/>
                    <a:pt x="230" y="269"/>
                    <a:pt x="230" y="269"/>
                  </a:cubicBezTo>
                  <a:cubicBezTo>
                    <a:pt x="236" y="272"/>
                    <a:pt x="236" y="272"/>
                    <a:pt x="236" y="272"/>
                  </a:cubicBezTo>
                  <a:lnTo>
                    <a:pt x="208" y="305"/>
                  </a:lnTo>
                  <a:close/>
                  <a:moveTo>
                    <a:pt x="208" y="270"/>
                  </a:moveTo>
                  <a:cubicBezTo>
                    <a:pt x="208" y="270"/>
                    <a:pt x="208" y="270"/>
                    <a:pt x="208" y="270"/>
                  </a:cubicBezTo>
                  <a:cubicBezTo>
                    <a:pt x="208" y="270"/>
                    <a:pt x="208" y="270"/>
                    <a:pt x="207" y="270"/>
                  </a:cubicBezTo>
                  <a:cubicBezTo>
                    <a:pt x="112" y="234"/>
                    <a:pt x="112" y="234"/>
                    <a:pt x="112" y="234"/>
                  </a:cubicBezTo>
                  <a:cubicBezTo>
                    <a:pt x="125" y="221"/>
                    <a:pt x="125" y="221"/>
                    <a:pt x="125" y="221"/>
                  </a:cubicBezTo>
                  <a:cubicBezTo>
                    <a:pt x="202" y="250"/>
                    <a:pt x="202" y="250"/>
                    <a:pt x="202" y="250"/>
                  </a:cubicBezTo>
                  <a:cubicBezTo>
                    <a:pt x="204" y="251"/>
                    <a:pt x="206" y="251"/>
                    <a:pt x="207" y="251"/>
                  </a:cubicBezTo>
                  <a:cubicBezTo>
                    <a:pt x="212" y="251"/>
                    <a:pt x="216" y="249"/>
                    <a:pt x="220" y="245"/>
                  </a:cubicBezTo>
                  <a:cubicBezTo>
                    <a:pt x="214" y="240"/>
                    <a:pt x="214" y="240"/>
                    <a:pt x="214" y="240"/>
                  </a:cubicBezTo>
                  <a:cubicBezTo>
                    <a:pt x="220" y="245"/>
                    <a:pt x="220" y="245"/>
                    <a:pt x="220" y="245"/>
                  </a:cubicBezTo>
                  <a:cubicBezTo>
                    <a:pt x="230" y="234"/>
                    <a:pt x="230" y="234"/>
                    <a:pt x="230" y="234"/>
                  </a:cubicBezTo>
                  <a:cubicBezTo>
                    <a:pt x="236" y="237"/>
                    <a:pt x="236" y="237"/>
                    <a:pt x="236" y="237"/>
                  </a:cubicBezTo>
                  <a:lnTo>
                    <a:pt x="208" y="270"/>
                  </a:lnTo>
                  <a:close/>
                  <a:moveTo>
                    <a:pt x="139" y="166"/>
                  </a:moveTo>
                  <a:cubicBezTo>
                    <a:pt x="139" y="166"/>
                    <a:pt x="139" y="166"/>
                    <a:pt x="139" y="166"/>
                  </a:cubicBezTo>
                  <a:cubicBezTo>
                    <a:pt x="140" y="166"/>
                    <a:pt x="140" y="166"/>
                    <a:pt x="140" y="166"/>
                  </a:cubicBezTo>
                  <a:cubicBezTo>
                    <a:pt x="236" y="202"/>
                    <a:pt x="236" y="202"/>
                    <a:pt x="236" y="202"/>
                  </a:cubicBezTo>
                  <a:cubicBezTo>
                    <a:pt x="208" y="235"/>
                    <a:pt x="208" y="235"/>
                    <a:pt x="208" y="235"/>
                  </a:cubicBezTo>
                  <a:cubicBezTo>
                    <a:pt x="208" y="235"/>
                    <a:pt x="208" y="235"/>
                    <a:pt x="208" y="235"/>
                  </a:cubicBezTo>
                  <a:cubicBezTo>
                    <a:pt x="208" y="235"/>
                    <a:pt x="208" y="235"/>
                    <a:pt x="207" y="235"/>
                  </a:cubicBezTo>
                  <a:cubicBezTo>
                    <a:pt x="112" y="199"/>
                    <a:pt x="112" y="199"/>
                    <a:pt x="112" y="199"/>
                  </a:cubicBezTo>
                  <a:lnTo>
                    <a:pt x="139" y="166"/>
                  </a:lnTo>
                  <a:close/>
                  <a:moveTo>
                    <a:pt x="386" y="388"/>
                  </a:moveTo>
                  <a:cubicBezTo>
                    <a:pt x="37" y="388"/>
                    <a:pt x="37" y="388"/>
                    <a:pt x="37" y="388"/>
                  </a:cubicBezTo>
                  <a:cubicBezTo>
                    <a:pt x="37" y="388"/>
                    <a:pt x="37" y="388"/>
                    <a:pt x="37" y="388"/>
                  </a:cubicBezTo>
                  <a:cubicBezTo>
                    <a:pt x="35" y="388"/>
                    <a:pt x="34" y="387"/>
                    <a:pt x="34" y="385"/>
                  </a:cubicBezTo>
                  <a:cubicBezTo>
                    <a:pt x="34" y="65"/>
                    <a:pt x="34" y="65"/>
                    <a:pt x="34" y="65"/>
                  </a:cubicBezTo>
                  <a:cubicBezTo>
                    <a:pt x="43" y="65"/>
                    <a:pt x="43" y="65"/>
                    <a:pt x="43" y="65"/>
                  </a:cubicBezTo>
                  <a:cubicBezTo>
                    <a:pt x="46" y="65"/>
                    <a:pt x="48" y="64"/>
                    <a:pt x="50" y="62"/>
                  </a:cubicBezTo>
                  <a:cubicBezTo>
                    <a:pt x="51" y="60"/>
                    <a:pt x="52" y="57"/>
                    <a:pt x="51" y="54"/>
                  </a:cubicBezTo>
                  <a:cubicBezTo>
                    <a:pt x="33" y="5"/>
                    <a:pt x="33" y="5"/>
                    <a:pt x="33" y="5"/>
                  </a:cubicBezTo>
                  <a:cubicBezTo>
                    <a:pt x="32" y="2"/>
                    <a:pt x="29" y="0"/>
                    <a:pt x="26" y="0"/>
                  </a:cubicBezTo>
                  <a:cubicBezTo>
                    <a:pt x="22" y="0"/>
                    <a:pt x="19" y="2"/>
                    <a:pt x="18" y="5"/>
                  </a:cubicBezTo>
                  <a:cubicBezTo>
                    <a:pt x="1" y="55"/>
                    <a:pt x="1" y="55"/>
                    <a:pt x="1" y="55"/>
                  </a:cubicBezTo>
                  <a:cubicBezTo>
                    <a:pt x="0" y="57"/>
                    <a:pt x="0" y="60"/>
                    <a:pt x="2" y="62"/>
                  </a:cubicBezTo>
                  <a:cubicBezTo>
                    <a:pt x="3" y="64"/>
                    <a:pt x="6" y="65"/>
                    <a:pt x="8" y="65"/>
                  </a:cubicBezTo>
                  <a:cubicBezTo>
                    <a:pt x="9" y="65"/>
                    <a:pt x="9" y="65"/>
                    <a:pt x="9" y="65"/>
                  </a:cubicBezTo>
                  <a:cubicBezTo>
                    <a:pt x="18" y="65"/>
                    <a:pt x="18" y="65"/>
                    <a:pt x="18" y="65"/>
                  </a:cubicBezTo>
                  <a:cubicBezTo>
                    <a:pt x="18" y="385"/>
                    <a:pt x="18" y="385"/>
                    <a:pt x="18" y="385"/>
                  </a:cubicBezTo>
                  <a:cubicBezTo>
                    <a:pt x="18" y="396"/>
                    <a:pt x="27" y="404"/>
                    <a:pt x="37" y="404"/>
                  </a:cubicBezTo>
                  <a:cubicBezTo>
                    <a:pt x="37" y="404"/>
                    <a:pt x="37" y="404"/>
                    <a:pt x="37" y="404"/>
                  </a:cubicBezTo>
                  <a:cubicBezTo>
                    <a:pt x="386" y="404"/>
                    <a:pt x="386" y="404"/>
                    <a:pt x="386" y="404"/>
                  </a:cubicBezTo>
                  <a:cubicBezTo>
                    <a:pt x="391" y="404"/>
                    <a:pt x="394" y="401"/>
                    <a:pt x="394" y="396"/>
                  </a:cubicBezTo>
                  <a:cubicBezTo>
                    <a:pt x="394" y="392"/>
                    <a:pt x="391" y="388"/>
                    <a:pt x="386" y="388"/>
                  </a:cubicBezTo>
                  <a:close/>
                </a:path>
              </a:pathLst>
            </a:custGeom>
            <a:solidFill>
              <a:srgbClr val="7B06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a:lnSpc>
                  <a:spcPct val="90000"/>
                </a:lnSpc>
              </a:pPr>
              <a:endParaRPr lang="en-US" sz="1800"/>
            </a:p>
          </p:txBody>
        </p:sp>
        <p:grpSp>
          <p:nvGrpSpPr>
            <p:cNvPr id="61" name="Group 37"/>
            <p:cNvGrpSpPr>
              <a:grpSpLocks/>
            </p:cNvGrpSpPr>
            <p:nvPr/>
          </p:nvGrpSpPr>
          <p:grpSpPr bwMode="auto">
            <a:xfrm>
              <a:off x="792172" y="1579568"/>
              <a:ext cx="3062497" cy="872619"/>
              <a:chOff x="5940496" y="4606816"/>
              <a:chExt cx="3061878" cy="874595"/>
            </a:xfrm>
          </p:grpSpPr>
          <p:sp>
            <p:nvSpPr>
              <p:cNvPr id="70" name="Rectangle 2"/>
              <p:cNvSpPr txBox="1">
                <a:spLocks noChangeArrowheads="1"/>
              </p:cNvSpPr>
              <p:nvPr/>
            </p:nvSpPr>
            <p:spPr bwMode="auto">
              <a:xfrm>
                <a:off x="5940496" y="4606816"/>
                <a:ext cx="1682334" cy="728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4000" dirty="0">
                    <a:solidFill>
                      <a:srgbClr val="FFFFFF"/>
                    </a:solidFill>
                    <a:latin typeface="Ericsson Capital TT" pitchFamily="2" charset="0"/>
                    <a:cs typeface="Arial" pitchFamily="34" charset="0"/>
                  </a:rPr>
                  <a:t>36%</a:t>
                </a:r>
              </a:p>
            </p:txBody>
          </p:sp>
          <p:sp>
            <p:nvSpPr>
              <p:cNvPr id="71" name="Rectangle 2"/>
              <p:cNvSpPr txBox="1">
                <a:spLocks noChangeArrowheads="1"/>
              </p:cNvSpPr>
              <p:nvPr/>
            </p:nvSpPr>
            <p:spPr bwMode="auto">
              <a:xfrm>
                <a:off x="7252407" y="4774999"/>
                <a:ext cx="1749967" cy="384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1600" dirty="0">
                    <a:solidFill>
                      <a:srgbClr val="FFFFFF"/>
                    </a:solidFill>
                    <a:latin typeface="Ericsson Capital TT" pitchFamily="2" charset="0"/>
                    <a:cs typeface="Arial" pitchFamily="34" charset="0"/>
                  </a:rPr>
                  <a:t>INCREASE</a:t>
                </a:r>
              </a:p>
            </p:txBody>
          </p:sp>
          <p:sp>
            <p:nvSpPr>
              <p:cNvPr id="72" name="textruta 82"/>
              <p:cNvSpPr txBox="1">
                <a:spLocks noChangeArrowheads="1"/>
              </p:cNvSpPr>
              <p:nvPr/>
            </p:nvSpPr>
            <p:spPr bwMode="auto">
              <a:xfrm>
                <a:off x="5953468" y="5178624"/>
                <a:ext cx="2951878" cy="30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eaLnBrk="1" hangingPunct="1">
                  <a:lnSpc>
                    <a:spcPct val="90000"/>
                  </a:lnSpc>
                  <a:spcBef>
                    <a:spcPct val="50000"/>
                  </a:spcBef>
                </a:pPr>
                <a:r>
                  <a:rPr lang="en-US" sz="1200" b="1">
                    <a:solidFill>
                      <a:srgbClr val="FFFFFF"/>
                    </a:solidFill>
                    <a:cs typeface="Arial" pitchFamily="34" charset="0"/>
                  </a:rPr>
                  <a:t>total number of services offered</a:t>
                </a:r>
              </a:p>
            </p:txBody>
          </p:sp>
        </p:grpSp>
        <p:grpSp>
          <p:nvGrpSpPr>
            <p:cNvPr id="62" name="Group 37"/>
            <p:cNvGrpSpPr>
              <a:grpSpLocks/>
            </p:cNvGrpSpPr>
            <p:nvPr/>
          </p:nvGrpSpPr>
          <p:grpSpPr bwMode="auto">
            <a:xfrm>
              <a:off x="792154" y="2692397"/>
              <a:ext cx="3025976" cy="894680"/>
              <a:chOff x="5940496" y="4606816"/>
              <a:chExt cx="3024911" cy="896229"/>
            </a:xfrm>
          </p:grpSpPr>
          <p:sp>
            <p:nvSpPr>
              <p:cNvPr id="67" name="Rectangle 2"/>
              <p:cNvSpPr txBox="1">
                <a:spLocks noChangeArrowheads="1"/>
              </p:cNvSpPr>
              <p:nvPr/>
            </p:nvSpPr>
            <p:spPr bwMode="auto">
              <a:xfrm>
                <a:off x="5940496" y="4606816"/>
                <a:ext cx="1366838" cy="728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4000">
                    <a:solidFill>
                      <a:srgbClr val="FFFFFF"/>
                    </a:solidFill>
                    <a:latin typeface="Ericsson Capital TT" pitchFamily="2" charset="0"/>
                    <a:cs typeface="Arial" pitchFamily="34" charset="0"/>
                  </a:rPr>
                  <a:t>6</a:t>
                </a:r>
              </a:p>
            </p:txBody>
          </p:sp>
          <p:sp>
            <p:nvSpPr>
              <p:cNvPr id="68" name="Rectangle 2"/>
              <p:cNvSpPr txBox="1">
                <a:spLocks noChangeArrowheads="1"/>
              </p:cNvSpPr>
              <p:nvPr/>
            </p:nvSpPr>
            <p:spPr bwMode="auto">
              <a:xfrm>
                <a:off x="6534063" y="4666076"/>
                <a:ext cx="2431344" cy="384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1600">
                    <a:solidFill>
                      <a:srgbClr val="FFFFFF"/>
                    </a:solidFill>
                    <a:latin typeface="Ericsson Capital TT" pitchFamily="2" charset="0"/>
                    <a:cs typeface="Arial" pitchFamily="34" charset="0"/>
                  </a:rPr>
                  <a:t>WEEKS service Introduction</a:t>
                </a:r>
              </a:p>
            </p:txBody>
          </p:sp>
          <p:sp>
            <p:nvSpPr>
              <p:cNvPr id="69" name="textruta 82"/>
              <p:cNvSpPr txBox="1">
                <a:spLocks noChangeArrowheads="1"/>
              </p:cNvSpPr>
              <p:nvPr/>
            </p:nvSpPr>
            <p:spPr bwMode="auto">
              <a:xfrm>
                <a:off x="5950091" y="5200419"/>
                <a:ext cx="2063864" cy="302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eaLnBrk="1" hangingPunct="1">
                  <a:lnSpc>
                    <a:spcPct val="90000"/>
                  </a:lnSpc>
                  <a:spcBef>
                    <a:spcPct val="50000"/>
                  </a:spcBef>
                </a:pPr>
                <a:r>
                  <a:rPr lang="en-US" sz="1200" b="1">
                    <a:solidFill>
                      <a:srgbClr val="FFFFFF"/>
                    </a:solidFill>
                    <a:cs typeface="Arial" pitchFamily="34" charset="0"/>
                  </a:rPr>
                  <a:t>reduced from months</a:t>
                </a:r>
              </a:p>
            </p:txBody>
          </p:sp>
        </p:grpSp>
        <p:grpSp>
          <p:nvGrpSpPr>
            <p:cNvPr id="63" name="Group 37"/>
            <p:cNvGrpSpPr>
              <a:grpSpLocks/>
            </p:cNvGrpSpPr>
            <p:nvPr/>
          </p:nvGrpSpPr>
          <p:grpSpPr bwMode="auto">
            <a:xfrm>
              <a:off x="792160" y="3752847"/>
              <a:ext cx="3135517" cy="873649"/>
              <a:chOff x="5940496" y="4606816"/>
              <a:chExt cx="3133730" cy="874050"/>
            </a:xfrm>
          </p:grpSpPr>
          <p:sp>
            <p:nvSpPr>
              <p:cNvPr id="64" name="Rectangle 2"/>
              <p:cNvSpPr txBox="1">
                <a:spLocks noChangeArrowheads="1"/>
              </p:cNvSpPr>
              <p:nvPr/>
            </p:nvSpPr>
            <p:spPr bwMode="auto">
              <a:xfrm>
                <a:off x="5940496" y="4606816"/>
                <a:ext cx="1975403" cy="728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4000" dirty="0">
                    <a:solidFill>
                      <a:srgbClr val="FFFFFF"/>
                    </a:solidFill>
                    <a:latin typeface="Ericsson Capital TT" pitchFamily="2" charset="0"/>
                    <a:cs typeface="Arial" pitchFamily="34" charset="0"/>
                  </a:rPr>
                  <a:t>150%</a:t>
                </a:r>
              </a:p>
            </p:txBody>
          </p:sp>
          <p:sp>
            <p:nvSpPr>
              <p:cNvPr id="65" name="Rectangle 2"/>
              <p:cNvSpPr txBox="1">
                <a:spLocks noChangeArrowheads="1"/>
              </p:cNvSpPr>
              <p:nvPr/>
            </p:nvSpPr>
            <p:spPr bwMode="auto">
              <a:xfrm>
                <a:off x="7524455" y="4775137"/>
                <a:ext cx="1549771" cy="384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1600" dirty="0">
                    <a:solidFill>
                      <a:srgbClr val="FFFFFF"/>
                    </a:solidFill>
                    <a:latin typeface="Ericsson Capital TT" pitchFamily="2" charset="0"/>
                    <a:cs typeface="Arial" pitchFamily="34" charset="0"/>
                  </a:rPr>
                  <a:t>MORE</a:t>
                </a:r>
              </a:p>
            </p:txBody>
          </p:sp>
          <p:sp>
            <p:nvSpPr>
              <p:cNvPr id="66" name="textruta 82"/>
              <p:cNvSpPr txBox="1">
                <a:spLocks noChangeArrowheads="1"/>
              </p:cNvSpPr>
              <p:nvPr/>
            </p:nvSpPr>
            <p:spPr bwMode="auto">
              <a:xfrm>
                <a:off x="5950378" y="5178625"/>
                <a:ext cx="2596961" cy="302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eaLnBrk="1" hangingPunct="1">
                  <a:lnSpc>
                    <a:spcPct val="90000"/>
                  </a:lnSpc>
                  <a:spcBef>
                    <a:spcPct val="50000"/>
                  </a:spcBef>
                </a:pPr>
                <a:r>
                  <a:rPr lang="en-US" sz="1200" b="1">
                    <a:solidFill>
                      <a:srgbClr val="FFFFFF"/>
                    </a:solidFill>
                    <a:cs typeface="Arial" pitchFamily="34" charset="0"/>
                  </a:rPr>
                  <a:t>orders processed every day</a:t>
                </a:r>
              </a:p>
            </p:txBody>
          </p:sp>
        </p:grpSp>
      </p:grpSp>
      <p:grpSp>
        <p:nvGrpSpPr>
          <p:cNvPr id="73" name="Group 2"/>
          <p:cNvGrpSpPr>
            <a:grpSpLocks/>
          </p:cNvGrpSpPr>
          <p:nvPr/>
        </p:nvGrpSpPr>
        <p:grpSpPr bwMode="auto">
          <a:xfrm>
            <a:off x="145853" y="1785248"/>
            <a:ext cx="3040370" cy="4259036"/>
            <a:chOff x="4387850" y="1436688"/>
            <a:chExt cx="3552763" cy="4976812"/>
          </a:xfrm>
        </p:grpSpPr>
        <p:sp>
          <p:nvSpPr>
            <p:cNvPr id="74" name="Rounded Rectangle 17"/>
            <p:cNvSpPr>
              <a:spLocks noChangeArrowheads="1"/>
            </p:cNvSpPr>
            <p:nvPr/>
          </p:nvSpPr>
          <p:spPr bwMode="auto">
            <a:xfrm>
              <a:off x="4514850" y="1436688"/>
              <a:ext cx="3178175" cy="3695700"/>
            </a:xfrm>
            <a:prstGeom prst="roundRect">
              <a:avLst>
                <a:gd name="adj" fmla="val 4287"/>
              </a:avLst>
            </a:prstGeom>
            <a:solidFill>
              <a:srgbClr val="00A9D4"/>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lgn="l">
                <a:lnSpc>
                  <a:spcPct val="90000"/>
                </a:lnSpc>
                <a:spcBef>
                  <a:spcPct val="50000"/>
                </a:spcBef>
              </a:pPr>
              <a:endParaRPr lang="en-US" sz="1800">
                <a:solidFill>
                  <a:srgbClr val="58585A"/>
                </a:solidFill>
                <a:cs typeface="Arial" pitchFamily="34" charset="0"/>
              </a:endParaRPr>
            </a:p>
          </p:txBody>
        </p:sp>
        <p:sp>
          <p:nvSpPr>
            <p:cNvPr id="75" name="Freeform 22"/>
            <p:cNvSpPr>
              <a:spLocks noChangeAspect="1"/>
            </p:cNvSpPr>
            <p:nvPr/>
          </p:nvSpPr>
          <p:spPr bwMode="auto">
            <a:xfrm rot="-5400000">
              <a:off x="5230019" y="3839369"/>
              <a:ext cx="1731962" cy="3416300"/>
            </a:xfrm>
            <a:custGeom>
              <a:avLst/>
              <a:gdLst>
                <a:gd name="T0" fmla="*/ 2147483647 w 462"/>
                <a:gd name="T1" fmla="*/ 2147483647 h 911"/>
                <a:gd name="T2" fmla="*/ 2147483647 w 462"/>
                <a:gd name="T3" fmla="*/ 2147483647 h 911"/>
                <a:gd name="T4" fmla="*/ 2147483647 w 462"/>
                <a:gd name="T5" fmla="*/ 2147483647 h 911"/>
                <a:gd name="T6" fmla="*/ 2147483647 w 462"/>
                <a:gd name="T7" fmla="*/ 2147483647 h 911"/>
                <a:gd name="T8" fmla="*/ 2147483647 w 462"/>
                <a:gd name="T9" fmla="*/ 2147483647 h 911"/>
                <a:gd name="T10" fmla="*/ 2147483647 w 462"/>
                <a:gd name="T11" fmla="*/ 2147483647 h 911"/>
                <a:gd name="T12" fmla="*/ 2147483647 w 462"/>
                <a:gd name="T13" fmla="*/ 2147483647 h 911"/>
                <a:gd name="T14" fmla="*/ 0 w 462"/>
                <a:gd name="T15" fmla="*/ 2147483647 h 911"/>
                <a:gd name="T16" fmla="*/ 0 w 462"/>
                <a:gd name="T17" fmla="*/ 2147483647 h 911"/>
                <a:gd name="T18" fmla="*/ 2147483647 w 462"/>
                <a:gd name="T19" fmla="*/ 2147483647 h 911"/>
                <a:gd name="T20" fmla="*/ 2147483647 w 462"/>
                <a:gd name="T21" fmla="*/ 2147483647 h 911"/>
                <a:gd name="T22" fmla="*/ 2147483647 w 462"/>
                <a:gd name="T23" fmla="*/ 2147483647 h 911"/>
                <a:gd name="T24" fmla="*/ 2147483647 w 462"/>
                <a:gd name="T25" fmla="*/ 2147483647 h 911"/>
                <a:gd name="T26" fmla="*/ 2147483647 w 462"/>
                <a:gd name="T27" fmla="*/ 2147483647 h 9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2"/>
                <a:gd name="T43" fmla="*/ 0 h 911"/>
                <a:gd name="T44" fmla="*/ 462 w 462"/>
                <a:gd name="T45" fmla="*/ 911 h 9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2" h="911">
                  <a:moveTo>
                    <a:pt x="459" y="472"/>
                  </a:moveTo>
                  <a:cubicBezTo>
                    <a:pt x="461" y="462"/>
                    <a:pt x="462" y="462"/>
                    <a:pt x="462" y="455"/>
                  </a:cubicBezTo>
                  <a:cubicBezTo>
                    <a:pt x="462" y="448"/>
                    <a:pt x="462" y="449"/>
                    <a:pt x="459" y="439"/>
                  </a:cubicBezTo>
                  <a:cubicBezTo>
                    <a:pt x="454" y="421"/>
                    <a:pt x="358" y="44"/>
                    <a:pt x="351" y="16"/>
                  </a:cubicBezTo>
                  <a:cubicBezTo>
                    <a:pt x="347" y="0"/>
                    <a:pt x="324" y="6"/>
                    <a:pt x="323" y="26"/>
                  </a:cubicBezTo>
                  <a:cubicBezTo>
                    <a:pt x="323" y="30"/>
                    <a:pt x="323" y="36"/>
                    <a:pt x="323" y="42"/>
                  </a:cubicBezTo>
                  <a:cubicBezTo>
                    <a:pt x="14" y="42"/>
                    <a:pt x="14" y="42"/>
                    <a:pt x="14" y="42"/>
                  </a:cubicBezTo>
                  <a:cubicBezTo>
                    <a:pt x="6" y="42"/>
                    <a:pt x="0" y="49"/>
                    <a:pt x="0" y="56"/>
                  </a:cubicBezTo>
                  <a:cubicBezTo>
                    <a:pt x="0" y="854"/>
                    <a:pt x="0" y="854"/>
                    <a:pt x="0" y="854"/>
                  </a:cubicBezTo>
                  <a:cubicBezTo>
                    <a:pt x="0" y="862"/>
                    <a:pt x="6" y="868"/>
                    <a:pt x="14" y="868"/>
                  </a:cubicBezTo>
                  <a:cubicBezTo>
                    <a:pt x="323" y="868"/>
                    <a:pt x="323" y="868"/>
                    <a:pt x="323" y="868"/>
                  </a:cubicBezTo>
                  <a:cubicBezTo>
                    <a:pt x="323" y="875"/>
                    <a:pt x="323" y="881"/>
                    <a:pt x="323" y="885"/>
                  </a:cubicBezTo>
                  <a:cubicBezTo>
                    <a:pt x="324" y="905"/>
                    <a:pt x="346" y="911"/>
                    <a:pt x="350" y="896"/>
                  </a:cubicBezTo>
                  <a:cubicBezTo>
                    <a:pt x="358" y="870"/>
                    <a:pt x="455" y="488"/>
                    <a:pt x="459" y="472"/>
                  </a:cubicBezTo>
                  <a:close/>
                </a:path>
              </a:pathLst>
            </a:custGeom>
            <a:solidFill>
              <a:srgbClr val="DEEEF7">
                <a:alpha val="50195"/>
              </a:srgbClr>
            </a:solidFill>
            <a:ln w="12700" cap="flat" cmpd="sng" algn="ctr">
              <a:solidFill>
                <a:srgbClr val="00A9D4"/>
              </a:solidFill>
              <a:prstDash val="solid"/>
              <a:round/>
              <a:headEnd type="none" w="med" len="med"/>
              <a:tailEnd type="none" w="med" len="med"/>
            </a:ln>
          </p:spPr>
          <p:txBody>
            <a:bodyPr wrap="none" lIns="72000" rIns="72000"/>
            <a:lstStyle/>
            <a:p>
              <a:pPr algn="l">
                <a:lnSpc>
                  <a:spcPct val="90000"/>
                </a:lnSpc>
              </a:pPr>
              <a:endParaRPr lang="en-US" sz="1800"/>
            </a:p>
          </p:txBody>
        </p:sp>
        <p:sp>
          <p:nvSpPr>
            <p:cNvPr id="76" name="Rectangle 5"/>
            <p:cNvSpPr>
              <a:spLocks noChangeArrowheads="1"/>
            </p:cNvSpPr>
            <p:nvPr/>
          </p:nvSpPr>
          <p:spPr bwMode="auto">
            <a:xfrm>
              <a:off x="4614862" y="5368925"/>
              <a:ext cx="2100261" cy="981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l">
                <a:lnSpc>
                  <a:spcPct val="90000"/>
                </a:lnSpc>
                <a:spcBef>
                  <a:spcPct val="50000"/>
                </a:spcBef>
              </a:pPr>
              <a:r>
                <a:rPr lang="sv-SE" sz="1800" b="1">
                  <a:solidFill>
                    <a:srgbClr val="00A9D4"/>
                  </a:solidFill>
                  <a:cs typeface="Arial" pitchFamily="34" charset="0"/>
                </a:rPr>
                <a:t>FASTER SERVICE DELIVERY</a:t>
              </a:r>
            </a:p>
          </p:txBody>
        </p:sp>
        <p:sp>
          <p:nvSpPr>
            <p:cNvPr id="77" name="Freeform 3"/>
            <p:cNvSpPr>
              <a:spLocks noChangeAspect="1" noEditPoints="1"/>
            </p:cNvSpPr>
            <p:nvPr/>
          </p:nvSpPr>
          <p:spPr bwMode="auto">
            <a:xfrm>
              <a:off x="6784975" y="5559425"/>
              <a:ext cx="690563" cy="692150"/>
            </a:xfrm>
            <a:custGeom>
              <a:avLst/>
              <a:gdLst>
                <a:gd name="T0" fmla="*/ 2147483647 w 380"/>
                <a:gd name="T1" fmla="*/ 2147483647 h 380"/>
                <a:gd name="T2" fmla="*/ 2147483647 w 380"/>
                <a:gd name="T3" fmla="*/ 2147483647 h 380"/>
                <a:gd name="T4" fmla="*/ 2147483647 w 380"/>
                <a:gd name="T5" fmla="*/ 2147483647 h 380"/>
                <a:gd name="T6" fmla="*/ 2147483647 w 380"/>
                <a:gd name="T7" fmla="*/ 2147483647 h 380"/>
                <a:gd name="T8" fmla="*/ 2147483647 w 380"/>
                <a:gd name="T9" fmla="*/ 2147483647 h 380"/>
                <a:gd name="T10" fmla="*/ 2147483647 w 380"/>
                <a:gd name="T11" fmla="*/ 2147483647 h 380"/>
                <a:gd name="T12" fmla="*/ 2147483647 w 380"/>
                <a:gd name="T13" fmla="*/ 2147483647 h 380"/>
                <a:gd name="T14" fmla="*/ 2147483647 w 380"/>
                <a:gd name="T15" fmla="*/ 2147483647 h 380"/>
                <a:gd name="T16" fmla="*/ 2147483647 w 380"/>
                <a:gd name="T17" fmla="*/ 2147483647 h 380"/>
                <a:gd name="T18" fmla="*/ 0 w 380"/>
                <a:gd name="T19" fmla="*/ 2147483647 h 380"/>
                <a:gd name="T20" fmla="*/ 2147483647 w 380"/>
                <a:gd name="T21" fmla="*/ 2147483647 h 380"/>
                <a:gd name="T22" fmla="*/ 2147483647 w 380"/>
                <a:gd name="T23" fmla="*/ 2147483647 h 380"/>
                <a:gd name="T24" fmla="*/ 2147483647 w 380"/>
                <a:gd name="T25" fmla="*/ 2147483647 h 380"/>
                <a:gd name="T26" fmla="*/ 2147483647 w 380"/>
                <a:gd name="T27" fmla="*/ 2147483647 h 380"/>
                <a:gd name="T28" fmla="*/ 2147483647 w 380"/>
                <a:gd name="T29" fmla="*/ 2147483647 h 380"/>
                <a:gd name="T30" fmla="*/ 2147483647 w 380"/>
                <a:gd name="T31" fmla="*/ 2147483647 h 380"/>
                <a:gd name="T32" fmla="*/ 2147483647 w 380"/>
                <a:gd name="T33" fmla="*/ 2147483647 h 380"/>
                <a:gd name="T34" fmla="*/ 2147483647 w 380"/>
                <a:gd name="T35" fmla="*/ 2147483647 h 380"/>
                <a:gd name="T36" fmla="*/ 2147483647 w 380"/>
                <a:gd name="T37" fmla="*/ 2147483647 h 380"/>
                <a:gd name="T38" fmla="*/ 2147483647 w 380"/>
                <a:gd name="T39" fmla="*/ 2147483647 h 380"/>
                <a:gd name="T40" fmla="*/ 2147483647 w 380"/>
                <a:gd name="T41" fmla="*/ 2147483647 h 380"/>
                <a:gd name="T42" fmla="*/ 2147483647 w 380"/>
                <a:gd name="T43" fmla="*/ 2147483647 h 380"/>
                <a:gd name="T44" fmla="*/ 2147483647 w 380"/>
                <a:gd name="T45" fmla="*/ 2147483647 h 380"/>
                <a:gd name="T46" fmla="*/ 2147483647 w 380"/>
                <a:gd name="T47" fmla="*/ 2147483647 h 380"/>
                <a:gd name="T48" fmla="*/ 2147483647 w 380"/>
                <a:gd name="T49" fmla="*/ 2147483647 h 380"/>
                <a:gd name="T50" fmla="*/ 2147483647 w 380"/>
                <a:gd name="T51" fmla="*/ 2147483647 h 380"/>
                <a:gd name="T52" fmla="*/ 2147483647 w 380"/>
                <a:gd name="T53" fmla="*/ 2147483647 h 380"/>
                <a:gd name="T54" fmla="*/ 2147483647 w 380"/>
                <a:gd name="T55" fmla="*/ 2147483647 h 380"/>
                <a:gd name="T56" fmla="*/ 2147483647 w 380"/>
                <a:gd name="T57" fmla="*/ 2147483647 h 380"/>
                <a:gd name="T58" fmla="*/ 2147483647 w 380"/>
                <a:gd name="T59" fmla="*/ 2147483647 h 380"/>
                <a:gd name="T60" fmla="*/ 2147483647 w 380"/>
                <a:gd name="T61" fmla="*/ 2147483647 h 380"/>
                <a:gd name="T62" fmla="*/ 2147483647 w 380"/>
                <a:gd name="T63" fmla="*/ 2147483647 h 380"/>
                <a:gd name="T64" fmla="*/ 2147483647 w 380"/>
                <a:gd name="T65" fmla="*/ 2147483647 h 380"/>
                <a:gd name="T66" fmla="*/ 2147483647 w 380"/>
                <a:gd name="T67" fmla="*/ 2147483647 h 380"/>
                <a:gd name="T68" fmla="*/ 2147483647 w 380"/>
                <a:gd name="T69" fmla="*/ 2147483647 h 380"/>
                <a:gd name="T70" fmla="*/ 2147483647 w 380"/>
                <a:gd name="T71" fmla="*/ 2147483647 h 380"/>
                <a:gd name="T72" fmla="*/ 2147483647 w 380"/>
                <a:gd name="T73" fmla="*/ 2147483647 h 380"/>
                <a:gd name="T74" fmla="*/ 2147483647 w 380"/>
                <a:gd name="T75" fmla="*/ 2147483647 h 380"/>
                <a:gd name="T76" fmla="*/ 2147483647 w 380"/>
                <a:gd name="T77" fmla="*/ 2147483647 h 380"/>
                <a:gd name="T78" fmla="*/ 2147483647 w 380"/>
                <a:gd name="T79" fmla="*/ 2147483647 h 380"/>
                <a:gd name="T80" fmla="*/ 2147483647 w 380"/>
                <a:gd name="T81" fmla="*/ 2147483647 h 380"/>
                <a:gd name="T82" fmla="*/ 2147483647 w 380"/>
                <a:gd name="T83" fmla="*/ 2147483647 h 380"/>
                <a:gd name="T84" fmla="*/ 2147483647 w 380"/>
                <a:gd name="T85" fmla="*/ 2147483647 h 380"/>
                <a:gd name="T86" fmla="*/ 2147483647 w 380"/>
                <a:gd name="T87" fmla="*/ 2147483647 h 380"/>
                <a:gd name="T88" fmla="*/ 2147483647 w 380"/>
                <a:gd name="T89" fmla="*/ 2147483647 h 380"/>
                <a:gd name="T90" fmla="*/ 2147483647 w 380"/>
                <a:gd name="T91" fmla="*/ 2147483647 h 380"/>
                <a:gd name="T92" fmla="*/ 2147483647 w 380"/>
                <a:gd name="T93" fmla="*/ 2147483647 h 380"/>
                <a:gd name="T94" fmla="*/ 2147483647 w 380"/>
                <a:gd name="T95" fmla="*/ 2147483647 h 380"/>
                <a:gd name="T96" fmla="*/ 2147483647 w 380"/>
                <a:gd name="T97" fmla="*/ 2147483647 h 380"/>
                <a:gd name="T98" fmla="*/ 2147483647 w 380"/>
                <a:gd name="T99" fmla="*/ 2147483647 h 380"/>
                <a:gd name="T100" fmla="*/ 2147483647 w 380"/>
                <a:gd name="T101" fmla="*/ 2147483647 h 380"/>
                <a:gd name="T102" fmla="*/ 2147483647 w 380"/>
                <a:gd name="T103" fmla="*/ 2147483647 h 380"/>
                <a:gd name="T104" fmla="*/ 2147483647 w 380"/>
                <a:gd name="T105" fmla="*/ 2147483647 h 380"/>
                <a:gd name="T106" fmla="*/ 2147483647 w 380"/>
                <a:gd name="T107" fmla="*/ 2147483647 h 380"/>
                <a:gd name="T108" fmla="*/ 2147483647 w 380"/>
                <a:gd name="T109" fmla="*/ 2147483647 h 380"/>
                <a:gd name="T110" fmla="*/ 2147483647 w 380"/>
                <a:gd name="T111" fmla="*/ 2147483647 h 380"/>
                <a:gd name="T112" fmla="*/ 2147483647 w 380"/>
                <a:gd name="T113" fmla="*/ 2147483647 h 38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80" h="380">
                  <a:moveTo>
                    <a:pt x="317" y="108"/>
                  </a:moveTo>
                  <a:cubicBezTo>
                    <a:pt x="293" y="121"/>
                    <a:pt x="293" y="121"/>
                    <a:pt x="293" y="121"/>
                  </a:cubicBezTo>
                  <a:cubicBezTo>
                    <a:pt x="289" y="124"/>
                    <a:pt x="287" y="129"/>
                    <a:pt x="290" y="132"/>
                  </a:cubicBezTo>
                  <a:cubicBezTo>
                    <a:pt x="291" y="135"/>
                    <a:pt x="294" y="136"/>
                    <a:pt x="297" y="136"/>
                  </a:cubicBezTo>
                  <a:cubicBezTo>
                    <a:pt x="298" y="136"/>
                    <a:pt x="299" y="136"/>
                    <a:pt x="301" y="135"/>
                  </a:cubicBezTo>
                  <a:cubicBezTo>
                    <a:pt x="325" y="121"/>
                    <a:pt x="325" y="121"/>
                    <a:pt x="325" y="121"/>
                  </a:cubicBezTo>
                  <a:cubicBezTo>
                    <a:pt x="328" y="119"/>
                    <a:pt x="330" y="114"/>
                    <a:pt x="327" y="111"/>
                  </a:cubicBezTo>
                  <a:cubicBezTo>
                    <a:pt x="325" y="107"/>
                    <a:pt x="320" y="105"/>
                    <a:pt x="317" y="108"/>
                  </a:cubicBezTo>
                  <a:close/>
                  <a:moveTo>
                    <a:pt x="335" y="67"/>
                  </a:moveTo>
                  <a:cubicBezTo>
                    <a:pt x="332" y="64"/>
                    <a:pt x="327" y="63"/>
                    <a:pt x="324" y="66"/>
                  </a:cubicBezTo>
                  <a:cubicBezTo>
                    <a:pt x="320" y="69"/>
                    <a:pt x="320" y="74"/>
                    <a:pt x="323" y="77"/>
                  </a:cubicBezTo>
                  <a:cubicBezTo>
                    <a:pt x="349" y="109"/>
                    <a:pt x="364" y="149"/>
                    <a:pt x="364" y="190"/>
                  </a:cubicBezTo>
                  <a:cubicBezTo>
                    <a:pt x="364" y="286"/>
                    <a:pt x="286" y="364"/>
                    <a:pt x="190" y="364"/>
                  </a:cubicBezTo>
                  <a:cubicBezTo>
                    <a:pt x="94" y="364"/>
                    <a:pt x="16" y="286"/>
                    <a:pt x="16" y="190"/>
                  </a:cubicBezTo>
                  <a:cubicBezTo>
                    <a:pt x="16" y="94"/>
                    <a:pt x="94" y="16"/>
                    <a:pt x="190" y="16"/>
                  </a:cubicBezTo>
                  <a:cubicBezTo>
                    <a:pt x="230" y="16"/>
                    <a:pt x="270" y="30"/>
                    <a:pt x="301" y="56"/>
                  </a:cubicBezTo>
                  <a:cubicBezTo>
                    <a:pt x="304" y="58"/>
                    <a:pt x="309" y="58"/>
                    <a:pt x="312" y="55"/>
                  </a:cubicBezTo>
                  <a:cubicBezTo>
                    <a:pt x="315" y="51"/>
                    <a:pt x="314" y="46"/>
                    <a:pt x="311" y="43"/>
                  </a:cubicBezTo>
                  <a:cubicBezTo>
                    <a:pt x="277" y="15"/>
                    <a:pt x="234" y="0"/>
                    <a:pt x="190" y="0"/>
                  </a:cubicBezTo>
                  <a:cubicBezTo>
                    <a:pt x="86" y="0"/>
                    <a:pt x="0" y="85"/>
                    <a:pt x="0" y="190"/>
                  </a:cubicBezTo>
                  <a:cubicBezTo>
                    <a:pt x="0" y="294"/>
                    <a:pt x="86" y="380"/>
                    <a:pt x="190" y="380"/>
                  </a:cubicBezTo>
                  <a:cubicBezTo>
                    <a:pt x="295" y="380"/>
                    <a:pt x="380" y="294"/>
                    <a:pt x="380" y="190"/>
                  </a:cubicBezTo>
                  <a:cubicBezTo>
                    <a:pt x="380" y="145"/>
                    <a:pt x="364" y="102"/>
                    <a:pt x="335" y="67"/>
                  </a:cubicBezTo>
                  <a:close/>
                  <a:moveTo>
                    <a:pt x="269" y="144"/>
                  </a:moveTo>
                  <a:cubicBezTo>
                    <a:pt x="267" y="141"/>
                    <a:pt x="262" y="139"/>
                    <a:pt x="258" y="141"/>
                  </a:cubicBezTo>
                  <a:cubicBezTo>
                    <a:pt x="209" y="170"/>
                    <a:pt x="209" y="170"/>
                    <a:pt x="209" y="170"/>
                  </a:cubicBezTo>
                  <a:cubicBezTo>
                    <a:pt x="204" y="165"/>
                    <a:pt x="198" y="162"/>
                    <a:pt x="190" y="162"/>
                  </a:cubicBezTo>
                  <a:cubicBezTo>
                    <a:pt x="183" y="162"/>
                    <a:pt x="176" y="165"/>
                    <a:pt x="171" y="170"/>
                  </a:cubicBezTo>
                  <a:cubicBezTo>
                    <a:pt x="64" y="108"/>
                    <a:pt x="64" y="108"/>
                    <a:pt x="64" y="108"/>
                  </a:cubicBezTo>
                  <a:cubicBezTo>
                    <a:pt x="60" y="105"/>
                    <a:pt x="55" y="107"/>
                    <a:pt x="53" y="111"/>
                  </a:cubicBezTo>
                  <a:cubicBezTo>
                    <a:pt x="51" y="114"/>
                    <a:pt x="52" y="119"/>
                    <a:pt x="56" y="121"/>
                  </a:cubicBezTo>
                  <a:cubicBezTo>
                    <a:pt x="163" y="183"/>
                    <a:pt x="163" y="183"/>
                    <a:pt x="163" y="183"/>
                  </a:cubicBezTo>
                  <a:cubicBezTo>
                    <a:pt x="163" y="185"/>
                    <a:pt x="162" y="188"/>
                    <a:pt x="162" y="190"/>
                  </a:cubicBezTo>
                  <a:cubicBezTo>
                    <a:pt x="162" y="205"/>
                    <a:pt x="175" y="218"/>
                    <a:pt x="190" y="218"/>
                  </a:cubicBezTo>
                  <a:cubicBezTo>
                    <a:pt x="206" y="218"/>
                    <a:pt x="218" y="205"/>
                    <a:pt x="218" y="190"/>
                  </a:cubicBezTo>
                  <a:cubicBezTo>
                    <a:pt x="218" y="188"/>
                    <a:pt x="218" y="185"/>
                    <a:pt x="217" y="183"/>
                  </a:cubicBezTo>
                  <a:cubicBezTo>
                    <a:pt x="266" y="155"/>
                    <a:pt x="266" y="155"/>
                    <a:pt x="266" y="155"/>
                  </a:cubicBezTo>
                  <a:cubicBezTo>
                    <a:pt x="270" y="153"/>
                    <a:pt x="271" y="148"/>
                    <a:pt x="269" y="144"/>
                  </a:cubicBezTo>
                  <a:close/>
                  <a:moveTo>
                    <a:pt x="349" y="190"/>
                  </a:moveTo>
                  <a:cubicBezTo>
                    <a:pt x="349" y="185"/>
                    <a:pt x="345" y="182"/>
                    <a:pt x="341" y="182"/>
                  </a:cubicBezTo>
                  <a:cubicBezTo>
                    <a:pt x="313" y="182"/>
                    <a:pt x="313" y="182"/>
                    <a:pt x="313" y="182"/>
                  </a:cubicBezTo>
                  <a:cubicBezTo>
                    <a:pt x="309" y="182"/>
                    <a:pt x="305" y="185"/>
                    <a:pt x="305" y="190"/>
                  </a:cubicBezTo>
                  <a:cubicBezTo>
                    <a:pt x="305" y="194"/>
                    <a:pt x="309" y="198"/>
                    <a:pt x="313" y="198"/>
                  </a:cubicBezTo>
                  <a:cubicBezTo>
                    <a:pt x="341" y="198"/>
                    <a:pt x="341" y="198"/>
                    <a:pt x="341" y="198"/>
                  </a:cubicBezTo>
                  <a:cubicBezTo>
                    <a:pt x="345" y="198"/>
                    <a:pt x="349" y="194"/>
                    <a:pt x="349" y="190"/>
                  </a:cubicBezTo>
                  <a:close/>
                  <a:moveTo>
                    <a:pt x="301" y="244"/>
                  </a:moveTo>
                  <a:cubicBezTo>
                    <a:pt x="297" y="242"/>
                    <a:pt x="292" y="243"/>
                    <a:pt x="290" y="247"/>
                  </a:cubicBezTo>
                  <a:cubicBezTo>
                    <a:pt x="287" y="251"/>
                    <a:pt x="289" y="256"/>
                    <a:pt x="293" y="258"/>
                  </a:cubicBezTo>
                  <a:cubicBezTo>
                    <a:pt x="317" y="272"/>
                    <a:pt x="317" y="272"/>
                    <a:pt x="317" y="272"/>
                  </a:cubicBezTo>
                  <a:cubicBezTo>
                    <a:pt x="318" y="273"/>
                    <a:pt x="319" y="273"/>
                    <a:pt x="321" y="273"/>
                  </a:cubicBezTo>
                  <a:cubicBezTo>
                    <a:pt x="323" y="273"/>
                    <a:pt x="326" y="272"/>
                    <a:pt x="327" y="269"/>
                  </a:cubicBezTo>
                  <a:cubicBezTo>
                    <a:pt x="330" y="265"/>
                    <a:pt x="328" y="260"/>
                    <a:pt x="325" y="258"/>
                  </a:cubicBezTo>
                  <a:lnTo>
                    <a:pt x="301" y="244"/>
                  </a:lnTo>
                  <a:close/>
                  <a:moveTo>
                    <a:pt x="182" y="313"/>
                  </a:moveTo>
                  <a:cubicBezTo>
                    <a:pt x="182" y="340"/>
                    <a:pt x="182" y="340"/>
                    <a:pt x="182" y="340"/>
                  </a:cubicBezTo>
                  <a:cubicBezTo>
                    <a:pt x="182" y="345"/>
                    <a:pt x="186" y="348"/>
                    <a:pt x="190" y="348"/>
                  </a:cubicBezTo>
                  <a:cubicBezTo>
                    <a:pt x="195" y="348"/>
                    <a:pt x="198" y="345"/>
                    <a:pt x="198" y="340"/>
                  </a:cubicBezTo>
                  <a:cubicBezTo>
                    <a:pt x="198" y="313"/>
                    <a:pt x="198" y="313"/>
                    <a:pt x="198" y="313"/>
                  </a:cubicBezTo>
                  <a:cubicBezTo>
                    <a:pt x="198" y="308"/>
                    <a:pt x="195" y="305"/>
                    <a:pt x="190" y="305"/>
                  </a:cubicBezTo>
                  <a:cubicBezTo>
                    <a:pt x="186" y="305"/>
                    <a:pt x="182" y="308"/>
                    <a:pt x="182" y="313"/>
                  </a:cubicBezTo>
                  <a:close/>
                  <a:moveTo>
                    <a:pt x="198" y="67"/>
                  </a:moveTo>
                  <a:cubicBezTo>
                    <a:pt x="198" y="39"/>
                    <a:pt x="198" y="39"/>
                    <a:pt x="198" y="39"/>
                  </a:cubicBezTo>
                  <a:cubicBezTo>
                    <a:pt x="198" y="35"/>
                    <a:pt x="195" y="31"/>
                    <a:pt x="190" y="31"/>
                  </a:cubicBezTo>
                  <a:cubicBezTo>
                    <a:pt x="186" y="31"/>
                    <a:pt x="182" y="35"/>
                    <a:pt x="182" y="39"/>
                  </a:cubicBezTo>
                  <a:cubicBezTo>
                    <a:pt x="182" y="67"/>
                    <a:pt x="182" y="67"/>
                    <a:pt x="182" y="67"/>
                  </a:cubicBezTo>
                  <a:cubicBezTo>
                    <a:pt x="182" y="71"/>
                    <a:pt x="186" y="75"/>
                    <a:pt x="190" y="75"/>
                  </a:cubicBezTo>
                  <a:cubicBezTo>
                    <a:pt x="195" y="75"/>
                    <a:pt x="198" y="71"/>
                    <a:pt x="198" y="67"/>
                  </a:cubicBezTo>
                  <a:close/>
                  <a:moveTo>
                    <a:pt x="122" y="292"/>
                  </a:moveTo>
                  <a:cubicBezTo>
                    <a:pt x="108" y="316"/>
                    <a:pt x="108" y="316"/>
                    <a:pt x="108" y="316"/>
                  </a:cubicBezTo>
                  <a:cubicBezTo>
                    <a:pt x="106" y="320"/>
                    <a:pt x="107" y="325"/>
                    <a:pt x="111" y="327"/>
                  </a:cubicBezTo>
                  <a:cubicBezTo>
                    <a:pt x="112" y="328"/>
                    <a:pt x="114" y="328"/>
                    <a:pt x="115" y="328"/>
                  </a:cubicBezTo>
                  <a:cubicBezTo>
                    <a:pt x="118" y="328"/>
                    <a:pt x="120" y="327"/>
                    <a:pt x="122" y="324"/>
                  </a:cubicBezTo>
                  <a:cubicBezTo>
                    <a:pt x="136" y="300"/>
                    <a:pt x="136" y="300"/>
                    <a:pt x="136" y="300"/>
                  </a:cubicBezTo>
                  <a:cubicBezTo>
                    <a:pt x="138" y="296"/>
                    <a:pt x="137" y="292"/>
                    <a:pt x="133" y="289"/>
                  </a:cubicBezTo>
                  <a:cubicBezTo>
                    <a:pt x="129" y="287"/>
                    <a:pt x="124" y="288"/>
                    <a:pt x="122" y="292"/>
                  </a:cubicBezTo>
                  <a:close/>
                  <a:moveTo>
                    <a:pt x="129" y="91"/>
                  </a:moveTo>
                  <a:cubicBezTo>
                    <a:pt x="130" y="91"/>
                    <a:pt x="131" y="91"/>
                    <a:pt x="133" y="90"/>
                  </a:cubicBezTo>
                  <a:cubicBezTo>
                    <a:pt x="137" y="88"/>
                    <a:pt x="138" y="83"/>
                    <a:pt x="136" y="79"/>
                  </a:cubicBezTo>
                  <a:cubicBezTo>
                    <a:pt x="122" y="55"/>
                    <a:pt x="122" y="55"/>
                    <a:pt x="122" y="55"/>
                  </a:cubicBezTo>
                  <a:cubicBezTo>
                    <a:pt x="120" y="52"/>
                    <a:pt x="115" y="50"/>
                    <a:pt x="111" y="53"/>
                  </a:cubicBezTo>
                  <a:cubicBezTo>
                    <a:pt x="107" y="55"/>
                    <a:pt x="106" y="60"/>
                    <a:pt x="108" y="63"/>
                  </a:cubicBezTo>
                  <a:cubicBezTo>
                    <a:pt x="122" y="87"/>
                    <a:pt x="122" y="87"/>
                    <a:pt x="122" y="87"/>
                  </a:cubicBezTo>
                  <a:cubicBezTo>
                    <a:pt x="123" y="90"/>
                    <a:pt x="126" y="91"/>
                    <a:pt x="129" y="91"/>
                  </a:cubicBezTo>
                  <a:close/>
                  <a:moveTo>
                    <a:pt x="259" y="324"/>
                  </a:moveTo>
                  <a:cubicBezTo>
                    <a:pt x="260" y="327"/>
                    <a:pt x="263" y="328"/>
                    <a:pt x="265" y="328"/>
                  </a:cubicBezTo>
                  <a:cubicBezTo>
                    <a:pt x="267" y="328"/>
                    <a:pt x="268" y="328"/>
                    <a:pt x="269" y="327"/>
                  </a:cubicBezTo>
                  <a:cubicBezTo>
                    <a:pt x="273" y="325"/>
                    <a:pt x="275" y="320"/>
                    <a:pt x="272" y="316"/>
                  </a:cubicBezTo>
                  <a:cubicBezTo>
                    <a:pt x="259" y="292"/>
                    <a:pt x="259" y="292"/>
                    <a:pt x="259" y="292"/>
                  </a:cubicBezTo>
                  <a:cubicBezTo>
                    <a:pt x="256" y="288"/>
                    <a:pt x="251" y="287"/>
                    <a:pt x="248" y="289"/>
                  </a:cubicBezTo>
                  <a:cubicBezTo>
                    <a:pt x="244" y="292"/>
                    <a:pt x="242" y="296"/>
                    <a:pt x="245" y="300"/>
                  </a:cubicBezTo>
                  <a:lnTo>
                    <a:pt x="259" y="324"/>
                  </a:lnTo>
                  <a:close/>
                  <a:moveTo>
                    <a:pt x="252" y="91"/>
                  </a:moveTo>
                  <a:cubicBezTo>
                    <a:pt x="254" y="91"/>
                    <a:pt x="257" y="90"/>
                    <a:pt x="259" y="87"/>
                  </a:cubicBezTo>
                  <a:cubicBezTo>
                    <a:pt x="272" y="63"/>
                    <a:pt x="272" y="63"/>
                    <a:pt x="272" y="63"/>
                  </a:cubicBezTo>
                  <a:cubicBezTo>
                    <a:pt x="275" y="60"/>
                    <a:pt x="273" y="55"/>
                    <a:pt x="269" y="53"/>
                  </a:cubicBezTo>
                  <a:cubicBezTo>
                    <a:pt x="266" y="50"/>
                    <a:pt x="261" y="52"/>
                    <a:pt x="259" y="55"/>
                  </a:cubicBezTo>
                  <a:cubicBezTo>
                    <a:pt x="245" y="79"/>
                    <a:pt x="245" y="79"/>
                    <a:pt x="245" y="79"/>
                  </a:cubicBezTo>
                  <a:cubicBezTo>
                    <a:pt x="243" y="83"/>
                    <a:pt x="244" y="88"/>
                    <a:pt x="248" y="90"/>
                  </a:cubicBezTo>
                  <a:cubicBezTo>
                    <a:pt x="249" y="91"/>
                    <a:pt x="250" y="91"/>
                    <a:pt x="252" y="91"/>
                  </a:cubicBezTo>
                  <a:close/>
                  <a:moveTo>
                    <a:pt x="75" y="190"/>
                  </a:moveTo>
                  <a:cubicBezTo>
                    <a:pt x="75" y="185"/>
                    <a:pt x="72" y="182"/>
                    <a:pt x="67" y="182"/>
                  </a:cubicBezTo>
                  <a:cubicBezTo>
                    <a:pt x="40" y="182"/>
                    <a:pt x="40" y="182"/>
                    <a:pt x="40" y="182"/>
                  </a:cubicBezTo>
                  <a:cubicBezTo>
                    <a:pt x="35" y="182"/>
                    <a:pt x="32" y="185"/>
                    <a:pt x="32" y="190"/>
                  </a:cubicBezTo>
                  <a:cubicBezTo>
                    <a:pt x="32" y="194"/>
                    <a:pt x="35" y="198"/>
                    <a:pt x="40" y="198"/>
                  </a:cubicBezTo>
                  <a:cubicBezTo>
                    <a:pt x="67" y="198"/>
                    <a:pt x="67" y="198"/>
                    <a:pt x="67" y="198"/>
                  </a:cubicBezTo>
                  <a:cubicBezTo>
                    <a:pt x="72" y="198"/>
                    <a:pt x="75" y="194"/>
                    <a:pt x="75" y="190"/>
                  </a:cubicBezTo>
                  <a:close/>
                  <a:moveTo>
                    <a:pt x="60" y="273"/>
                  </a:moveTo>
                  <a:cubicBezTo>
                    <a:pt x="61" y="273"/>
                    <a:pt x="63" y="273"/>
                    <a:pt x="64" y="272"/>
                  </a:cubicBezTo>
                  <a:cubicBezTo>
                    <a:pt x="88" y="258"/>
                    <a:pt x="88" y="258"/>
                    <a:pt x="88" y="258"/>
                  </a:cubicBezTo>
                  <a:cubicBezTo>
                    <a:pt x="92" y="256"/>
                    <a:pt x="93" y="251"/>
                    <a:pt x="91" y="247"/>
                  </a:cubicBezTo>
                  <a:cubicBezTo>
                    <a:pt x="88" y="243"/>
                    <a:pt x="84" y="242"/>
                    <a:pt x="80" y="244"/>
                  </a:cubicBezTo>
                  <a:cubicBezTo>
                    <a:pt x="56" y="258"/>
                    <a:pt x="56" y="258"/>
                    <a:pt x="56" y="258"/>
                  </a:cubicBezTo>
                  <a:cubicBezTo>
                    <a:pt x="52" y="260"/>
                    <a:pt x="51" y="265"/>
                    <a:pt x="53" y="269"/>
                  </a:cubicBezTo>
                  <a:cubicBezTo>
                    <a:pt x="54" y="272"/>
                    <a:pt x="57" y="273"/>
                    <a:pt x="60" y="273"/>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a:lnSpc>
                  <a:spcPct val="90000"/>
                </a:lnSpc>
              </a:pPr>
              <a:endParaRPr lang="en-US" sz="1800"/>
            </a:p>
          </p:txBody>
        </p:sp>
        <p:grpSp>
          <p:nvGrpSpPr>
            <p:cNvPr id="78" name="Group 37"/>
            <p:cNvGrpSpPr>
              <a:grpSpLocks/>
            </p:cNvGrpSpPr>
            <p:nvPr/>
          </p:nvGrpSpPr>
          <p:grpSpPr bwMode="auto">
            <a:xfrm>
              <a:off x="4513383" y="1579568"/>
              <a:ext cx="3427230" cy="872618"/>
              <a:chOff x="5912038" y="4606816"/>
              <a:chExt cx="3427550" cy="874595"/>
            </a:xfrm>
          </p:grpSpPr>
          <p:sp>
            <p:nvSpPr>
              <p:cNvPr id="87" name="Rectangle 2"/>
              <p:cNvSpPr txBox="1">
                <a:spLocks noChangeArrowheads="1"/>
              </p:cNvSpPr>
              <p:nvPr/>
            </p:nvSpPr>
            <p:spPr bwMode="auto">
              <a:xfrm>
                <a:off x="5940495" y="4606816"/>
                <a:ext cx="1959616" cy="728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3600">
                    <a:solidFill>
                      <a:srgbClr val="FFFFFF"/>
                    </a:solidFill>
                    <a:latin typeface="Ericsson Capital TT" pitchFamily="2" charset="0"/>
                    <a:cs typeface="Arial" pitchFamily="34" charset="0"/>
                  </a:rPr>
                  <a:t>90%</a:t>
                </a:r>
              </a:p>
            </p:txBody>
          </p:sp>
          <p:sp>
            <p:nvSpPr>
              <p:cNvPr id="88" name="Rectangle 2"/>
              <p:cNvSpPr txBox="1">
                <a:spLocks noChangeArrowheads="1"/>
              </p:cNvSpPr>
              <p:nvPr/>
            </p:nvSpPr>
            <p:spPr bwMode="auto">
              <a:xfrm>
                <a:off x="6993172" y="4775000"/>
                <a:ext cx="2346416" cy="384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1600" dirty="0">
                    <a:solidFill>
                      <a:srgbClr val="FFFFFF"/>
                    </a:solidFill>
                    <a:latin typeface="Ericsson Capital TT" pitchFamily="2" charset="0"/>
                    <a:cs typeface="Arial" pitchFamily="34" charset="0"/>
                  </a:rPr>
                  <a:t> FLOWTHROUGH</a:t>
                </a:r>
              </a:p>
            </p:txBody>
          </p:sp>
          <p:sp>
            <p:nvSpPr>
              <p:cNvPr id="89" name="textruta 82"/>
              <p:cNvSpPr txBox="1">
                <a:spLocks noChangeArrowheads="1"/>
              </p:cNvSpPr>
              <p:nvPr/>
            </p:nvSpPr>
            <p:spPr bwMode="auto">
              <a:xfrm>
                <a:off x="5912038" y="5178624"/>
                <a:ext cx="1883074" cy="30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eaLnBrk="1" hangingPunct="1">
                  <a:lnSpc>
                    <a:spcPct val="90000"/>
                  </a:lnSpc>
                  <a:spcBef>
                    <a:spcPct val="50000"/>
                  </a:spcBef>
                </a:pPr>
                <a:r>
                  <a:rPr lang="en-US" sz="1200" b="1">
                    <a:solidFill>
                      <a:srgbClr val="FFFFFF"/>
                    </a:solidFill>
                    <a:cs typeface="Arial" pitchFamily="34" charset="0"/>
                  </a:rPr>
                  <a:t>improved from 55%</a:t>
                </a:r>
              </a:p>
            </p:txBody>
          </p:sp>
        </p:grpSp>
        <p:grpSp>
          <p:nvGrpSpPr>
            <p:cNvPr id="79" name="Group 37"/>
            <p:cNvGrpSpPr>
              <a:grpSpLocks/>
            </p:cNvGrpSpPr>
            <p:nvPr/>
          </p:nvGrpSpPr>
          <p:grpSpPr bwMode="auto">
            <a:xfrm>
              <a:off x="4584699" y="2692393"/>
              <a:ext cx="3108326" cy="894679"/>
              <a:chOff x="5940496" y="4606816"/>
              <a:chExt cx="3108084" cy="896228"/>
            </a:xfrm>
          </p:grpSpPr>
          <p:sp>
            <p:nvSpPr>
              <p:cNvPr id="84" name="Rectangle 2"/>
              <p:cNvSpPr txBox="1">
                <a:spLocks noChangeArrowheads="1"/>
              </p:cNvSpPr>
              <p:nvPr/>
            </p:nvSpPr>
            <p:spPr bwMode="auto">
              <a:xfrm>
                <a:off x="5940496" y="4606816"/>
                <a:ext cx="1366838" cy="728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4000">
                    <a:solidFill>
                      <a:srgbClr val="FFFFFF"/>
                    </a:solidFill>
                    <a:latin typeface="Ericsson Capital TT" pitchFamily="2" charset="0"/>
                    <a:cs typeface="Arial" pitchFamily="34" charset="0"/>
                  </a:rPr>
                  <a:t>5</a:t>
                </a:r>
              </a:p>
            </p:txBody>
          </p:sp>
          <p:sp>
            <p:nvSpPr>
              <p:cNvPr id="85" name="Rectangle 2"/>
              <p:cNvSpPr txBox="1">
                <a:spLocks noChangeArrowheads="1"/>
              </p:cNvSpPr>
              <p:nvPr/>
            </p:nvSpPr>
            <p:spPr bwMode="auto">
              <a:xfrm>
                <a:off x="6385132" y="4666076"/>
                <a:ext cx="2663448" cy="384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1600" dirty="0">
                    <a:solidFill>
                      <a:srgbClr val="FFFFFF"/>
                    </a:solidFill>
                    <a:latin typeface="Ericsson Capital TT" pitchFamily="2" charset="0"/>
                    <a:cs typeface="Arial" pitchFamily="34" charset="0"/>
                  </a:rPr>
                  <a:t>MINUTES ORDER</a:t>
                </a:r>
                <a:br>
                  <a:rPr lang="en-US" sz="1600" dirty="0">
                    <a:solidFill>
                      <a:srgbClr val="FFFFFF"/>
                    </a:solidFill>
                    <a:latin typeface="Ericsson Capital TT" pitchFamily="2" charset="0"/>
                    <a:cs typeface="Arial" pitchFamily="34" charset="0"/>
                  </a:rPr>
                </a:br>
                <a:r>
                  <a:rPr lang="en-US" sz="1600" dirty="0">
                    <a:solidFill>
                      <a:srgbClr val="FFFFFF"/>
                    </a:solidFill>
                    <a:latin typeface="Ericsson Capital TT" pitchFamily="2" charset="0"/>
                    <a:cs typeface="Arial" pitchFamily="34" charset="0"/>
                  </a:rPr>
                  <a:t>TO DISPATCH</a:t>
                </a:r>
              </a:p>
            </p:txBody>
          </p:sp>
          <p:sp>
            <p:nvSpPr>
              <p:cNvPr id="86" name="textruta 82"/>
              <p:cNvSpPr txBox="1">
                <a:spLocks noChangeArrowheads="1"/>
              </p:cNvSpPr>
              <p:nvPr/>
            </p:nvSpPr>
            <p:spPr bwMode="auto">
              <a:xfrm>
                <a:off x="5948107" y="5200418"/>
                <a:ext cx="1972656" cy="302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eaLnBrk="1" hangingPunct="1">
                  <a:lnSpc>
                    <a:spcPct val="90000"/>
                  </a:lnSpc>
                  <a:spcBef>
                    <a:spcPct val="50000"/>
                  </a:spcBef>
                </a:pPr>
                <a:r>
                  <a:rPr lang="en-US" sz="1200" b="1">
                    <a:solidFill>
                      <a:srgbClr val="FFFFFF"/>
                    </a:solidFill>
                    <a:cs typeface="Arial" pitchFamily="34" charset="0"/>
                  </a:rPr>
                  <a:t>reduced from 5 days</a:t>
                </a:r>
              </a:p>
            </p:txBody>
          </p:sp>
        </p:grpSp>
        <p:grpSp>
          <p:nvGrpSpPr>
            <p:cNvPr id="80" name="Group 45"/>
            <p:cNvGrpSpPr>
              <a:grpSpLocks/>
            </p:cNvGrpSpPr>
            <p:nvPr/>
          </p:nvGrpSpPr>
          <p:grpSpPr bwMode="auto">
            <a:xfrm>
              <a:off x="4592639" y="3752847"/>
              <a:ext cx="3328987" cy="873650"/>
              <a:chOff x="5940495" y="4606816"/>
              <a:chExt cx="3328419" cy="874050"/>
            </a:xfrm>
          </p:grpSpPr>
          <p:sp>
            <p:nvSpPr>
              <p:cNvPr id="81" name="Rectangle 2"/>
              <p:cNvSpPr txBox="1">
                <a:spLocks noChangeArrowheads="1"/>
              </p:cNvSpPr>
              <p:nvPr/>
            </p:nvSpPr>
            <p:spPr bwMode="auto">
              <a:xfrm>
                <a:off x="5940495" y="4606816"/>
                <a:ext cx="1959616" cy="728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3600">
                    <a:solidFill>
                      <a:srgbClr val="FFFFFF"/>
                    </a:solidFill>
                    <a:latin typeface="Ericsson Capital TT" pitchFamily="2" charset="0"/>
                    <a:cs typeface="Arial" pitchFamily="34" charset="0"/>
                  </a:rPr>
                  <a:t>200%</a:t>
                </a:r>
              </a:p>
            </p:txBody>
          </p:sp>
          <p:sp>
            <p:nvSpPr>
              <p:cNvPr id="82" name="Rectangle 2"/>
              <p:cNvSpPr txBox="1">
                <a:spLocks noChangeArrowheads="1"/>
              </p:cNvSpPr>
              <p:nvPr/>
            </p:nvSpPr>
            <p:spPr bwMode="auto">
              <a:xfrm>
                <a:off x="7377654" y="4775138"/>
                <a:ext cx="1891260" cy="384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1600" dirty="0">
                    <a:solidFill>
                      <a:srgbClr val="FFFFFF"/>
                    </a:solidFill>
                    <a:latin typeface="Ericsson Capital TT" pitchFamily="2" charset="0"/>
                    <a:cs typeface="Arial" pitchFamily="34" charset="0"/>
                  </a:rPr>
                  <a:t> INCREASE</a:t>
                </a:r>
              </a:p>
            </p:txBody>
          </p:sp>
          <p:sp>
            <p:nvSpPr>
              <p:cNvPr id="83" name="textruta 82"/>
              <p:cNvSpPr txBox="1">
                <a:spLocks noChangeArrowheads="1"/>
              </p:cNvSpPr>
              <p:nvPr/>
            </p:nvSpPr>
            <p:spPr bwMode="auto">
              <a:xfrm>
                <a:off x="5953090" y="5178625"/>
                <a:ext cx="2832106" cy="302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eaLnBrk="1" hangingPunct="1">
                  <a:lnSpc>
                    <a:spcPct val="90000"/>
                  </a:lnSpc>
                  <a:spcBef>
                    <a:spcPct val="50000"/>
                  </a:spcBef>
                </a:pPr>
                <a:r>
                  <a:rPr lang="en-US" sz="1200" b="1">
                    <a:solidFill>
                      <a:srgbClr val="FFFFFF"/>
                    </a:solidFill>
                    <a:cs typeface="Arial" pitchFamily="34" charset="0"/>
                  </a:rPr>
                  <a:t>work managed by current staff</a:t>
                </a:r>
              </a:p>
            </p:txBody>
          </p:sp>
        </p:grpSp>
      </p:grpSp>
      <p:grpSp>
        <p:nvGrpSpPr>
          <p:cNvPr id="90" name="Group 3"/>
          <p:cNvGrpSpPr>
            <a:grpSpLocks/>
          </p:cNvGrpSpPr>
          <p:nvPr/>
        </p:nvGrpSpPr>
        <p:grpSpPr bwMode="auto">
          <a:xfrm>
            <a:off x="3080791" y="1785248"/>
            <a:ext cx="3184649" cy="4259036"/>
            <a:chOff x="8166100" y="1436688"/>
            <a:chExt cx="3721361" cy="4976812"/>
          </a:xfrm>
        </p:grpSpPr>
        <p:sp>
          <p:nvSpPr>
            <p:cNvPr id="91" name="Rounded Rectangle 18"/>
            <p:cNvSpPr>
              <a:spLocks noChangeArrowheads="1"/>
            </p:cNvSpPr>
            <p:nvPr/>
          </p:nvSpPr>
          <p:spPr bwMode="auto">
            <a:xfrm>
              <a:off x="8285163" y="1436688"/>
              <a:ext cx="3179762" cy="3695700"/>
            </a:xfrm>
            <a:prstGeom prst="roundRect">
              <a:avLst>
                <a:gd name="adj" fmla="val 4287"/>
              </a:avLst>
            </a:prstGeom>
            <a:solidFill>
              <a:srgbClr val="007B78"/>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lgn="l">
                <a:lnSpc>
                  <a:spcPct val="90000"/>
                </a:lnSpc>
                <a:spcBef>
                  <a:spcPct val="50000"/>
                </a:spcBef>
              </a:pPr>
              <a:endParaRPr lang="en-US" sz="1800">
                <a:solidFill>
                  <a:srgbClr val="58585A"/>
                </a:solidFill>
                <a:cs typeface="Arial" pitchFamily="34" charset="0"/>
              </a:endParaRPr>
            </a:p>
          </p:txBody>
        </p:sp>
        <p:sp>
          <p:nvSpPr>
            <p:cNvPr id="92" name="Freeform 22"/>
            <p:cNvSpPr>
              <a:spLocks noChangeAspect="1"/>
            </p:cNvSpPr>
            <p:nvPr/>
          </p:nvSpPr>
          <p:spPr bwMode="auto">
            <a:xfrm rot="-5400000">
              <a:off x="9008269" y="3839369"/>
              <a:ext cx="1731962" cy="3416300"/>
            </a:xfrm>
            <a:custGeom>
              <a:avLst/>
              <a:gdLst>
                <a:gd name="T0" fmla="*/ 2147483647 w 462"/>
                <a:gd name="T1" fmla="*/ 2147483647 h 911"/>
                <a:gd name="T2" fmla="*/ 2147483647 w 462"/>
                <a:gd name="T3" fmla="*/ 2147483647 h 911"/>
                <a:gd name="T4" fmla="*/ 2147483647 w 462"/>
                <a:gd name="T5" fmla="*/ 2147483647 h 911"/>
                <a:gd name="T6" fmla="*/ 2147483647 w 462"/>
                <a:gd name="T7" fmla="*/ 2147483647 h 911"/>
                <a:gd name="T8" fmla="*/ 2147483647 w 462"/>
                <a:gd name="T9" fmla="*/ 2147483647 h 911"/>
                <a:gd name="T10" fmla="*/ 2147483647 w 462"/>
                <a:gd name="T11" fmla="*/ 2147483647 h 911"/>
                <a:gd name="T12" fmla="*/ 2147483647 w 462"/>
                <a:gd name="T13" fmla="*/ 2147483647 h 911"/>
                <a:gd name="T14" fmla="*/ 0 w 462"/>
                <a:gd name="T15" fmla="*/ 2147483647 h 911"/>
                <a:gd name="T16" fmla="*/ 0 w 462"/>
                <a:gd name="T17" fmla="*/ 2147483647 h 911"/>
                <a:gd name="T18" fmla="*/ 2147483647 w 462"/>
                <a:gd name="T19" fmla="*/ 2147483647 h 911"/>
                <a:gd name="T20" fmla="*/ 2147483647 w 462"/>
                <a:gd name="T21" fmla="*/ 2147483647 h 911"/>
                <a:gd name="T22" fmla="*/ 2147483647 w 462"/>
                <a:gd name="T23" fmla="*/ 2147483647 h 911"/>
                <a:gd name="T24" fmla="*/ 2147483647 w 462"/>
                <a:gd name="T25" fmla="*/ 2147483647 h 911"/>
                <a:gd name="T26" fmla="*/ 2147483647 w 462"/>
                <a:gd name="T27" fmla="*/ 2147483647 h 9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2"/>
                <a:gd name="T43" fmla="*/ 0 h 911"/>
                <a:gd name="T44" fmla="*/ 462 w 462"/>
                <a:gd name="T45" fmla="*/ 911 h 9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2" h="911">
                  <a:moveTo>
                    <a:pt x="459" y="472"/>
                  </a:moveTo>
                  <a:cubicBezTo>
                    <a:pt x="461" y="462"/>
                    <a:pt x="462" y="462"/>
                    <a:pt x="462" y="455"/>
                  </a:cubicBezTo>
                  <a:cubicBezTo>
                    <a:pt x="462" y="448"/>
                    <a:pt x="462" y="449"/>
                    <a:pt x="459" y="439"/>
                  </a:cubicBezTo>
                  <a:cubicBezTo>
                    <a:pt x="454" y="421"/>
                    <a:pt x="358" y="44"/>
                    <a:pt x="351" y="16"/>
                  </a:cubicBezTo>
                  <a:cubicBezTo>
                    <a:pt x="347" y="0"/>
                    <a:pt x="324" y="6"/>
                    <a:pt x="323" y="26"/>
                  </a:cubicBezTo>
                  <a:cubicBezTo>
                    <a:pt x="323" y="30"/>
                    <a:pt x="323" y="36"/>
                    <a:pt x="323" y="42"/>
                  </a:cubicBezTo>
                  <a:cubicBezTo>
                    <a:pt x="14" y="42"/>
                    <a:pt x="14" y="42"/>
                    <a:pt x="14" y="42"/>
                  </a:cubicBezTo>
                  <a:cubicBezTo>
                    <a:pt x="6" y="42"/>
                    <a:pt x="0" y="49"/>
                    <a:pt x="0" y="56"/>
                  </a:cubicBezTo>
                  <a:cubicBezTo>
                    <a:pt x="0" y="854"/>
                    <a:pt x="0" y="854"/>
                    <a:pt x="0" y="854"/>
                  </a:cubicBezTo>
                  <a:cubicBezTo>
                    <a:pt x="0" y="862"/>
                    <a:pt x="6" y="868"/>
                    <a:pt x="14" y="868"/>
                  </a:cubicBezTo>
                  <a:cubicBezTo>
                    <a:pt x="323" y="868"/>
                    <a:pt x="323" y="868"/>
                    <a:pt x="323" y="868"/>
                  </a:cubicBezTo>
                  <a:cubicBezTo>
                    <a:pt x="323" y="875"/>
                    <a:pt x="323" y="881"/>
                    <a:pt x="323" y="885"/>
                  </a:cubicBezTo>
                  <a:cubicBezTo>
                    <a:pt x="324" y="905"/>
                    <a:pt x="346" y="911"/>
                    <a:pt x="350" y="896"/>
                  </a:cubicBezTo>
                  <a:cubicBezTo>
                    <a:pt x="358" y="870"/>
                    <a:pt x="455" y="488"/>
                    <a:pt x="459" y="472"/>
                  </a:cubicBezTo>
                  <a:close/>
                </a:path>
              </a:pathLst>
            </a:custGeom>
            <a:solidFill>
              <a:srgbClr val="C8DBD9">
                <a:alpha val="50195"/>
              </a:srgbClr>
            </a:solidFill>
            <a:ln w="12700" cap="flat" cmpd="sng" algn="ctr">
              <a:solidFill>
                <a:srgbClr val="00625F"/>
              </a:solidFill>
              <a:prstDash val="solid"/>
              <a:round/>
              <a:headEnd type="none" w="med" len="med"/>
              <a:tailEnd type="none" w="med" len="med"/>
            </a:ln>
          </p:spPr>
          <p:txBody>
            <a:bodyPr wrap="none" lIns="72000" rIns="72000"/>
            <a:lstStyle/>
            <a:p>
              <a:pPr algn="l">
                <a:lnSpc>
                  <a:spcPct val="90000"/>
                </a:lnSpc>
              </a:pPr>
              <a:endParaRPr lang="en-US" sz="1800"/>
            </a:p>
          </p:txBody>
        </p:sp>
        <p:sp>
          <p:nvSpPr>
            <p:cNvPr id="93" name="Rectangle 6"/>
            <p:cNvSpPr>
              <a:spLocks noChangeArrowheads="1"/>
            </p:cNvSpPr>
            <p:nvPr/>
          </p:nvSpPr>
          <p:spPr bwMode="auto">
            <a:xfrm>
              <a:off x="8391526" y="5368925"/>
              <a:ext cx="2468563" cy="981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l">
                <a:lnSpc>
                  <a:spcPct val="90000"/>
                </a:lnSpc>
                <a:spcBef>
                  <a:spcPct val="50000"/>
                </a:spcBef>
              </a:pPr>
              <a:r>
                <a:rPr lang="sv-SE" sz="1800" b="1">
                  <a:solidFill>
                    <a:srgbClr val="00625F"/>
                  </a:solidFill>
                  <a:cs typeface="Arial" pitchFamily="34" charset="0"/>
                </a:rPr>
                <a:t>IMPROVED CUSTOMER EXPERIENCE</a:t>
              </a:r>
            </a:p>
          </p:txBody>
        </p:sp>
        <p:sp>
          <p:nvSpPr>
            <p:cNvPr id="94" name="Freeform 3"/>
            <p:cNvSpPr>
              <a:spLocks noChangeAspect="1" noEditPoints="1"/>
            </p:cNvSpPr>
            <p:nvPr/>
          </p:nvSpPr>
          <p:spPr bwMode="auto">
            <a:xfrm>
              <a:off x="10648950" y="5541963"/>
              <a:ext cx="619125" cy="727075"/>
            </a:xfrm>
            <a:custGeom>
              <a:avLst/>
              <a:gdLst>
                <a:gd name="T0" fmla="*/ 2147483647 w 384"/>
                <a:gd name="T1" fmla="*/ 2147483647 h 451"/>
                <a:gd name="T2" fmla="*/ 2147483647 w 384"/>
                <a:gd name="T3" fmla="*/ 2147483647 h 451"/>
                <a:gd name="T4" fmla="*/ 2147483647 w 384"/>
                <a:gd name="T5" fmla="*/ 2147483647 h 451"/>
                <a:gd name="T6" fmla="*/ 2147483647 w 384"/>
                <a:gd name="T7" fmla="*/ 2147483647 h 451"/>
                <a:gd name="T8" fmla="*/ 2147483647 w 384"/>
                <a:gd name="T9" fmla="*/ 2147483647 h 451"/>
                <a:gd name="T10" fmla="*/ 2147483647 w 384"/>
                <a:gd name="T11" fmla="*/ 2147483647 h 451"/>
                <a:gd name="T12" fmla="*/ 2147483647 w 384"/>
                <a:gd name="T13" fmla="*/ 2147483647 h 451"/>
                <a:gd name="T14" fmla="*/ 2147483647 w 384"/>
                <a:gd name="T15" fmla="*/ 2147483647 h 451"/>
                <a:gd name="T16" fmla="*/ 2147483647 w 384"/>
                <a:gd name="T17" fmla="*/ 2147483647 h 451"/>
                <a:gd name="T18" fmla="*/ 2147483647 w 384"/>
                <a:gd name="T19" fmla="*/ 2147483647 h 451"/>
                <a:gd name="T20" fmla="*/ 2147483647 w 384"/>
                <a:gd name="T21" fmla="*/ 2147483647 h 451"/>
                <a:gd name="T22" fmla="*/ 0 w 384"/>
                <a:gd name="T23" fmla="*/ 2147483647 h 451"/>
                <a:gd name="T24" fmla="*/ 0 w 384"/>
                <a:gd name="T25" fmla="*/ 2147483647 h 451"/>
                <a:gd name="T26" fmla="*/ 2147483647 w 384"/>
                <a:gd name="T27" fmla="*/ 2147483647 h 451"/>
                <a:gd name="T28" fmla="*/ 2147483647 w 384"/>
                <a:gd name="T29" fmla="*/ 2147483647 h 451"/>
                <a:gd name="T30" fmla="*/ 2147483647 w 384"/>
                <a:gd name="T31" fmla="*/ 2147483647 h 451"/>
                <a:gd name="T32" fmla="*/ 2147483647 w 384"/>
                <a:gd name="T33" fmla="*/ 2147483647 h 451"/>
                <a:gd name="T34" fmla="*/ 2147483647 w 384"/>
                <a:gd name="T35" fmla="*/ 2147483647 h 451"/>
                <a:gd name="T36" fmla="*/ 2147483647 w 384"/>
                <a:gd name="T37" fmla="*/ 2147483647 h 451"/>
                <a:gd name="T38" fmla="*/ 2147483647 w 384"/>
                <a:gd name="T39" fmla="*/ 2147483647 h 451"/>
                <a:gd name="T40" fmla="*/ 2147483647 w 384"/>
                <a:gd name="T41" fmla="*/ 2147483647 h 451"/>
                <a:gd name="T42" fmla="*/ 2147483647 w 384"/>
                <a:gd name="T43" fmla="*/ 2147483647 h 451"/>
                <a:gd name="T44" fmla="*/ 2147483647 w 384"/>
                <a:gd name="T45" fmla="*/ 2147483647 h 451"/>
                <a:gd name="T46" fmla="*/ 2147483647 w 384"/>
                <a:gd name="T47" fmla="*/ 2147483647 h 451"/>
                <a:gd name="T48" fmla="*/ 2147483647 w 384"/>
                <a:gd name="T49" fmla="*/ 2147483647 h 451"/>
                <a:gd name="T50" fmla="*/ 2147483647 w 384"/>
                <a:gd name="T51" fmla="*/ 2147483647 h 451"/>
                <a:gd name="T52" fmla="*/ 2147483647 w 384"/>
                <a:gd name="T53" fmla="*/ 2147483647 h 451"/>
                <a:gd name="T54" fmla="*/ 2147483647 w 384"/>
                <a:gd name="T55" fmla="*/ 2147483647 h 451"/>
                <a:gd name="T56" fmla="*/ 2147483647 w 384"/>
                <a:gd name="T57" fmla="*/ 2147483647 h 451"/>
                <a:gd name="T58" fmla="*/ 2147483647 w 384"/>
                <a:gd name="T59" fmla="*/ 2147483647 h 451"/>
                <a:gd name="T60" fmla="*/ 2147483647 w 384"/>
                <a:gd name="T61" fmla="*/ 2147483647 h 451"/>
                <a:gd name="T62" fmla="*/ 2147483647 w 384"/>
                <a:gd name="T63" fmla="*/ 2147483647 h 451"/>
                <a:gd name="T64" fmla="*/ 2147483647 w 384"/>
                <a:gd name="T65" fmla="*/ 2147483647 h 451"/>
                <a:gd name="T66" fmla="*/ 2147483647 w 384"/>
                <a:gd name="T67" fmla="*/ 2147483647 h 451"/>
                <a:gd name="T68" fmla="*/ 2147483647 w 384"/>
                <a:gd name="T69" fmla="*/ 2147483647 h 451"/>
                <a:gd name="T70" fmla="*/ 2147483647 w 384"/>
                <a:gd name="T71" fmla="*/ 2147483647 h 451"/>
                <a:gd name="T72" fmla="*/ 2147483647 w 384"/>
                <a:gd name="T73" fmla="*/ 2147483647 h 451"/>
                <a:gd name="T74" fmla="*/ 2147483647 w 384"/>
                <a:gd name="T75" fmla="*/ 2147483647 h 451"/>
                <a:gd name="T76" fmla="*/ 2147483647 w 384"/>
                <a:gd name="T77" fmla="*/ 2147483647 h 451"/>
                <a:gd name="T78" fmla="*/ 2147483647 w 384"/>
                <a:gd name="T79" fmla="*/ 2147483647 h 451"/>
                <a:gd name="T80" fmla="*/ 2147483647 w 384"/>
                <a:gd name="T81" fmla="*/ 2147483647 h 451"/>
                <a:gd name="T82" fmla="*/ 2147483647 w 384"/>
                <a:gd name="T83" fmla="*/ 2147483647 h 451"/>
                <a:gd name="T84" fmla="*/ 2147483647 w 384"/>
                <a:gd name="T85" fmla="*/ 2147483647 h 451"/>
                <a:gd name="T86" fmla="*/ 2147483647 w 384"/>
                <a:gd name="T87" fmla="*/ 2147483647 h 451"/>
                <a:gd name="T88" fmla="*/ 2147483647 w 384"/>
                <a:gd name="T89" fmla="*/ 2147483647 h 451"/>
                <a:gd name="T90" fmla="*/ 2147483647 w 384"/>
                <a:gd name="T91" fmla="*/ 2147483647 h 451"/>
                <a:gd name="T92" fmla="*/ 2147483647 w 384"/>
                <a:gd name="T93" fmla="*/ 2147483647 h 45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84" h="451">
                  <a:moveTo>
                    <a:pt x="240" y="101"/>
                  </a:moveTo>
                  <a:cubicBezTo>
                    <a:pt x="236" y="101"/>
                    <a:pt x="232" y="104"/>
                    <a:pt x="232" y="109"/>
                  </a:cubicBezTo>
                  <a:cubicBezTo>
                    <a:pt x="231" y="113"/>
                    <a:pt x="235" y="117"/>
                    <a:pt x="239" y="117"/>
                  </a:cubicBezTo>
                  <a:cubicBezTo>
                    <a:pt x="303" y="122"/>
                    <a:pt x="368" y="172"/>
                    <a:pt x="368" y="259"/>
                  </a:cubicBezTo>
                  <a:cubicBezTo>
                    <a:pt x="368" y="275"/>
                    <a:pt x="366" y="290"/>
                    <a:pt x="362" y="305"/>
                  </a:cubicBezTo>
                  <a:cubicBezTo>
                    <a:pt x="361" y="291"/>
                    <a:pt x="351" y="279"/>
                    <a:pt x="341" y="274"/>
                  </a:cubicBezTo>
                  <a:cubicBezTo>
                    <a:pt x="347" y="267"/>
                    <a:pt x="350" y="258"/>
                    <a:pt x="350" y="248"/>
                  </a:cubicBezTo>
                  <a:cubicBezTo>
                    <a:pt x="350" y="225"/>
                    <a:pt x="331" y="207"/>
                    <a:pt x="309" y="207"/>
                  </a:cubicBezTo>
                  <a:cubicBezTo>
                    <a:pt x="286" y="207"/>
                    <a:pt x="267" y="225"/>
                    <a:pt x="267" y="248"/>
                  </a:cubicBezTo>
                  <a:cubicBezTo>
                    <a:pt x="267" y="258"/>
                    <a:pt x="271" y="267"/>
                    <a:pt x="277" y="275"/>
                  </a:cubicBezTo>
                  <a:cubicBezTo>
                    <a:pt x="269" y="279"/>
                    <a:pt x="260" y="287"/>
                    <a:pt x="258" y="301"/>
                  </a:cubicBezTo>
                  <a:cubicBezTo>
                    <a:pt x="252" y="294"/>
                    <a:pt x="245" y="289"/>
                    <a:pt x="239" y="286"/>
                  </a:cubicBezTo>
                  <a:cubicBezTo>
                    <a:pt x="249" y="274"/>
                    <a:pt x="256" y="259"/>
                    <a:pt x="256" y="243"/>
                  </a:cubicBezTo>
                  <a:cubicBezTo>
                    <a:pt x="256" y="208"/>
                    <a:pt x="227" y="180"/>
                    <a:pt x="192" y="180"/>
                  </a:cubicBezTo>
                  <a:cubicBezTo>
                    <a:pt x="158" y="180"/>
                    <a:pt x="129" y="208"/>
                    <a:pt x="129" y="243"/>
                  </a:cubicBezTo>
                  <a:cubicBezTo>
                    <a:pt x="129" y="259"/>
                    <a:pt x="136" y="274"/>
                    <a:pt x="146" y="286"/>
                  </a:cubicBezTo>
                  <a:cubicBezTo>
                    <a:pt x="140" y="289"/>
                    <a:pt x="133" y="294"/>
                    <a:pt x="127" y="301"/>
                  </a:cubicBezTo>
                  <a:cubicBezTo>
                    <a:pt x="125" y="287"/>
                    <a:pt x="116" y="279"/>
                    <a:pt x="108" y="275"/>
                  </a:cubicBezTo>
                  <a:cubicBezTo>
                    <a:pt x="114" y="267"/>
                    <a:pt x="118" y="258"/>
                    <a:pt x="118" y="248"/>
                  </a:cubicBezTo>
                  <a:cubicBezTo>
                    <a:pt x="118" y="225"/>
                    <a:pt x="99" y="207"/>
                    <a:pt x="76" y="207"/>
                  </a:cubicBezTo>
                  <a:cubicBezTo>
                    <a:pt x="54" y="207"/>
                    <a:pt x="35" y="225"/>
                    <a:pt x="35" y="248"/>
                  </a:cubicBezTo>
                  <a:cubicBezTo>
                    <a:pt x="35" y="258"/>
                    <a:pt x="38" y="267"/>
                    <a:pt x="44" y="274"/>
                  </a:cubicBezTo>
                  <a:cubicBezTo>
                    <a:pt x="34" y="279"/>
                    <a:pt x="24" y="292"/>
                    <a:pt x="23" y="307"/>
                  </a:cubicBezTo>
                  <a:cubicBezTo>
                    <a:pt x="18" y="292"/>
                    <a:pt x="16" y="276"/>
                    <a:pt x="16" y="260"/>
                  </a:cubicBezTo>
                  <a:cubicBezTo>
                    <a:pt x="16" y="124"/>
                    <a:pt x="106" y="90"/>
                    <a:pt x="162" y="83"/>
                  </a:cubicBezTo>
                  <a:cubicBezTo>
                    <a:pt x="166" y="99"/>
                    <a:pt x="166" y="99"/>
                    <a:pt x="166" y="99"/>
                  </a:cubicBezTo>
                  <a:cubicBezTo>
                    <a:pt x="167" y="102"/>
                    <a:pt x="169" y="104"/>
                    <a:pt x="172" y="105"/>
                  </a:cubicBezTo>
                  <a:cubicBezTo>
                    <a:pt x="175" y="106"/>
                    <a:pt x="178" y="104"/>
                    <a:pt x="180" y="102"/>
                  </a:cubicBezTo>
                  <a:cubicBezTo>
                    <a:pt x="225" y="43"/>
                    <a:pt x="225" y="43"/>
                    <a:pt x="225" y="43"/>
                  </a:cubicBezTo>
                  <a:cubicBezTo>
                    <a:pt x="226" y="41"/>
                    <a:pt x="227" y="38"/>
                    <a:pt x="226" y="36"/>
                  </a:cubicBezTo>
                  <a:cubicBezTo>
                    <a:pt x="226" y="34"/>
                    <a:pt x="224" y="32"/>
                    <a:pt x="222" y="31"/>
                  </a:cubicBezTo>
                  <a:cubicBezTo>
                    <a:pt x="154" y="1"/>
                    <a:pt x="154" y="1"/>
                    <a:pt x="154" y="1"/>
                  </a:cubicBezTo>
                  <a:cubicBezTo>
                    <a:pt x="151" y="0"/>
                    <a:pt x="148" y="1"/>
                    <a:pt x="145" y="3"/>
                  </a:cubicBezTo>
                  <a:cubicBezTo>
                    <a:pt x="143" y="5"/>
                    <a:pt x="142" y="8"/>
                    <a:pt x="143" y="11"/>
                  </a:cubicBezTo>
                  <a:cubicBezTo>
                    <a:pt x="147" y="26"/>
                    <a:pt x="147" y="26"/>
                    <a:pt x="147" y="26"/>
                  </a:cubicBezTo>
                  <a:cubicBezTo>
                    <a:pt x="108" y="38"/>
                    <a:pt x="1" y="115"/>
                    <a:pt x="0" y="258"/>
                  </a:cubicBezTo>
                  <a:cubicBezTo>
                    <a:pt x="0" y="259"/>
                    <a:pt x="0" y="259"/>
                    <a:pt x="0" y="259"/>
                  </a:cubicBezTo>
                  <a:cubicBezTo>
                    <a:pt x="0" y="259"/>
                    <a:pt x="0" y="259"/>
                    <a:pt x="0" y="259"/>
                  </a:cubicBezTo>
                  <a:cubicBezTo>
                    <a:pt x="0" y="259"/>
                    <a:pt x="0" y="259"/>
                    <a:pt x="0" y="259"/>
                  </a:cubicBezTo>
                  <a:cubicBezTo>
                    <a:pt x="0" y="259"/>
                    <a:pt x="0" y="259"/>
                    <a:pt x="0" y="259"/>
                  </a:cubicBezTo>
                  <a:cubicBezTo>
                    <a:pt x="0" y="365"/>
                    <a:pt x="86" y="451"/>
                    <a:pt x="192" y="451"/>
                  </a:cubicBezTo>
                  <a:cubicBezTo>
                    <a:pt x="298" y="451"/>
                    <a:pt x="384" y="365"/>
                    <a:pt x="384" y="259"/>
                  </a:cubicBezTo>
                  <a:cubicBezTo>
                    <a:pt x="384" y="162"/>
                    <a:pt x="312" y="107"/>
                    <a:pt x="240" y="101"/>
                  </a:cubicBezTo>
                  <a:close/>
                  <a:moveTo>
                    <a:pt x="159" y="39"/>
                  </a:moveTo>
                  <a:cubicBezTo>
                    <a:pt x="161" y="39"/>
                    <a:pt x="163" y="37"/>
                    <a:pt x="164" y="35"/>
                  </a:cubicBezTo>
                  <a:cubicBezTo>
                    <a:pt x="165" y="34"/>
                    <a:pt x="165" y="31"/>
                    <a:pt x="165" y="29"/>
                  </a:cubicBezTo>
                  <a:cubicBezTo>
                    <a:pt x="163" y="23"/>
                    <a:pt x="163" y="23"/>
                    <a:pt x="163" y="23"/>
                  </a:cubicBezTo>
                  <a:cubicBezTo>
                    <a:pt x="206" y="41"/>
                    <a:pt x="206" y="41"/>
                    <a:pt x="206" y="41"/>
                  </a:cubicBezTo>
                  <a:cubicBezTo>
                    <a:pt x="177" y="79"/>
                    <a:pt x="177" y="79"/>
                    <a:pt x="177" y="79"/>
                  </a:cubicBezTo>
                  <a:cubicBezTo>
                    <a:pt x="176" y="74"/>
                    <a:pt x="176" y="74"/>
                    <a:pt x="176" y="74"/>
                  </a:cubicBezTo>
                  <a:cubicBezTo>
                    <a:pt x="175" y="71"/>
                    <a:pt x="172" y="68"/>
                    <a:pt x="169" y="68"/>
                  </a:cubicBezTo>
                  <a:cubicBezTo>
                    <a:pt x="169" y="68"/>
                    <a:pt x="168" y="68"/>
                    <a:pt x="167" y="68"/>
                  </a:cubicBezTo>
                  <a:cubicBezTo>
                    <a:pt x="163" y="69"/>
                    <a:pt x="163" y="69"/>
                    <a:pt x="163" y="69"/>
                  </a:cubicBezTo>
                  <a:cubicBezTo>
                    <a:pt x="143" y="71"/>
                    <a:pt x="106" y="75"/>
                    <a:pt x="75" y="99"/>
                  </a:cubicBezTo>
                  <a:cubicBezTo>
                    <a:pt x="110" y="51"/>
                    <a:pt x="158" y="39"/>
                    <a:pt x="159" y="39"/>
                  </a:cubicBezTo>
                  <a:close/>
                  <a:moveTo>
                    <a:pt x="76" y="223"/>
                  </a:moveTo>
                  <a:cubicBezTo>
                    <a:pt x="90" y="223"/>
                    <a:pt x="102" y="234"/>
                    <a:pt x="102" y="248"/>
                  </a:cubicBezTo>
                  <a:cubicBezTo>
                    <a:pt x="102" y="262"/>
                    <a:pt x="90" y="273"/>
                    <a:pt x="76" y="273"/>
                  </a:cubicBezTo>
                  <a:cubicBezTo>
                    <a:pt x="62" y="273"/>
                    <a:pt x="51" y="262"/>
                    <a:pt x="51" y="248"/>
                  </a:cubicBezTo>
                  <a:cubicBezTo>
                    <a:pt x="51" y="234"/>
                    <a:pt x="62" y="223"/>
                    <a:pt x="76" y="223"/>
                  </a:cubicBezTo>
                  <a:close/>
                  <a:moveTo>
                    <a:pt x="112" y="415"/>
                  </a:moveTo>
                  <a:cubicBezTo>
                    <a:pt x="111" y="415"/>
                    <a:pt x="111" y="415"/>
                    <a:pt x="111" y="415"/>
                  </a:cubicBezTo>
                  <a:cubicBezTo>
                    <a:pt x="109" y="414"/>
                    <a:pt x="107" y="413"/>
                    <a:pt x="106" y="412"/>
                  </a:cubicBezTo>
                  <a:cubicBezTo>
                    <a:pt x="105" y="412"/>
                    <a:pt x="104" y="411"/>
                    <a:pt x="103" y="410"/>
                  </a:cubicBezTo>
                  <a:cubicBezTo>
                    <a:pt x="100" y="409"/>
                    <a:pt x="98" y="407"/>
                    <a:pt x="95" y="406"/>
                  </a:cubicBezTo>
                  <a:cubicBezTo>
                    <a:pt x="94" y="405"/>
                    <a:pt x="93" y="404"/>
                    <a:pt x="91" y="403"/>
                  </a:cubicBezTo>
                  <a:cubicBezTo>
                    <a:pt x="89" y="402"/>
                    <a:pt x="88" y="401"/>
                    <a:pt x="86" y="399"/>
                  </a:cubicBezTo>
                  <a:cubicBezTo>
                    <a:pt x="84" y="398"/>
                    <a:pt x="83" y="397"/>
                    <a:pt x="81" y="395"/>
                  </a:cubicBezTo>
                  <a:cubicBezTo>
                    <a:pt x="80" y="395"/>
                    <a:pt x="80" y="394"/>
                    <a:pt x="79" y="394"/>
                  </a:cubicBezTo>
                  <a:cubicBezTo>
                    <a:pt x="63" y="380"/>
                    <a:pt x="49" y="364"/>
                    <a:pt x="39" y="345"/>
                  </a:cubicBezTo>
                  <a:cubicBezTo>
                    <a:pt x="39" y="309"/>
                    <a:pt x="39" y="309"/>
                    <a:pt x="39" y="309"/>
                  </a:cubicBezTo>
                  <a:cubicBezTo>
                    <a:pt x="39" y="297"/>
                    <a:pt x="50" y="287"/>
                    <a:pt x="55" y="286"/>
                  </a:cubicBezTo>
                  <a:cubicBezTo>
                    <a:pt x="56" y="286"/>
                    <a:pt x="57" y="285"/>
                    <a:pt x="58" y="285"/>
                  </a:cubicBezTo>
                  <a:cubicBezTo>
                    <a:pt x="63" y="288"/>
                    <a:pt x="70" y="289"/>
                    <a:pt x="76" y="289"/>
                  </a:cubicBezTo>
                  <a:cubicBezTo>
                    <a:pt x="83" y="289"/>
                    <a:pt x="88" y="288"/>
                    <a:pt x="94" y="286"/>
                  </a:cubicBezTo>
                  <a:cubicBezTo>
                    <a:pt x="94" y="286"/>
                    <a:pt x="94" y="286"/>
                    <a:pt x="94" y="286"/>
                  </a:cubicBezTo>
                  <a:cubicBezTo>
                    <a:pt x="104" y="290"/>
                    <a:pt x="112" y="294"/>
                    <a:pt x="112" y="308"/>
                  </a:cubicBezTo>
                  <a:lnTo>
                    <a:pt x="112" y="415"/>
                  </a:lnTo>
                  <a:close/>
                  <a:moveTo>
                    <a:pt x="145" y="243"/>
                  </a:moveTo>
                  <a:cubicBezTo>
                    <a:pt x="145" y="217"/>
                    <a:pt x="167" y="196"/>
                    <a:pt x="192" y="196"/>
                  </a:cubicBezTo>
                  <a:cubicBezTo>
                    <a:pt x="218" y="196"/>
                    <a:pt x="240" y="217"/>
                    <a:pt x="240" y="243"/>
                  </a:cubicBezTo>
                  <a:cubicBezTo>
                    <a:pt x="240" y="269"/>
                    <a:pt x="218" y="290"/>
                    <a:pt x="192" y="290"/>
                  </a:cubicBezTo>
                  <a:cubicBezTo>
                    <a:pt x="167" y="290"/>
                    <a:pt x="145" y="269"/>
                    <a:pt x="145" y="243"/>
                  </a:cubicBezTo>
                  <a:close/>
                  <a:moveTo>
                    <a:pt x="257" y="422"/>
                  </a:moveTo>
                  <a:cubicBezTo>
                    <a:pt x="256" y="423"/>
                    <a:pt x="255" y="423"/>
                    <a:pt x="253" y="424"/>
                  </a:cubicBezTo>
                  <a:cubicBezTo>
                    <a:pt x="253" y="424"/>
                    <a:pt x="252" y="424"/>
                    <a:pt x="252" y="424"/>
                  </a:cubicBezTo>
                  <a:cubicBezTo>
                    <a:pt x="250" y="425"/>
                    <a:pt x="248" y="426"/>
                    <a:pt x="247" y="426"/>
                  </a:cubicBezTo>
                  <a:cubicBezTo>
                    <a:pt x="245" y="427"/>
                    <a:pt x="244" y="427"/>
                    <a:pt x="243" y="427"/>
                  </a:cubicBezTo>
                  <a:cubicBezTo>
                    <a:pt x="242" y="428"/>
                    <a:pt x="241" y="428"/>
                    <a:pt x="240" y="428"/>
                  </a:cubicBezTo>
                  <a:cubicBezTo>
                    <a:pt x="238" y="429"/>
                    <a:pt x="236" y="429"/>
                    <a:pt x="234" y="430"/>
                  </a:cubicBezTo>
                  <a:cubicBezTo>
                    <a:pt x="234" y="430"/>
                    <a:pt x="233" y="430"/>
                    <a:pt x="233" y="430"/>
                  </a:cubicBezTo>
                  <a:cubicBezTo>
                    <a:pt x="218" y="434"/>
                    <a:pt x="202" y="435"/>
                    <a:pt x="186" y="435"/>
                  </a:cubicBezTo>
                  <a:cubicBezTo>
                    <a:pt x="186" y="435"/>
                    <a:pt x="185" y="435"/>
                    <a:pt x="185" y="435"/>
                  </a:cubicBezTo>
                  <a:cubicBezTo>
                    <a:pt x="183" y="435"/>
                    <a:pt x="180" y="434"/>
                    <a:pt x="178" y="434"/>
                  </a:cubicBezTo>
                  <a:cubicBezTo>
                    <a:pt x="178" y="434"/>
                    <a:pt x="177" y="434"/>
                    <a:pt x="176" y="434"/>
                  </a:cubicBezTo>
                  <a:cubicBezTo>
                    <a:pt x="174" y="434"/>
                    <a:pt x="172" y="434"/>
                    <a:pt x="170" y="433"/>
                  </a:cubicBezTo>
                  <a:cubicBezTo>
                    <a:pt x="169" y="433"/>
                    <a:pt x="168" y="433"/>
                    <a:pt x="168" y="433"/>
                  </a:cubicBezTo>
                  <a:cubicBezTo>
                    <a:pt x="166" y="433"/>
                    <a:pt x="163" y="433"/>
                    <a:pt x="161" y="432"/>
                  </a:cubicBezTo>
                  <a:cubicBezTo>
                    <a:pt x="161" y="432"/>
                    <a:pt x="160" y="432"/>
                    <a:pt x="159" y="432"/>
                  </a:cubicBezTo>
                  <a:cubicBezTo>
                    <a:pt x="157" y="431"/>
                    <a:pt x="155" y="431"/>
                    <a:pt x="153" y="430"/>
                  </a:cubicBezTo>
                  <a:cubicBezTo>
                    <a:pt x="152" y="430"/>
                    <a:pt x="152" y="430"/>
                    <a:pt x="151" y="430"/>
                  </a:cubicBezTo>
                  <a:cubicBezTo>
                    <a:pt x="149" y="430"/>
                    <a:pt x="147" y="429"/>
                    <a:pt x="145" y="428"/>
                  </a:cubicBezTo>
                  <a:cubicBezTo>
                    <a:pt x="144" y="428"/>
                    <a:pt x="144" y="428"/>
                    <a:pt x="143" y="428"/>
                  </a:cubicBezTo>
                  <a:cubicBezTo>
                    <a:pt x="141" y="427"/>
                    <a:pt x="139" y="427"/>
                    <a:pt x="136" y="426"/>
                  </a:cubicBezTo>
                  <a:cubicBezTo>
                    <a:pt x="136" y="426"/>
                    <a:pt x="136" y="426"/>
                    <a:pt x="135" y="425"/>
                  </a:cubicBezTo>
                  <a:cubicBezTo>
                    <a:pt x="133" y="425"/>
                    <a:pt x="131" y="424"/>
                    <a:pt x="128" y="423"/>
                  </a:cubicBezTo>
                  <a:cubicBezTo>
                    <a:pt x="128" y="423"/>
                    <a:pt x="128" y="423"/>
                    <a:pt x="128" y="423"/>
                  </a:cubicBezTo>
                  <a:cubicBezTo>
                    <a:pt x="128" y="340"/>
                    <a:pt x="128" y="340"/>
                    <a:pt x="128" y="340"/>
                  </a:cubicBezTo>
                  <a:cubicBezTo>
                    <a:pt x="128" y="316"/>
                    <a:pt x="147" y="303"/>
                    <a:pt x="160" y="297"/>
                  </a:cubicBezTo>
                  <a:cubicBezTo>
                    <a:pt x="169" y="302"/>
                    <a:pt x="181" y="306"/>
                    <a:pt x="192" y="306"/>
                  </a:cubicBezTo>
                  <a:cubicBezTo>
                    <a:pt x="204" y="306"/>
                    <a:pt x="216" y="302"/>
                    <a:pt x="225" y="297"/>
                  </a:cubicBezTo>
                  <a:cubicBezTo>
                    <a:pt x="238" y="303"/>
                    <a:pt x="257" y="316"/>
                    <a:pt x="257" y="340"/>
                  </a:cubicBezTo>
                  <a:lnTo>
                    <a:pt x="257" y="422"/>
                  </a:lnTo>
                  <a:close/>
                  <a:moveTo>
                    <a:pt x="309" y="223"/>
                  </a:moveTo>
                  <a:cubicBezTo>
                    <a:pt x="323" y="223"/>
                    <a:pt x="334" y="234"/>
                    <a:pt x="334" y="248"/>
                  </a:cubicBezTo>
                  <a:cubicBezTo>
                    <a:pt x="334" y="262"/>
                    <a:pt x="323" y="273"/>
                    <a:pt x="309" y="273"/>
                  </a:cubicBezTo>
                  <a:cubicBezTo>
                    <a:pt x="295" y="273"/>
                    <a:pt x="283" y="262"/>
                    <a:pt x="283" y="248"/>
                  </a:cubicBezTo>
                  <a:cubicBezTo>
                    <a:pt x="283" y="234"/>
                    <a:pt x="295" y="223"/>
                    <a:pt x="309" y="223"/>
                  </a:cubicBezTo>
                  <a:close/>
                  <a:moveTo>
                    <a:pt x="346" y="344"/>
                  </a:moveTo>
                  <a:cubicBezTo>
                    <a:pt x="330" y="374"/>
                    <a:pt x="304" y="399"/>
                    <a:pt x="273" y="415"/>
                  </a:cubicBezTo>
                  <a:cubicBezTo>
                    <a:pt x="273" y="308"/>
                    <a:pt x="273" y="308"/>
                    <a:pt x="273" y="308"/>
                  </a:cubicBezTo>
                  <a:cubicBezTo>
                    <a:pt x="273" y="294"/>
                    <a:pt x="281" y="290"/>
                    <a:pt x="291" y="286"/>
                  </a:cubicBezTo>
                  <a:cubicBezTo>
                    <a:pt x="291" y="286"/>
                    <a:pt x="291" y="286"/>
                    <a:pt x="291" y="286"/>
                  </a:cubicBezTo>
                  <a:cubicBezTo>
                    <a:pt x="297" y="288"/>
                    <a:pt x="302" y="289"/>
                    <a:pt x="309" y="289"/>
                  </a:cubicBezTo>
                  <a:cubicBezTo>
                    <a:pt x="315" y="289"/>
                    <a:pt x="322" y="288"/>
                    <a:pt x="327" y="285"/>
                  </a:cubicBezTo>
                  <a:cubicBezTo>
                    <a:pt x="328" y="285"/>
                    <a:pt x="329" y="286"/>
                    <a:pt x="330" y="286"/>
                  </a:cubicBezTo>
                  <a:cubicBezTo>
                    <a:pt x="335" y="287"/>
                    <a:pt x="346" y="297"/>
                    <a:pt x="346" y="309"/>
                  </a:cubicBezTo>
                  <a:lnTo>
                    <a:pt x="346" y="344"/>
                  </a:lnTo>
                  <a:close/>
                  <a:moveTo>
                    <a:pt x="231" y="326"/>
                  </a:moveTo>
                  <a:cubicBezTo>
                    <a:pt x="227" y="326"/>
                    <a:pt x="223" y="330"/>
                    <a:pt x="223" y="334"/>
                  </a:cubicBezTo>
                  <a:cubicBezTo>
                    <a:pt x="223" y="406"/>
                    <a:pt x="223" y="406"/>
                    <a:pt x="223" y="406"/>
                  </a:cubicBezTo>
                  <a:cubicBezTo>
                    <a:pt x="223" y="410"/>
                    <a:pt x="227" y="414"/>
                    <a:pt x="231" y="414"/>
                  </a:cubicBezTo>
                  <a:cubicBezTo>
                    <a:pt x="236" y="414"/>
                    <a:pt x="239" y="410"/>
                    <a:pt x="239" y="406"/>
                  </a:cubicBezTo>
                  <a:cubicBezTo>
                    <a:pt x="239" y="334"/>
                    <a:pt x="239" y="334"/>
                    <a:pt x="239" y="334"/>
                  </a:cubicBezTo>
                  <a:cubicBezTo>
                    <a:pt x="239" y="330"/>
                    <a:pt x="236" y="326"/>
                    <a:pt x="231" y="326"/>
                  </a:cubicBezTo>
                  <a:close/>
                  <a:moveTo>
                    <a:pt x="153" y="326"/>
                  </a:moveTo>
                  <a:cubicBezTo>
                    <a:pt x="149" y="326"/>
                    <a:pt x="145" y="330"/>
                    <a:pt x="145" y="334"/>
                  </a:cubicBezTo>
                  <a:cubicBezTo>
                    <a:pt x="145" y="406"/>
                    <a:pt x="145" y="406"/>
                    <a:pt x="145" y="406"/>
                  </a:cubicBezTo>
                  <a:cubicBezTo>
                    <a:pt x="145" y="410"/>
                    <a:pt x="149" y="414"/>
                    <a:pt x="153" y="414"/>
                  </a:cubicBezTo>
                  <a:cubicBezTo>
                    <a:pt x="158" y="414"/>
                    <a:pt x="161" y="410"/>
                    <a:pt x="161" y="406"/>
                  </a:cubicBezTo>
                  <a:cubicBezTo>
                    <a:pt x="161" y="334"/>
                    <a:pt x="161" y="334"/>
                    <a:pt x="161" y="334"/>
                  </a:cubicBezTo>
                  <a:cubicBezTo>
                    <a:pt x="161" y="330"/>
                    <a:pt x="158" y="326"/>
                    <a:pt x="153" y="326"/>
                  </a:cubicBezTo>
                  <a:close/>
                </a:path>
              </a:pathLst>
            </a:custGeom>
            <a:solidFill>
              <a:srgbClr val="0062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a:lnSpc>
                  <a:spcPct val="90000"/>
                </a:lnSpc>
              </a:pPr>
              <a:endParaRPr lang="en-US" sz="1800"/>
            </a:p>
          </p:txBody>
        </p:sp>
        <p:grpSp>
          <p:nvGrpSpPr>
            <p:cNvPr id="95" name="Group 49"/>
            <p:cNvGrpSpPr>
              <a:grpSpLocks/>
            </p:cNvGrpSpPr>
            <p:nvPr/>
          </p:nvGrpSpPr>
          <p:grpSpPr bwMode="auto">
            <a:xfrm>
              <a:off x="8347070" y="1579568"/>
              <a:ext cx="3374920" cy="872619"/>
              <a:chOff x="5940495" y="4606816"/>
              <a:chExt cx="3373677" cy="874595"/>
            </a:xfrm>
          </p:grpSpPr>
          <p:sp>
            <p:nvSpPr>
              <p:cNvPr id="104" name="Rectangle 2"/>
              <p:cNvSpPr txBox="1">
                <a:spLocks noChangeArrowheads="1"/>
              </p:cNvSpPr>
              <p:nvPr/>
            </p:nvSpPr>
            <p:spPr bwMode="auto">
              <a:xfrm>
                <a:off x="5940495" y="4606816"/>
                <a:ext cx="1959616" cy="728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3600">
                    <a:solidFill>
                      <a:srgbClr val="FFFFFF"/>
                    </a:solidFill>
                    <a:latin typeface="Ericsson Capital TT" pitchFamily="2" charset="0"/>
                    <a:cs typeface="Arial" pitchFamily="34" charset="0"/>
                  </a:rPr>
                  <a:t>70%</a:t>
                </a:r>
              </a:p>
            </p:txBody>
          </p:sp>
          <p:sp>
            <p:nvSpPr>
              <p:cNvPr id="105" name="Rectangle 2"/>
              <p:cNvSpPr txBox="1">
                <a:spLocks noChangeArrowheads="1"/>
              </p:cNvSpPr>
              <p:nvPr/>
            </p:nvSpPr>
            <p:spPr bwMode="auto">
              <a:xfrm>
                <a:off x="6967757" y="4774999"/>
                <a:ext cx="2346415" cy="384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1600" dirty="0">
                    <a:solidFill>
                      <a:srgbClr val="FFFFFF"/>
                    </a:solidFill>
                    <a:latin typeface="Ericsson Capital TT" pitchFamily="2" charset="0"/>
                    <a:cs typeface="Arial" pitchFamily="34" charset="0"/>
                  </a:rPr>
                  <a:t> IMPROVEMENT</a:t>
                </a:r>
              </a:p>
            </p:txBody>
          </p:sp>
          <p:sp>
            <p:nvSpPr>
              <p:cNvPr id="106" name="textruta 82"/>
              <p:cNvSpPr txBox="1">
                <a:spLocks noChangeArrowheads="1"/>
              </p:cNvSpPr>
              <p:nvPr/>
            </p:nvSpPr>
            <p:spPr bwMode="auto">
              <a:xfrm>
                <a:off x="5951553" y="5178624"/>
                <a:ext cx="2088175" cy="30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eaLnBrk="1" hangingPunct="1">
                  <a:lnSpc>
                    <a:spcPct val="90000"/>
                  </a:lnSpc>
                  <a:spcBef>
                    <a:spcPct val="50000"/>
                  </a:spcBef>
                </a:pPr>
                <a:r>
                  <a:rPr lang="en-US" sz="1200" b="1">
                    <a:solidFill>
                      <a:srgbClr val="FFFFFF"/>
                    </a:solidFill>
                    <a:cs typeface="Arial" pitchFamily="34" charset="0"/>
                  </a:rPr>
                  <a:t>in first call resolution </a:t>
                </a:r>
              </a:p>
            </p:txBody>
          </p:sp>
        </p:grpSp>
        <p:grpSp>
          <p:nvGrpSpPr>
            <p:cNvPr id="96" name="Group 37"/>
            <p:cNvGrpSpPr>
              <a:grpSpLocks/>
            </p:cNvGrpSpPr>
            <p:nvPr/>
          </p:nvGrpSpPr>
          <p:grpSpPr bwMode="auto">
            <a:xfrm>
              <a:off x="8347075" y="2692393"/>
              <a:ext cx="2978830" cy="894679"/>
              <a:chOff x="5940496" y="4606816"/>
              <a:chExt cx="2976731" cy="896228"/>
            </a:xfrm>
          </p:grpSpPr>
          <p:sp>
            <p:nvSpPr>
              <p:cNvPr id="101" name="Rectangle 2"/>
              <p:cNvSpPr txBox="1">
                <a:spLocks noChangeArrowheads="1"/>
              </p:cNvSpPr>
              <p:nvPr/>
            </p:nvSpPr>
            <p:spPr bwMode="auto">
              <a:xfrm>
                <a:off x="5940496" y="4606816"/>
                <a:ext cx="1366838" cy="728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4000">
                    <a:solidFill>
                      <a:srgbClr val="FFFFFF"/>
                    </a:solidFill>
                    <a:latin typeface="Ericsson Capital TT" pitchFamily="2" charset="0"/>
                    <a:cs typeface="Arial" pitchFamily="34" charset="0"/>
                  </a:rPr>
                  <a:t>5</a:t>
                </a:r>
              </a:p>
            </p:txBody>
          </p:sp>
          <p:sp>
            <p:nvSpPr>
              <p:cNvPr id="102" name="Rectangle 2"/>
              <p:cNvSpPr txBox="1">
                <a:spLocks noChangeArrowheads="1"/>
              </p:cNvSpPr>
              <p:nvPr/>
            </p:nvSpPr>
            <p:spPr bwMode="auto">
              <a:xfrm>
                <a:off x="6461402" y="4666076"/>
                <a:ext cx="2111040" cy="384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1600">
                    <a:solidFill>
                      <a:srgbClr val="FFFFFF"/>
                    </a:solidFill>
                    <a:latin typeface="Ericsson Capital TT" pitchFamily="2" charset="0"/>
                    <a:cs typeface="Arial" pitchFamily="34" charset="0"/>
                  </a:rPr>
                  <a:t>FOLD REDUCTION</a:t>
                </a:r>
              </a:p>
            </p:txBody>
          </p:sp>
          <p:sp>
            <p:nvSpPr>
              <p:cNvPr id="103" name="textruta 82"/>
              <p:cNvSpPr txBox="1">
                <a:spLocks noChangeArrowheads="1"/>
              </p:cNvSpPr>
              <p:nvPr/>
            </p:nvSpPr>
            <p:spPr bwMode="auto">
              <a:xfrm>
                <a:off x="5955605" y="5200418"/>
                <a:ext cx="2961622" cy="302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eaLnBrk="1" hangingPunct="1">
                  <a:lnSpc>
                    <a:spcPct val="90000"/>
                  </a:lnSpc>
                  <a:spcBef>
                    <a:spcPct val="50000"/>
                  </a:spcBef>
                </a:pPr>
                <a:r>
                  <a:rPr lang="en-US" sz="1200" b="1">
                    <a:solidFill>
                      <a:srgbClr val="FFFFFF"/>
                    </a:solidFill>
                    <a:cs typeface="Arial" pitchFamily="34" charset="0"/>
                  </a:rPr>
                  <a:t>in time to process customer call</a:t>
                </a:r>
              </a:p>
            </p:txBody>
          </p:sp>
        </p:grpSp>
        <p:grpSp>
          <p:nvGrpSpPr>
            <p:cNvPr id="97" name="Group 58"/>
            <p:cNvGrpSpPr>
              <a:grpSpLocks/>
            </p:cNvGrpSpPr>
            <p:nvPr/>
          </p:nvGrpSpPr>
          <p:grpSpPr bwMode="auto">
            <a:xfrm>
              <a:off x="8296284" y="3752851"/>
              <a:ext cx="3591177" cy="873649"/>
              <a:chOff x="5940495" y="4606816"/>
              <a:chExt cx="3589849" cy="874046"/>
            </a:xfrm>
          </p:grpSpPr>
          <p:sp>
            <p:nvSpPr>
              <p:cNvPr id="98" name="Rectangle 2"/>
              <p:cNvSpPr txBox="1">
                <a:spLocks noChangeArrowheads="1"/>
              </p:cNvSpPr>
              <p:nvPr/>
            </p:nvSpPr>
            <p:spPr bwMode="auto">
              <a:xfrm>
                <a:off x="5940495" y="4606816"/>
                <a:ext cx="1959616" cy="728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3600">
                    <a:solidFill>
                      <a:srgbClr val="FFFFFF"/>
                    </a:solidFill>
                    <a:latin typeface="Ericsson Capital TT" pitchFamily="2" charset="0"/>
                    <a:cs typeface="Arial" pitchFamily="34" charset="0"/>
                  </a:rPr>
                  <a:t>80%</a:t>
                </a:r>
              </a:p>
            </p:txBody>
          </p:sp>
          <p:sp>
            <p:nvSpPr>
              <p:cNvPr id="99" name="Rectangle 2"/>
              <p:cNvSpPr txBox="1">
                <a:spLocks noChangeArrowheads="1"/>
              </p:cNvSpPr>
              <p:nvPr/>
            </p:nvSpPr>
            <p:spPr bwMode="auto">
              <a:xfrm>
                <a:off x="7183929" y="4775137"/>
                <a:ext cx="2346415" cy="384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lnSpc>
                    <a:spcPct val="90000"/>
                  </a:lnSpc>
                  <a:spcBef>
                    <a:spcPct val="50000"/>
                  </a:spcBef>
                </a:pPr>
                <a:r>
                  <a:rPr lang="en-US" sz="1600" dirty="0">
                    <a:solidFill>
                      <a:srgbClr val="FFFFFF"/>
                    </a:solidFill>
                    <a:latin typeface="Ericsson Capital TT" pitchFamily="2" charset="0"/>
                    <a:cs typeface="Arial" pitchFamily="34" charset="0"/>
                  </a:rPr>
                  <a:t>FEWER</a:t>
                </a:r>
              </a:p>
            </p:txBody>
          </p:sp>
          <p:sp>
            <p:nvSpPr>
              <p:cNvPr id="100" name="textruta 82"/>
              <p:cNvSpPr txBox="1">
                <a:spLocks noChangeArrowheads="1"/>
              </p:cNvSpPr>
              <p:nvPr/>
            </p:nvSpPr>
            <p:spPr bwMode="auto">
              <a:xfrm>
                <a:off x="5946553" y="5178622"/>
                <a:ext cx="1723044" cy="302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eaLnBrk="1" hangingPunct="1">
                  <a:lnSpc>
                    <a:spcPct val="90000"/>
                  </a:lnSpc>
                  <a:spcBef>
                    <a:spcPct val="50000"/>
                  </a:spcBef>
                </a:pPr>
                <a:r>
                  <a:rPr lang="en-US" sz="1200" b="1">
                    <a:solidFill>
                      <a:srgbClr val="FFFFFF"/>
                    </a:solidFill>
                    <a:cs typeface="Arial" pitchFamily="34" charset="0"/>
                  </a:rPr>
                  <a:t>missed due dates</a:t>
                </a:r>
              </a:p>
            </p:txBody>
          </p:sp>
        </p:grpSp>
      </p:grpSp>
      <p:cxnSp>
        <p:nvCxnSpPr>
          <p:cNvPr id="107" name="Straight Connector 2"/>
          <p:cNvCxnSpPr>
            <a:cxnSpLocks noChangeShapeType="1"/>
          </p:cNvCxnSpPr>
          <p:nvPr/>
        </p:nvCxnSpPr>
        <p:spPr bwMode="auto">
          <a:xfrm>
            <a:off x="65078" y="2813683"/>
            <a:ext cx="8980951" cy="0"/>
          </a:xfrm>
          <a:prstGeom prst="line">
            <a:avLst/>
          </a:prstGeom>
          <a:noFill/>
          <a:ln w="12700" algn="ctr">
            <a:solidFill>
              <a:schemeClr val="bg1"/>
            </a:solidFill>
            <a:round/>
            <a:headEnd/>
            <a:tailEnd/>
          </a:ln>
          <a:extLst>
            <a:ext uri="{909E8E84-426E-40DD-AFC4-6F175D3DCCD1}">
              <a14:hiddenFill xmlns:a14="http://schemas.microsoft.com/office/drawing/2010/main">
                <a:noFill/>
              </a14:hiddenFill>
            </a:ext>
          </a:extLst>
        </p:spPr>
      </p:cxnSp>
      <p:cxnSp>
        <p:nvCxnSpPr>
          <p:cNvPr id="108" name="Straight Connector 36"/>
          <p:cNvCxnSpPr>
            <a:cxnSpLocks noChangeShapeType="1"/>
          </p:cNvCxnSpPr>
          <p:nvPr/>
        </p:nvCxnSpPr>
        <p:spPr bwMode="auto">
          <a:xfrm>
            <a:off x="65078" y="3756513"/>
            <a:ext cx="8980951" cy="0"/>
          </a:xfrm>
          <a:prstGeom prst="line">
            <a:avLst/>
          </a:prstGeom>
          <a:noFill/>
          <a:ln w="12700" algn="ctr">
            <a:solidFill>
              <a:schemeClr val="bg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46953037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2"/>
          <p:cNvSpPr>
            <a:spLocks noGrp="1" noChangeArrowheads="1"/>
          </p:cNvSpPr>
          <p:nvPr>
            <p:ph type="title"/>
          </p:nvPr>
        </p:nvSpPr>
        <p:spPr>
          <a:xfrm>
            <a:off x="394098" y="239713"/>
            <a:ext cx="7493794" cy="1085850"/>
          </a:xfrm>
        </p:spPr>
        <p:txBody>
          <a:bodyPr/>
          <a:lstStyle/>
          <a:p>
            <a:pPr eaLnBrk="1" hangingPunct="1"/>
            <a:r>
              <a:rPr lang="en-US" dirty="0" smtClean="0">
                <a:solidFill>
                  <a:srgbClr val="00285F"/>
                </a:solidFill>
                <a:latin typeface="Ericsson Capital TT" pitchFamily="2" charset="0"/>
                <a:cs typeface="Geneva"/>
              </a:rPr>
              <a:t>WHY INVEST IN ERICSSON</a:t>
            </a:r>
            <a:br>
              <a:rPr lang="en-US" dirty="0" smtClean="0">
                <a:solidFill>
                  <a:srgbClr val="00285F"/>
                </a:solidFill>
                <a:latin typeface="Ericsson Capital TT" pitchFamily="2" charset="0"/>
                <a:cs typeface="Geneva"/>
              </a:rPr>
            </a:br>
            <a:r>
              <a:rPr lang="en-US" dirty="0" smtClean="0">
                <a:solidFill>
                  <a:srgbClr val="00285F"/>
                </a:solidFill>
                <a:latin typeface="Ericsson Capital TT" pitchFamily="2" charset="0"/>
                <a:cs typeface="Geneva"/>
              </a:rPr>
              <a:t>Lead-to-Service?</a:t>
            </a:r>
          </a:p>
        </p:txBody>
      </p:sp>
      <p:sp>
        <p:nvSpPr>
          <p:cNvPr id="32772" name="TextBox 13"/>
          <p:cNvSpPr txBox="1">
            <a:spLocks noChangeArrowheads="1"/>
          </p:cNvSpPr>
          <p:nvPr/>
        </p:nvSpPr>
        <p:spPr bwMode="auto">
          <a:xfrm>
            <a:off x="427434" y="1300163"/>
            <a:ext cx="809607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a:r>
              <a:rPr lang="en-US" sz="1800" dirty="0">
                <a:solidFill>
                  <a:srgbClr val="58585A"/>
                </a:solidFill>
                <a:cs typeface="Arial" pitchFamily="34" charset="0"/>
              </a:rPr>
              <a:t>“Ericsson is the market share leader in the global application software market, with a pre-integrated, modularized OSS suite.”*</a:t>
            </a:r>
          </a:p>
        </p:txBody>
      </p:sp>
      <p:sp>
        <p:nvSpPr>
          <p:cNvPr id="86" name="Rounded Rectangle 1"/>
          <p:cNvSpPr>
            <a:spLocks noChangeArrowheads="1"/>
          </p:cNvSpPr>
          <p:nvPr/>
        </p:nvSpPr>
        <p:spPr bwMode="auto">
          <a:xfrm>
            <a:off x="484861" y="2008188"/>
            <a:ext cx="8548681" cy="4449762"/>
          </a:xfrm>
          <a:prstGeom prst="roundRect">
            <a:avLst>
              <a:gd name="adj" fmla="val 1741"/>
            </a:avLst>
          </a:prstGeom>
          <a:solidFill>
            <a:srgbClr val="D9DADB"/>
          </a:solidFill>
          <a:ln>
            <a:noFill/>
          </a:ln>
          <a:extLst>
            <a:ext uri="{91240B29-F687-4F45-9708-019B960494DF}">
              <a14:hiddenLine xmlns:a14="http://schemas.microsoft.com/office/drawing/2010/main" w="12700" algn="ctr">
                <a:solidFill>
                  <a:srgbClr val="87888A"/>
                </a:solidFill>
                <a:round/>
                <a:headEnd/>
                <a:tailEnd/>
              </a14:hiddenLine>
            </a:ext>
          </a:extLst>
        </p:spPr>
        <p:txBody>
          <a:bodyPr wrap="none" lIns="72000" rIns="72000"/>
          <a:lstStyle/>
          <a:p>
            <a:pPr>
              <a:spcBef>
                <a:spcPct val="50000"/>
              </a:spcBef>
            </a:pPr>
            <a:endParaRPr lang="en-US">
              <a:solidFill>
                <a:srgbClr val="58585A"/>
              </a:solidFill>
              <a:cs typeface="Arial" pitchFamily="34" charset="0"/>
            </a:endParaRPr>
          </a:p>
        </p:txBody>
      </p:sp>
      <p:sp>
        <p:nvSpPr>
          <p:cNvPr id="87" name="TextBox 3"/>
          <p:cNvSpPr txBox="1">
            <a:spLocks noChangeArrowheads="1"/>
          </p:cNvSpPr>
          <p:nvPr/>
        </p:nvSpPr>
        <p:spPr bwMode="auto">
          <a:xfrm>
            <a:off x="7034206" y="6445484"/>
            <a:ext cx="199933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l" eaLnBrk="1" hangingPunct="1"/>
            <a:r>
              <a:rPr lang="en-US" sz="1100" dirty="0">
                <a:solidFill>
                  <a:srgbClr val="58585A"/>
                </a:solidFill>
                <a:cs typeface="Arial" pitchFamily="34" charset="0"/>
              </a:rPr>
              <a:t>Source: Gartner  2014 Magic Quadrant for OSS</a:t>
            </a:r>
          </a:p>
        </p:txBody>
      </p:sp>
      <p:sp>
        <p:nvSpPr>
          <p:cNvPr id="88" name="Rounded Rectangle 87"/>
          <p:cNvSpPr/>
          <p:nvPr/>
        </p:nvSpPr>
        <p:spPr bwMode="auto">
          <a:xfrm>
            <a:off x="264199" y="2008188"/>
            <a:ext cx="8716515" cy="1371600"/>
          </a:xfrm>
          <a:prstGeom prst="roundRect">
            <a:avLst>
              <a:gd name="adj" fmla="val 8378"/>
            </a:avLst>
          </a:prstGeom>
          <a:solidFill>
            <a:srgbClr val="BADEEE"/>
          </a:solidFill>
          <a:ln w="9525" cap="flat" cmpd="sng" algn="ctr">
            <a:noFill/>
            <a:prstDash val="solid"/>
            <a:round/>
            <a:headEnd type="none" w="med" len="med"/>
            <a:tailEnd type="none" w="med" len="med"/>
          </a:ln>
          <a:effectLst/>
        </p:spPr>
        <p:txBody>
          <a:bodyPr anchor="ctr"/>
          <a:lstStyle/>
          <a:p>
            <a:pPr algn="ctr" defTabSz="915267">
              <a:spcBef>
                <a:spcPct val="50000"/>
              </a:spcBef>
              <a:defRPr/>
            </a:pPr>
            <a:endParaRPr lang="en-US" sz="1800" b="1" kern="0" cap="all">
              <a:solidFill>
                <a:srgbClr val="E32219"/>
              </a:solidFill>
              <a:latin typeface="Arial"/>
              <a:cs typeface="Times New Roman" pitchFamily="18" charset="0"/>
            </a:endParaRPr>
          </a:p>
        </p:txBody>
      </p:sp>
      <p:sp>
        <p:nvSpPr>
          <p:cNvPr id="89" name="Rounded Rectangle 88"/>
          <p:cNvSpPr/>
          <p:nvPr/>
        </p:nvSpPr>
        <p:spPr bwMode="auto">
          <a:xfrm>
            <a:off x="2431797" y="2008188"/>
            <a:ext cx="2259925" cy="1371600"/>
          </a:xfrm>
          <a:prstGeom prst="roundRect">
            <a:avLst>
              <a:gd name="adj" fmla="val 11141"/>
            </a:avLst>
          </a:prstGeom>
          <a:solidFill>
            <a:srgbClr val="5FBADD"/>
          </a:solidFill>
          <a:ln w="38100" cap="flat" cmpd="sng" algn="ctr">
            <a:solidFill>
              <a:srgbClr val="D9DADB"/>
            </a:solidFill>
            <a:prstDash val="solid"/>
            <a:round/>
            <a:headEnd type="none" w="med" len="med"/>
            <a:tailEnd type="none" w="med" len="med"/>
          </a:ln>
          <a:effectLst/>
        </p:spPr>
        <p:txBody>
          <a:bodyPr anchor="ctr"/>
          <a:lstStyle/>
          <a:p>
            <a:pPr algn="ctr" defTabSz="915267">
              <a:spcBef>
                <a:spcPct val="50000"/>
              </a:spcBef>
              <a:defRPr/>
            </a:pPr>
            <a:endParaRPr lang="en-US" sz="1600" b="1" kern="0" cap="all">
              <a:solidFill>
                <a:srgbClr val="E32219"/>
              </a:solidFill>
              <a:latin typeface="Arial"/>
              <a:cs typeface="Times New Roman" pitchFamily="18" charset="0"/>
            </a:endParaRPr>
          </a:p>
        </p:txBody>
      </p:sp>
      <p:sp>
        <p:nvSpPr>
          <p:cNvPr id="90" name="Rounded Rectangle 89"/>
          <p:cNvSpPr/>
          <p:nvPr/>
        </p:nvSpPr>
        <p:spPr bwMode="auto">
          <a:xfrm>
            <a:off x="264199" y="3548063"/>
            <a:ext cx="8716515" cy="1371600"/>
          </a:xfrm>
          <a:prstGeom prst="roundRect">
            <a:avLst>
              <a:gd name="adj" fmla="val 10399"/>
            </a:avLst>
          </a:prstGeom>
          <a:solidFill>
            <a:srgbClr val="90B9B6"/>
          </a:solidFill>
          <a:ln w="9525" cap="flat" cmpd="sng" algn="ctr">
            <a:noFill/>
            <a:prstDash val="solid"/>
            <a:round/>
            <a:headEnd type="none" w="med" len="med"/>
            <a:tailEnd type="none" w="med" len="med"/>
          </a:ln>
          <a:effectLst/>
        </p:spPr>
        <p:txBody>
          <a:bodyPr anchor="ctr"/>
          <a:lstStyle/>
          <a:p>
            <a:pPr algn="ctr" defTabSz="915267">
              <a:spcBef>
                <a:spcPct val="50000"/>
              </a:spcBef>
              <a:defRPr/>
            </a:pPr>
            <a:endParaRPr lang="en-US" sz="1800" b="1" kern="0" cap="all">
              <a:solidFill>
                <a:srgbClr val="E32219"/>
              </a:solidFill>
              <a:latin typeface="Arial"/>
              <a:cs typeface="Times New Roman" pitchFamily="18" charset="0"/>
            </a:endParaRPr>
          </a:p>
        </p:txBody>
      </p:sp>
      <p:sp>
        <p:nvSpPr>
          <p:cNvPr id="91" name="Rounded Rectangle 90"/>
          <p:cNvSpPr/>
          <p:nvPr/>
        </p:nvSpPr>
        <p:spPr bwMode="auto">
          <a:xfrm>
            <a:off x="2431797" y="3548063"/>
            <a:ext cx="2259925" cy="1371600"/>
          </a:xfrm>
          <a:prstGeom prst="roundRect">
            <a:avLst>
              <a:gd name="adj" fmla="val 11141"/>
            </a:avLst>
          </a:prstGeom>
          <a:solidFill>
            <a:srgbClr val="007B78"/>
          </a:solidFill>
          <a:ln w="38100" cap="flat" cmpd="sng" algn="ctr">
            <a:solidFill>
              <a:srgbClr val="D9DADB"/>
            </a:solidFill>
            <a:prstDash val="solid"/>
            <a:round/>
            <a:headEnd type="none" w="med" len="med"/>
            <a:tailEnd type="none" w="med" len="med"/>
          </a:ln>
          <a:effectLst/>
        </p:spPr>
        <p:txBody>
          <a:bodyPr anchor="ctr"/>
          <a:lstStyle/>
          <a:p>
            <a:pPr algn="ctr" defTabSz="915267">
              <a:spcBef>
                <a:spcPct val="50000"/>
              </a:spcBef>
              <a:defRPr/>
            </a:pPr>
            <a:endParaRPr lang="en-US" sz="1600" b="1" kern="0" cap="all">
              <a:solidFill>
                <a:srgbClr val="F08A00"/>
              </a:solidFill>
              <a:latin typeface="Arial"/>
              <a:cs typeface="Times New Roman" pitchFamily="18" charset="0"/>
            </a:endParaRPr>
          </a:p>
        </p:txBody>
      </p:sp>
      <p:sp>
        <p:nvSpPr>
          <p:cNvPr id="92" name="Rounded Rectangle 91"/>
          <p:cNvSpPr/>
          <p:nvPr/>
        </p:nvSpPr>
        <p:spPr bwMode="auto">
          <a:xfrm>
            <a:off x="264199" y="5086350"/>
            <a:ext cx="8716515" cy="1371600"/>
          </a:xfrm>
          <a:prstGeom prst="roundRect">
            <a:avLst>
              <a:gd name="adj" fmla="val 9299"/>
            </a:avLst>
          </a:prstGeom>
          <a:solidFill>
            <a:srgbClr val="C19CBB"/>
          </a:solidFill>
          <a:ln w="9525" cap="flat" cmpd="sng" algn="ctr">
            <a:noFill/>
            <a:prstDash val="solid"/>
            <a:round/>
            <a:headEnd type="none" w="med" len="med"/>
            <a:tailEnd type="none" w="med" len="med"/>
          </a:ln>
          <a:effectLst/>
        </p:spPr>
        <p:txBody>
          <a:bodyPr anchor="ctr"/>
          <a:lstStyle/>
          <a:p>
            <a:pPr algn="ctr" defTabSz="915267">
              <a:spcBef>
                <a:spcPct val="50000"/>
              </a:spcBef>
              <a:defRPr/>
            </a:pPr>
            <a:endParaRPr lang="en-US" sz="1800" b="1" kern="0" cap="all">
              <a:solidFill>
                <a:srgbClr val="E32219"/>
              </a:solidFill>
              <a:latin typeface="Arial"/>
              <a:cs typeface="Times New Roman" pitchFamily="18" charset="0"/>
            </a:endParaRPr>
          </a:p>
        </p:txBody>
      </p:sp>
      <p:sp>
        <p:nvSpPr>
          <p:cNvPr id="93" name="Rounded Rectangle 92"/>
          <p:cNvSpPr/>
          <p:nvPr/>
        </p:nvSpPr>
        <p:spPr bwMode="auto">
          <a:xfrm>
            <a:off x="2431797" y="5086350"/>
            <a:ext cx="2259925" cy="1371600"/>
          </a:xfrm>
          <a:prstGeom prst="roundRect">
            <a:avLst>
              <a:gd name="adj" fmla="val 10220"/>
            </a:avLst>
          </a:prstGeom>
          <a:solidFill>
            <a:srgbClr val="8F3F7B"/>
          </a:solidFill>
          <a:ln w="38100" cap="flat" cmpd="sng" algn="ctr">
            <a:solidFill>
              <a:srgbClr val="D9DADB"/>
            </a:solidFill>
            <a:prstDash val="solid"/>
            <a:round/>
            <a:headEnd type="none" w="med" len="med"/>
            <a:tailEnd type="none" w="med" len="med"/>
          </a:ln>
          <a:effectLst/>
        </p:spPr>
        <p:txBody>
          <a:bodyPr anchor="ctr"/>
          <a:lstStyle/>
          <a:p>
            <a:pPr algn="ctr" defTabSz="915267">
              <a:spcBef>
                <a:spcPct val="50000"/>
              </a:spcBef>
              <a:defRPr/>
            </a:pPr>
            <a:endParaRPr lang="en-US" sz="1600" b="1" kern="0" cap="all">
              <a:solidFill>
                <a:srgbClr val="E32219"/>
              </a:solidFill>
              <a:latin typeface="Arial"/>
              <a:cs typeface="Times New Roman" pitchFamily="18" charset="0"/>
            </a:endParaRPr>
          </a:p>
        </p:txBody>
      </p:sp>
      <p:sp>
        <p:nvSpPr>
          <p:cNvPr id="94" name="Freeform 3"/>
          <p:cNvSpPr>
            <a:spLocks noChangeAspect="1" noEditPoints="1"/>
          </p:cNvSpPr>
          <p:nvPr/>
        </p:nvSpPr>
        <p:spPr bwMode="auto">
          <a:xfrm>
            <a:off x="1116223" y="2379342"/>
            <a:ext cx="1115348" cy="629291"/>
          </a:xfrm>
          <a:custGeom>
            <a:avLst/>
            <a:gdLst>
              <a:gd name="T0" fmla="*/ 2147483647 w 477"/>
              <a:gd name="T1" fmla="*/ 2147483647 h 269"/>
              <a:gd name="T2" fmla="*/ 2147483647 w 477"/>
              <a:gd name="T3" fmla="*/ 2147483647 h 269"/>
              <a:gd name="T4" fmla="*/ 2147483647 w 477"/>
              <a:gd name="T5" fmla="*/ 2147483647 h 269"/>
              <a:gd name="T6" fmla="*/ 2147483647 w 477"/>
              <a:gd name="T7" fmla="*/ 2147483647 h 269"/>
              <a:gd name="T8" fmla="*/ 2147483647 w 477"/>
              <a:gd name="T9" fmla="*/ 2147483647 h 269"/>
              <a:gd name="T10" fmla="*/ 2147483647 w 477"/>
              <a:gd name="T11" fmla="*/ 2147483647 h 269"/>
              <a:gd name="T12" fmla="*/ 2147483647 w 477"/>
              <a:gd name="T13" fmla="*/ 2147483647 h 269"/>
              <a:gd name="T14" fmla="*/ 2147483647 w 477"/>
              <a:gd name="T15" fmla="*/ 2147483647 h 269"/>
              <a:gd name="T16" fmla="*/ 2147483647 w 477"/>
              <a:gd name="T17" fmla="*/ 2147483647 h 269"/>
              <a:gd name="T18" fmla="*/ 2147483647 w 477"/>
              <a:gd name="T19" fmla="*/ 2147483647 h 269"/>
              <a:gd name="T20" fmla="*/ 2147483647 w 477"/>
              <a:gd name="T21" fmla="*/ 2147483647 h 269"/>
              <a:gd name="T22" fmla="*/ 2147483647 w 477"/>
              <a:gd name="T23" fmla="*/ 2147483647 h 269"/>
              <a:gd name="T24" fmla="*/ 2147483647 w 477"/>
              <a:gd name="T25" fmla="*/ 2147483647 h 269"/>
              <a:gd name="T26" fmla="*/ 2147483647 w 477"/>
              <a:gd name="T27" fmla="*/ 2147483647 h 269"/>
              <a:gd name="T28" fmla="*/ 2147483647 w 477"/>
              <a:gd name="T29" fmla="*/ 2147483647 h 269"/>
              <a:gd name="T30" fmla="*/ 2147483647 w 477"/>
              <a:gd name="T31" fmla="*/ 2147483647 h 269"/>
              <a:gd name="T32" fmla="*/ 2147483647 w 477"/>
              <a:gd name="T33" fmla="*/ 2147483647 h 269"/>
              <a:gd name="T34" fmla="*/ 2147483647 w 477"/>
              <a:gd name="T35" fmla="*/ 2147483647 h 269"/>
              <a:gd name="T36" fmla="*/ 2147483647 w 477"/>
              <a:gd name="T37" fmla="*/ 2147483647 h 269"/>
              <a:gd name="T38" fmla="*/ 2147483647 w 477"/>
              <a:gd name="T39" fmla="*/ 2147483647 h 269"/>
              <a:gd name="T40" fmla="*/ 2147483647 w 477"/>
              <a:gd name="T41" fmla="*/ 2147483647 h 269"/>
              <a:gd name="T42" fmla="*/ 2147483647 w 477"/>
              <a:gd name="T43" fmla="*/ 2147483647 h 269"/>
              <a:gd name="T44" fmla="*/ 2147483647 w 477"/>
              <a:gd name="T45" fmla="*/ 2147483647 h 269"/>
              <a:gd name="T46" fmla="*/ 2147483647 w 477"/>
              <a:gd name="T47" fmla="*/ 2147483647 h 269"/>
              <a:gd name="T48" fmla="*/ 2147483647 w 477"/>
              <a:gd name="T49" fmla="*/ 2147483647 h 269"/>
              <a:gd name="T50" fmla="*/ 2147483647 w 477"/>
              <a:gd name="T51" fmla="*/ 2147483647 h 269"/>
              <a:gd name="T52" fmla="*/ 2147483647 w 477"/>
              <a:gd name="T53" fmla="*/ 2147483647 h 269"/>
              <a:gd name="T54" fmla="*/ 2147483647 w 477"/>
              <a:gd name="T55" fmla="*/ 2147483647 h 269"/>
              <a:gd name="T56" fmla="*/ 2147483647 w 477"/>
              <a:gd name="T57" fmla="*/ 2147483647 h 269"/>
              <a:gd name="T58" fmla="*/ 2147483647 w 477"/>
              <a:gd name="T59" fmla="*/ 2147483647 h 269"/>
              <a:gd name="T60" fmla="*/ 2147483647 w 477"/>
              <a:gd name="T61" fmla="*/ 2147483647 h 269"/>
              <a:gd name="T62" fmla="*/ 2147483647 w 477"/>
              <a:gd name="T63" fmla="*/ 2147483647 h 269"/>
              <a:gd name="T64" fmla="*/ 2147483647 w 477"/>
              <a:gd name="T65" fmla="*/ 2147483647 h 269"/>
              <a:gd name="T66" fmla="*/ 2147483647 w 477"/>
              <a:gd name="T67" fmla="*/ 2147483647 h 269"/>
              <a:gd name="T68" fmla="*/ 2147483647 w 477"/>
              <a:gd name="T69" fmla="*/ 2147483647 h 269"/>
              <a:gd name="T70" fmla="*/ 2147483647 w 477"/>
              <a:gd name="T71" fmla="*/ 2147483647 h 269"/>
              <a:gd name="T72" fmla="*/ 2147483647 w 477"/>
              <a:gd name="T73" fmla="*/ 2147483647 h 269"/>
              <a:gd name="T74" fmla="*/ 2147483647 w 477"/>
              <a:gd name="T75" fmla="*/ 2147483647 h 269"/>
              <a:gd name="T76" fmla="*/ 2147483647 w 477"/>
              <a:gd name="T77" fmla="*/ 2147483647 h 269"/>
              <a:gd name="T78" fmla="*/ 2147483647 w 477"/>
              <a:gd name="T79" fmla="*/ 2147483647 h 269"/>
              <a:gd name="T80" fmla="*/ 2147483647 w 477"/>
              <a:gd name="T81" fmla="*/ 2147483647 h 269"/>
              <a:gd name="T82" fmla="*/ 2147483647 w 477"/>
              <a:gd name="T83" fmla="*/ 2147483647 h 269"/>
              <a:gd name="T84" fmla="*/ 2147483647 w 477"/>
              <a:gd name="T85" fmla="*/ 2147483647 h 269"/>
              <a:gd name="T86" fmla="*/ 2147483647 w 477"/>
              <a:gd name="T87" fmla="*/ 2147483647 h 269"/>
              <a:gd name="T88" fmla="*/ 0 w 477"/>
              <a:gd name="T89" fmla="*/ 2147483647 h 269"/>
              <a:gd name="T90" fmla="*/ 2147483647 w 477"/>
              <a:gd name="T91" fmla="*/ 2147483647 h 269"/>
              <a:gd name="T92" fmla="*/ 2147483647 w 477"/>
              <a:gd name="T93" fmla="*/ 2147483647 h 269"/>
              <a:gd name="T94" fmla="*/ 2147483647 w 477"/>
              <a:gd name="T95" fmla="*/ 2147483647 h 269"/>
              <a:gd name="T96" fmla="*/ 2147483647 w 477"/>
              <a:gd name="T97" fmla="*/ 2147483647 h 269"/>
              <a:gd name="T98" fmla="*/ 2147483647 w 477"/>
              <a:gd name="T99" fmla="*/ 2147483647 h 269"/>
              <a:gd name="T100" fmla="*/ 2147483647 w 477"/>
              <a:gd name="T101" fmla="*/ 2147483647 h 269"/>
              <a:gd name="T102" fmla="*/ 2147483647 w 477"/>
              <a:gd name="T103" fmla="*/ 2147483647 h 269"/>
              <a:gd name="T104" fmla="*/ 2147483647 w 477"/>
              <a:gd name="T105" fmla="*/ 2147483647 h 269"/>
              <a:gd name="T106" fmla="*/ 2147483647 w 477"/>
              <a:gd name="T107" fmla="*/ 2147483647 h 269"/>
              <a:gd name="T108" fmla="*/ 2147483647 w 477"/>
              <a:gd name="T109" fmla="*/ 2147483647 h 269"/>
              <a:gd name="T110" fmla="*/ 2147483647 w 477"/>
              <a:gd name="T111" fmla="*/ 2147483647 h 269"/>
              <a:gd name="T112" fmla="*/ 2147483647 w 477"/>
              <a:gd name="T113" fmla="*/ 2147483647 h 269"/>
              <a:gd name="T114" fmla="*/ 2147483647 w 477"/>
              <a:gd name="T115" fmla="*/ 2147483647 h 269"/>
              <a:gd name="T116" fmla="*/ 2147483647 w 477"/>
              <a:gd name="T117" fmla="*/ 2147483647 h 269"/>
              <a:gd name="T118" fmla="*/ 2147483647 w 477"/>
              <a:gd name="T119" fmla="*/ 2147483647 h 269"/>
              <a:gd name="T120" fmla="*/ 2147483647 w 477"/>
              <a:gd name="T121" fmla="*/ 2147483647 h 269"/>
              <a:gd name="T122" fmla="*/ 2147483647 w 477"/>
              <a:gd name="T123" fmla="*/ 2147483647 h 26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7"/>
              <a:gd name="T187" fmla="*/ 0 h 269"/>
              <a:gd name="T188" fmla="*/ 477 w 477"/>
              <a:gd name="T189" fmla="*/ 269 h 26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7" h="269">
                <a:moveTo>
                  <a:pt x="464" y="108"/>
                </a:moveTo>
                <a:cubicBezTo>
                  <a:pt x="450" y="97"/>
                  <a:pt x="398" y="57"/>
                  <a:pt x="398" y="57"/>
                </a:cubicBezTo>
                <a:cubicBezTo>
                  <a:pt x="398" y="57"/>
                  <a:pt x="394" y="53"/>
                  <a:pt x="387" y="48"/>
                </a:cubicBezTo>
                <a:cubicBezTo>
                  <a:pt x="383" y="45"/>
                  <a:pt x="378" y="45"/>
                  <a:pt x="376" y="49"/>
                </a:cubicBezTo>
                <a:cubicBezTo>
                  <a:pt x="373" y="52"/>
                  <a:pt x="374" y="57"/>
                  <a:pt x="377" y="60"/>
                </a:cubicBezTo>
                <a:cubicBezTo>
                  <a:pt x="377" y="60"/>
                  <a:pt x="377" y="60"/>
                  <a:pt x="377" y="60"/>
                </a:cubicBezTo>
                <a:cubicBezTo>
                  <a:pt x="384" y="66"/>
                  <a:pt x="388" y="69"/>
                  <a:pt x="389" y="69"/>
                </a:cubicBezTo>
                <a:cubicBezTo>
                  <a:pt x="389" y="69"/>
                  <a:pt x="440" y="110"/>
                  <a:pt x="453" y="121"/>
                </a:cubicBezTo>
                <a:cubicBezTo>
                  <a:pt x="459" y="126"/>
                  <a:pt x="461" y="129"/>
                  <a:pt x="461" y="134"/>
                </a:cubicBezTo>
                <a:cubicBezTo>
                  <a:pt x="461" y="140"/>
                  <a:pt x="459" y="143"/>
                  <a:pt x="453" y="148"/>
                </a:cubicBezTo>
                <a:cubicBezTo>
                  <a:pt x="440" y="159"/>
                  <a:pt x="389" y="200"/>
                  <a:pt x="388" y="200"/>
                </a:cubicBezTo>
                <a:cubicBezTo>
                  <a:pt x="388" y="200"/>
                  <a:pt x="344" y="235"/>
                  <a:pt x="328" y="248"/>
                </a:cubicBezTo>
                <a:cubicBezTo>
                  <a:pt x="324" y="251"/>
                  <a:pt x="320" y="253"/>
                  <a:pt x="318" y="253"/>
                </a:cubicBezTo>
                <a:cubicBezTo>
                  <a:pt x="316" y="253"/>
                  <a:pt x="315" y="252"/>
                  <a:pt x="314" y="251"/>
                </a:cubicBezTo>
                <a:cubicBezTo>
                  <a:pt x="313" y="249"/>
                  <a:pt x="311" y="245"/>
                  <a:pt x="311" y="238"/>
                </a:cubicBezTo>
                <a:cubicBezTo>
                  <a:pt x="311" y="233"/>
                  <a:pt x="311" y="226"/>
                  <a:pt x="311" y="218"/>
                </a:cubicBezTo>
                <a:cubicBezTo>
                  <a:pt x="311" y="214"/>
                  <a:pt x="307" y="210"/>
                  <a:pt x="303" y="210"/>
                </a:cubicBezTo>
                <a:cubicBezTo>
                  <a:pt x="175" y="210"/>
                  <a:pt x="175" y="210"/>
                  <a:pt x="175" y="210"/>
                </a:cubicBezTo>
                <a:cubicBezTo>
                  <a:pt x="171" y="210"/>
                  <a:pt x="167" y="214"/>
                  <a:pt x="167" y="218"/>
                </a:cubicBezTo>
                <a:cubicBezTo>
                  <a:pt x="167" y="223"/>
                  <a:pt x="171" y="226"/>
                  <a:pt x="175" y="226"/>
                </a:cubicBezTo>
                <a:cubicBezTo>
                  <a:pt x="295" y="226"/>
                  <a:pt x="295" y="226"/>
                  <a:pt x="295" y="226"/>
                </a:cubicBezTo>
                <a:cubicBezTo>
                  <a:pt x="295" y="231"/>
                  <a:pt x="295" y="235"/>
                  <a:pt x="295" y="238"/>
                </a:cubicBezTo>
                <a:cubicBezTo>
                  <a:pt x="295" y="247"/>
                  <a:pt x="297" y="254"/>
                  <a:pt x="301" y="260"/>
                </a:cubicBezTo>
                <a:cubicBezTo>
                  <a:pt x="304" y="265"/>
                  <a:pt x="311" y="269"/>
                  <a:pt x="317" y="269"/>
                </a:cubicBezTo>
                <a:cubicBezTo>
                  <a:pt x="317" y="269"/>
                  <a:pt x="317" y="269"/>
                  <a:pt x="318" y="269"/>
                </a:cubicBezTo>
                <a:cubicBezTo>
                  <a:pt x="325" y="269"/>
                  <a:pt x="332" y="265"/>
                  <a:pt x="338" y="260"/>
                </a:cubicBezTo>
                <a:cubicBezTo>
                  <a:pt x="353" y="247"/>
                  <a:pt x="398" y="212"/>
                  <a:pt x="398" y="212"/>
                </a:cubicBezTo>
                <a:cubicBezTo>
                  <a:pt x="398" y="212"/>
                  <a:pt x="450" y="172"/>
                  <a:pt x="464" y="161"/>
                </a:cubicBezTo>
                <a:cubicBezTo>
                  <a:pt x="472" y="154"/>
                  <a:pt x="477" y="145"/>
                  <a:pt x="477" y="134"/>
                </a:cubicBezTo>
                <a:cubicBezTo>
                  <a:pt x="477" y="124"/>
                  <a:pt x="472" y="115"/>
                  <a:pt x="464" y="108"/>
                </a:cubicBezTo>
                <a:close/>
                <a:moveTo>
                  <a:pt x="311" y="51"/>
                </a:moveTo>
                <a:cubicBezTo>
                  <a:pt x="311" y="43"/>
                  <a:pt x="311" y="36"/>
                  <a:pt x="311" y="31"/>
                </a:cubicBezTo>
                <a:cubicBezTo>
                  <a:pt x="311" y="24"/>
                  <a:pt x="313" y="20"/>
                  <a:pt x="314" y="19"/>
                </a:cubicBezTo>
                <a:cubicBezTo>
                  <a:pt x="315" y="17"/>
                  <a:pt x="316" y="17"/>
                  <a:pt x="318" y="17"/>
                </a:cubicBezTo>
                <a:cubicBezTo>
                  <a:pt x="320" y="17"/>
                  <a:pt x="324" y="18"/>
                  <a:pt x="328" y="21"/>
                </a:cubicBezTo>
                <a:cubicBezTo>
                  <a:pt x="333" y="26"/>
                  <a:pt x="342" y="33"/>
                  <a:pt x="352" y="40"/>
                </a:cubicBezTo>
                <a:cubicBezTo>
                  <a:pt x="355" y="43"/>
                  <a:pt x="360" y="42"/>
                  <a:pt x="363" y="39"/>
                </a:cubicBezTo>
                <a:cubicBezTo>
                  <a:pt x="366" y="35"/>
                  <a:pt x="365" y="30"/>
                  <a:pt x="361" y="28"/>
                </a:cubicBezTo>
                <a:cubicBezTo>
                  <a:pt x="352" y="20"/>
                  <a:pt x="343" y="13"/>
                  <a:pt x="338" y="9"/>
                </a:cubicBezTo>
                <a:cubicBezTo>
                  <a:pt x="332" y="4"/>
                  <a:pt x="325" y="1"/>
                  <a:pt x="318" y="1"/>
                </a:cubicBezTo>
                <a:cubicBezTo>
                  <a:pt x="311" y="0"/>
                  <a:pt x="305" y="4"/>
                  <a:pt x="301" y="9"/>
                </a:cubicBezTo>
                <a:cubicBezTo>
                  <a:pt x="297" y="15"/>
                  <a:pt x="295" y="22"/>
                  <a:pt x="295" y="31"/>
                </a:cubicBezTo>
                <a:cubicBezTo>
                  <a:pt x="295" y="34"/>
                  <a:pt x="295" y="38"/>
                  <a:pt x="295" y="43"/>
                </a:cubicBezTo>
                <a:cubicBezTo>
                  <a:pt x="8" y="43"/>
                  <a:pt x="8" y="43"/>
                  <a:pt x="8" y="43"/>
                </a:cubicBezTo>
                <a:cubicBezTo>
                  <a:pt x="3" y="43"/>
                  <a:pt x="0" y="46"/>
                  <a:pt x="0" y="51"/>
                </a:cubicBezTo>
                <a:cubicBezTo>
                  <a:pt x="0" y="55"/>
                  <a:pt x="3" y="59"/>
                  <a:pt x="8" y="59"/>
                </a:cubicBezTo>
                <a:cubicBezTo>
                  <a:pt x="303" y="59"/>
                  <a:pt x="303" y="59"/>
                  <a:pt x="303" y="59"/>
                </a:cubicBezTo>
                <a:cubicBezTo>
                  <a:pt x="307" y="59"/>
                  <a:pt x="311" y="55"/>
                  <a:pt x="311" y="51"/>
                </a:cubicBezTo>
                <a:close/>
                <a:moveTo>
                  <a:pt x="311" y="163"/>
                </a:moveTo>
                <a:cubicBezTo>
                  <a:pt x="311" y="158"/>
                  <a:pt x="307" y="155"/>
                  <a:pt x="303" y="155"/>
                </a:cubicBezTo>
                <a:cubicBezTo>
                  <a:pt x="129" y="155"/>
                  <a:pt x="129" y="155"/>
                  <a:pt x="129" y="155"/>
                </a:cubicBezTo>
                <a:cubicBezTo>
                  <a:pt x="125" y="155"/>
                  <a:pt x="121" y="158"/>
                  <a:pt x="121" y="163"/>
                </a:cubicBezTo>
                <a:cubicBezTo>
                  <a:pt x="121" y="167"/>
                  <a:pt x="125" y="171"/>
                  <a:pt x="129" y="171"/>
                </a:cubicBezTo>
                <a:cubicBezTo>
                  <a:pt x="303" y="171"/>
                  <a:pt x="303" y="171"/>
                  <a:pt x="303" y="171"/>
                </a:cubicBezTo>
                <a:cubicBezTo>
                  <a:pt x="307" y="171"/>
                  <a:pt x="311" y="167"/>
                  <a:pt x="311" y="163"/>
                </a:cubicBezTo>
                <a:close/>
                <a:moveTo>
                  <a:pt x="311" y="107"/>
                </a:moveTo>
                <a:cubicBezTo>
                  <a:pt x="311" y="102"/>
                  <a:pt x="307" y="99"/>
                  <a:pt x="303" y="99"/>
                </a:cubicBezTo>
                <a:cubicBezTo>
                  <a:pt x="67" y="99"/>
                  <a:pt x="67" y="99"/>
                  <a:pt x="67" y="99"/>
                </a:cubicBezTo>
                <a:cubicBezTo>
                  <a:pt x="63" y="99"/>
                  <a:pt x="59" y="102"/>
                  <a:pt x="59" y="107"/>
                </a:cubicBezTo>
                <a:cubicBezTo>
                  <a:pt x="59" y="111"/>
                  <a:pt x="63" y="115"/>
                  <a:pt x="67" y="115"/>
                </a:cubicBezTo>
                <a:cubicBezTo>
                  <a:pt x="303" y="115"/>
                  <a:pt x="303" y="115"/>
                  <a:pt x="303" y="115"/>
                </a:cubicBezTo>
                <a:cubicBezTo>
                  <a:pt x="307" y="115"/>
                  <a:pt x="311" y="111"/>
                  <a:pt x="311" y="10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95" name="Freeform 3"/>
          <p:cNvSpPr>
            <a:spLocks noChangeAspect="1" noEditPoints="1"/>
          </p:cNvSpPr>
          <p:nvPr/>
        </p:nvSpPr>
        <p:spPr bwMode="auto">
          <a:xfrm>
            <a:off x="1174926" y="5434610"/>
            <a:ext cx="997943" cy="675079"/>
          </a:xfrm>
          <a:custGeom>
            <a:avLst/>
            <a:gdLst>
              <a:gd name="T0" fmla="*/ 2147483647 w 526"/>
              <a:gd name="T1" fmla="*/ 2147483647 h 374"/>
              <a:gd name="T2" fmla="*/ 2147483647 w 526"/>
              <a:gd name="T3" fmla="*/ 2147483647 h 374"/>
              <a:gd name="T4" fmla="*/ 2147483647 w 526"/>
              <a:gd name="T5" fmla="*/ 2147483647 h 374"/>
              <a:gd name="T6" fmla="*/ 2147483647 w 526"/>
              <a:gd name="T7" fmla="*/ 2147483647 h 374"/>
              <a:gd name="T8" fmla="*/ 2147483647 w 526"/>
              <a:gd name="T9" fmla="*/ 2147483647 h 374"/>
              <a:gd name="T10" fmla="*/ 2147483647 w 526"/>
              <a:gd name="T11" fmla="*/ 2147483647 h 374"/>
              <a:gd name="T12" fmla="*/ 2147483647 w 526"/>
              <a:gd name="T13" fmla="*/ 2147483647 h 374"/>
              <a:gd name="T14" fmla="*/ 2147483647 w 526"/>
              <a:gd name="T15" fmla="*/ 2147483647 h 374"/>
              <a:gd name="T16" fmla="*/ 2147483647 w 526"/>
              <a:gd name="T17" fmla="*/ 2147483647 h 374"/>
              <a:gd name="T18" fmla="*/ 2147483647 w 526"/>
              <a:gd name="T19" fmla="*/ 2147483647 h 374"/>
              <a:gd name="T20" fmla="*/ 2147483647 w 526"/>
              <a:gd name="T21" fmla="*/ 0 h 374"/>
              <a:gd name="T22" fmla="*/ 2147483647 w 526"/>
              <a:gd name="T23" fmla="*/ 2147483647 h 374"/>
              <a:gd name="T24" fmla="*/ 2147483647 w 526"/>
              <a:gd name="T25" fmla="*/ 2147483647 h 374"/>
              <a:gd name="T26" fmla="*/ 2147483647 w 526"/>
              <a:gd name="T27" fmla="*/ 2147483647 h 374"/>
              <a:gd name="T28" fmla="*/ 2147483647 w 526"/>
              <a:gd name="T29" fmla="*/ 2147483647 h 374"/>
              <a:gd name="T30" fmla="*/ 2147483647 w 526"/>
              <a:gd name="T31" fmla="*/ 2147483647 h 374"/>
              <a:gd name="T32" fmla="*/ 2147483647 w 526"/>
              <a:gd name="T33" fmla="*/ 2147483647 h 374"/>
              <a:gd name="T34" fmla="*/ 2147483647 w 526"/>
              <a:gd name="T35" fmla="*/ 2147483647 h 374"/>
              <a:gd name="T36" fmla="*/ 2147483647 w 526"/>
              <a:gd name="T37" fmla="*/ 2147483647 h 374"/>
              <a:gd name="T38" fmla="*/ 2147483647 w 526"/>
              <a:gd name="T39" fmla="*/ 2147483647 h 374"/>
              <a:gd name="T40" fmla="*/ 0 w 526"/>
              <a:gd name="T41" fmla="*/ 2147483647 h 374"/>
              <a:gd name="T42" fmla="*/ 2147483647 w 526"/>
              <a:gd name="T43" fmla="*/ 2147483647 h 374"/>
              <a:gd name="T44" fmla="*/ 2147483647 w 526"/>
              <a:gd name="T45" fmla="*/ 2147483647 h 374"/>
              <a:gd name="T46" fmla="*/ 2147483647 w 526"/>
              <a:gd name="T47" fmla="*/ 2147483647 h 374"/>
              <a:gd name="T48" fmla="*/ 2147483647 w 526"/>
              <a:gd name="T49" fmla="*/ 2147483647 h 374"/>
              <a:gd name="T50" fmla="*/ 2147483647 w 526"/>
              <a:gd name="T51" fmla="*/ 2147483647 h 374"/>
              <a:gd name="T52" fmla="*/ 2147483647 w 526"/>
              <a:gd name="T53" fmla="*/ 2147483647 h 374"/>
              <a:gd name="T54" fmla="*/ 2147483647 w 526"/>
              <a:gd name="T55" fmla="*/ 2147483647 h 374"/>
              <a:gd name="T56" fmla="*/ 2147483647 w 526"/>
              <a:gd name="T57" fmla="*/ 2147483647 h 374"/>
              <a:gd name="T58" fmla="*/ 2147483647 w 526"/>
              <a:gd name="T59" fmla="*/ 2147483647 h 374"/>
              <a:gd name="T60" fmla="*/ 2147483647 w 526"/>
              <a:gd name="T61" fmla="*/ 2147483647 h 374"/>
              <a:gd name="T62" fmla="*/ 2147483647 w 526"/>
              <a:gd name="T63" fmla="*/ 2147483647 h 374"/>
              <a:gd name="T64" fmla="*/ 2147483647 w 526"/>
              <a:gd name="T65" fmla="*/ 2147483647 h 374"/>
              <a:gd name="T66" fmla="*/ 2147483647 w 526"/>
              <a:gd name="T67" fmla="*/ 2147483647 h 374"/>
              <a:gd name="T68" fmla="*/ 2147483647 w 526"/>
              <a:gd name="T69" fmla="*/ 2147483647 h 374"/>
              <a:gd name="T70" fmla="*/ 2147483647 w 526"/>
              <a:gd name="T71" fmla="*/ 2147483647 h 374"/>
              <a:gd name="T72" fmla="*/ 2147483647 w 526"/>
              <a:gd name="T73" fmla="*/ 2147483647 h 374"/>
              <a:gd name="T74" fmla="*/ 2147483647 w 526"/>
              <a:gd name="T75" fmla="*/ 2147483647 h 374"/>
              <a:gd name="T76" fmla="*/ 2147483647 w 526"/>
              <a:gd name="T77" fmla="*/ 2147483647 h 374"/>
              <a:gd name="T78" fmla="*/ 2147483647 w 526"/>
              <a:gd name="T79" fmla="*/ 2147483647 h 374"/>
              <a:gd name="T80" fmla="*/ 2147483647 w 526"/>
              <a:gd name="T81" fmla="*/ 2147483647 h 374"/>
              <a:gd name="T82" fmla="*/ 2147483647 w 526"/>
              <a:gd name="T83" fmla="*/ 2147483647 h 374"/>
              <a:gd name="T84" fmla="*/ 2147483647 w 526"/>
              <a:gd name="T85" fmla="*/ 2147483647 h 374"/>
              <a:gd name="T86" fmla="*/ 2147483647 w 526"/>
              <a:gd name="T87" fmla="*/ 2147483647 h 374"/>
              <a:gd name="T88" fmla="*/ 2147483647 w 526"/>
              <a:gd name="T89" fmla="*/ 2147483647 h 374"/>
              <a:gd name="T90" fmla="*/ 2147483647 w 526"/>
              <a:gd name="T91" fmla="*/ 2147483647 h 374"/>
              <a:gd name="T92" fmla="*/ 2147483647 w 526"/>
              <a:gd name="T93" fmla="*/ 2147483647 h 374"/>
              <a:gd name="T94" fmla="*/ 2147483647 w 526"/>
              <a:gd name="T95" fmla="*/ 2147483647 h 374"/>
              <a:gd name="T96" fmla="*/ 2147483647 w 526"/>
              <a:gd name="T97" fmla="*/ 2147483647 h 374"/>
              <a:gd name="T98" fmla="*/ 2147483647 w 526"/>
              <a:gd name="T99" fmla="*/ 2147483647 h 374"/>
              <a:gd name="T100" fmla="*/ 2147483647 w 526"/>
              <a:gd name="T101" fmla="*/ 2147483647 h 374"/>
              <a:gd name="T102" fmla="*/ 2147483647 w 526"/>
              <a:gd name="T103" fmla="*/ 2147483647 h 374"/>
              <a:gd name="T104" fmla="*/ 2147483647 w 526"/>
              <a:gd name="T105" fmla="*/ 2147483647 h 374"/>
              <a:gd name="T106" fmla="*/ 2147483647 w 526"/>
              <a:gd name="T107" fmla="*/ 2147483647 h 374"/>
              <a:gd name="T108" fmla="*/ 2147483647 w 526"/>
              <a:gd name="T109" fmla="*/ 2147483647 h 374"/>
              <a:gd name="T110" fmla="*/ 2147483647 w 526"/>
              <a:gd name="T111" fmla="*/ 2147483647 h 374"/>
              <a:gd name="T112" fmla="*/ 2147483647 w 526"/>
              <a:gd name="T113" fmla="*/ 2147483647 h 37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26"/>
              <a:gd name="T172" fmla="*/ 0 h 374"/>
              <a:gd name="T173" fmla="*/ 526 w 526"/>
              <a:gd name="T174" fmla="*/ 374 h 37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26" h="374">
                <a:moveTo>
                  <a:pt x="525" y="68"/>
                </a:moveTo>
                <a:cubicBezTo>
                  <a:pt x="525" y="65"/>
                  <a:pt x="523" y="63"/>
                  <a:pt x="521" y="61"/>
                </a:cubicBezTo>
                <a:cubicBezTo>
                  <a:pt x="519" y="60"/>
                  <a:pt x="516" y="59"/>
                  <a:pt x="514" y="61"/>
                </a:cubicBezTo>
                <a:cubicBezTo>
                  <a:pt x="435" y="95"/>
                  <a:pt x="435" y="95"/>
                  <a:pt x="435" y="95"/>
                </a:cubicBezTo>
                <a:cubicBezTo>
                  <a:pt x="432" y="97"/>
                  <a:pt x="430" y="99"/>
                  <a:pt x="430" y="102"/>
                </a:cubicBezTo>
                <a:cubicBezTo>
                  <a:pt x="430" y="105"/>
                  <a:pt x="431" y="108"/>
                  <a:pt x="434" y="110"/>
                </a:cubicBezTo>
                <a:cubicBezTo>
                  <a:pt x="452" y="120"/>
                  <a:pt x="452" y="120"/>
                  <a:pt x="452" y="120"/>
                </a:cubicBezTo>
                <a:cubicBezTo>
                  <a:pt x="443" y="139"/>
                  <a:pt x="428" y="161"/>
                  <a:pt x="411" y="182"/>
                </a:cubicBezTo>
                <a:cubicBezTo>
                  <a:pt x="411" y="67"/>
                  <a:pt x="411" y="67"/>
                  <a:pt x="411" y="67"/>
                </a:cubicBezTo>
                <a:cubicBezTo>
                  <a:pt x="411" y="63"/>
                  <a:pt x="408" y="59"/>
                  <a:pt x="403" y="59"/>
                </a:cubicBezTo>
                <a:cubicBezTo>
                  <a:pt x="399" y="59"/>
                  <a:pt x="395" y="63"/>
                  <a:pt x="395" y="67"/>
                </a:cubicBezTo>
                <a:cubicBezTo>
                  <a:pt x="395" y="201"/>
                  <a:pt x="395" y="201"/>
                  <a:pt x="395" y="201"/>
                </a:cubicBezTo>
                <a:cubicBezTo>
                  <a:pt x="376" y="223"/>
                  <a:pt x="353" y="245"/>
                  <a:pt x="331" y="262"/>
                </a:cubicBezTo>
                <a:cubicBezTo>
                  <a:pt x="331" y="17"/>
                  <a:pt x="331" y="17"/>
                  <a:pt x="331" y="17"/>
                </a:cubicBezTo>
                <a:cubicBezTo>
                  <a:pt x="331" y="16"/>
                  <a:pt x="332" y="16"/>
                  <a:pt x="332" y="16"/>
                </a:cubicBezTo>
                <a:cubicBezTo>
                  <a:pt x="394" y="16"/>
                  <a:pt x="394" y="16"/>
                  <a:pt x="394" y="16"/>
                </a:cubicBezTo>
                <a:cubicBezTo>
                  <a:pt x="395" y="16"/>
                  <a:pt x="395" y="16"/>
                  <a:pt x="395" y="17"/>
                </a:cubicBezTo>
                <a:cubicBezTo>
                  <a:pt x="395" y="31"/>
                  <a:pt x="395" y="31"/>
                  <a:pt x="395" y="31"/>
                </a:cubicBezTo>
                <a:cubicBezTo>
                  <a:pt x="395" y="35"/>
                  <a:pt x="399" y="39"/>
                  <a:pt x="403" y="39"/>
                </a:cubicBezTo>
                <a:cubicBezTo>
                  <a:pt x="408" y="39"/>
                  <a:pt x="411" y="35"/>
                  <a:pt x="411" y="31"/>
                </a:cubicBezTo>
                <a:cubicBezTo>
                  <a:pt x="411" y="17"/>
                  <a:pt x="411" y="17"/>
                  <a:pt x="411" y="17"/>
                </a:cubicBezTo>
                <a:cubicBezTo>
                  <a:pt x="411" y="7"/>
                  <a:pt x="404" y="0"/>
                  <a:pt x="394" y="0"/>
                </a:cubicBezTo>
                <a:cubicBezTo>
                  <a:pt x="332" y="0"/>
                  <a:pt x="332" y="0"/>
                  <a:pt x="332" y="0"/>
                </a:cubicBezTo>
                <a:cubicBezTo>
                  <a:pt x="323" y="0"/>
                  <a:pt x="315" y="7"/>
                  <a:pt x="315" y="17"/>
                </a:cubicBezTo>
                <a:cubicBezTo>
                  <a:pt x="315" y="274"/>
                  <a:pt x="315" y="274"/>
                  <a:pt x="315" y="274"/>
                </a:cubicBezTo>
                <a:cubicBezTo>
                  <a:pt x="312" y="276"/>
                  <a:pt x="309" y="278"/>
                  <a:pt x="306" y="280"/>
                </a:cubicBezTo>
                <a:cubicBezTo>
                  <a:pt x="307" y="73"/>
                  <a:pt x="307" y="73"/>
                  <a:pt x="307" y="73"/>
                </a:cubicBezTo>
                <a:cubicBezTo>
                  <a:pt x="306" y="64"/>
                  <a:pt x="299" y="56"/>
                  <a:pt x="289" y="56"/>
                </a:cubicBezTo>
                <a:cubicBezTo>
                  <a:pt x="227" y="56"/>
                  <a:pt x="227" y="56"/>
                  <a:pt x="227" y="56"/>
                </a:cubicBezTo>
                <a:cubicBezTo>
                  <a:pt x="218" y="56"/>
                  <a:pt x="210" y="64"/>
                  <a:pt x="210" y="73"/>
                </a:cubicBezTo>
                <a:cubicBezTo>
                  <a:pt x="210" y="323"/>
                  <a:pt x="210" y="323"/>
                  <a:pt x="210" y="323"/>
                </a:cubicBezTo>
                <a:cubicBezTo>
                  <a:pt x="207" y="324"/>
                  <a:pt x="204" y="325"/>
                  <a:pt x="202" y="326"/>
                </a:cubicBezTo>
                <a:cubicBezTo>
                  <a:pt x="202" y="130"/>
                  <a:pt x="202" y="130"/>
                  <a:pt x="202" y="130"/>
                </a:cubicBezTo>
                <a:cubicBezTo>
                  <a:pt x="202" y="120"/>
                  <a:pt x="194" y="112"/>
                  <a:pt x="184" y="112"/>
                </a:cubicBezTo>
                <a:cubicBezTo>
                  <a:pt x="123" y="112"/>
                  <a:pt x="123" y="112"/>
                  <a:pt x="123" y="112"/>
                </a:cubicBezTo>
                <a:cubicBezTo>
                  <a:pt x="113" y="112"/>
                  <a:pt x="105" y="120"/>
                  <a:pt x="105" y="130"/>
                </a:cubicBezTo>
                <a:cubicBezTo>
                  <a:pt x="105" y="347"/>
                  <a:pt x="105" y="347"/>
                  <a:pt x="105" y="347"/>
                </a:cubicBezTo>
                <a:cubicBezTo>
                  <a:pt x="102" y="347"/>
                  <a:pt x="99" y="348"/>
                  <a:pt x="97" y="348"/>
                </a:cubicBezTo>
                <a:cubicBezTo>
                  <a:pt x="97" y="186"/>
                  <a:pt x="97" y="186"/>
                  <a:pt x="97" y="186"/>
                </a:cubicBezTo>
                <a:cubicBezTo>
                  <a:pt x="97" y="177"/>
                  <a:pt x="89" y="169"/>
                  <a:pt x="79" y="169"/>
                </a:cubicBezTo>
                <a:cubicBezTo>
                  <a:pt x="18" y="169"/>
                  <a:pt x="18" y="169"/>
                  <a:pt x="18" y="169"/>
                </a:cubicBezTo>
                <a:cubicBezTo>
                  <a:pt x="8" y="169"/>
                  <a:pt x="0" y="177"/>
                  <a:pt x="0" y="186"/>
                </a:cubicBezTo>
                <a:cubicBezTo>
                  <a:pt x="0" y="355"/>
                  <a:pt x="0" y="355"/>
                  <a:pt x="0" y="355"/>
                </a:cubicBezTo>
                <a:cubicBezTo>
                  <a:pt x="0" y="365"/>
                  <a:pt x="7" y="372"/>
                  <a:pt x="16" y="373"/>
                </a:cubicBezTo>
                <a:cubicBezTo>
                  <a:pt x="17" y="373"/>
                  <a:pt x="17" y="373"/>
                  <a:pt x="17" y="373"/>
                </a:cubicBezTo>
                <a:cubicBezTo>
                  <a:pt x="17" y="373"/>
                  <a:pt x="34" y="374"/>
                  <a:pt x="60" y="374"/>
                </a:cubicBezTo>
                <a:cubicBezTo>
                  <a:pt x="76" y="374"/>
                  <a:pt x="96" y="373"/>
                  <a:pt x="118" y="372"/>
                </a:cubicBezTo>
                <a:cubicBezTo>
                  <a:pt x="119" y="372"/>
                  <a:pt x="121" y="373"/>
                  <a:pt x="123" y="373"/>
                </a:cubicBezTo>
                <a:cubicBezTo>
                  <a:pt x="184" y="373"/>
                  <a:pt x="184" y="373"/>
                  <a:pt x="184" y="373"/>
                </a:cubicBezTo>
                <a:cubicBezTo>
                  <a:pt x="191" y="373"/>
                  <a:pt x="197" y="369"/>
                  <a:pt x="200" y="363"/>
                </a:cubicBezTo>
                <a:cubicBezTo>
                  <a:pt x="203" y="363"/>
                  <a:pt x="207" y="362"/>
                  <a:pt x="211" y="361"/>
                </a:cubicBezTo>
                <a:cubicBezTo>
                  <a:pt x="214" y="368"/>
                  <a:pt x="220" y="373"/>
                  <a:pt x="227" y="373"/>
                </a:cubicBezTo>
                <a:cubicBezTo>
                  <a:pt x="289" y="373"/>
                  <a:pt x="289" y="373"/>
                  <a:pt x="289" y="373"/>
                </a:cubicBezTo>
                <a:cubicBezTo>
                  <a:pt x="299" y="373"/>
                  <a:pt x="306" y="365"/>
                  <a:pt x="306" y="355"/>
                </a:cubicBezTo>
                <a:cubicBezTo>
                  <a:pt x="306" y="335"/>
                  <a:pt x="306" y="335"/>
                  <a:pt x="306" y="335"/>
                </a:cubicBezTo>
                <a:cubicBezTo>
                  <a:pt x="307" y="335"/>
                  <a:pt x="307" y="334"/>
                  <a:pt x="308" y="334"/>
                </a:cubicBezTo>
                <a:cubicBezTo>
                  <a:pt x="310" y="333"/>
                  <a:pt x="313" y="332"/>
                  <a:pt x="315" y="331"/>
                </a:cubicBezTo>
                <a:cubicBezTo>
                  <a:pt x="315" y="355"/>
                  <a:pt x="315" y="355"/>
                  <a:pt x="315" y="355"/>
                </a:cubicBezTo>
                <a:cubicBezTo>
                  <a:pt x="315" y="365"/>
                  <a:pt x="323" y="373"/>
                  <a:pt x="332" y="373"/>
                </a:cubicBezTo>
                <a:cubicBezTo>
                  <a:pt x="394" y="373"/>
                  <a:pt x="394" y="373"/>
                  <a:pt x="394" y="373"/>
                </a:cubicBezTo>
                <a:cubicBezTo>
                  <a:pt x="404" y="373"/>
                  <a:pt x="411" y="365"/>
                  <a:pt x="411" y="355"/>
                </a:cubicBezTo>
                <a:cubicBezTo>
                  <a:pt x="411" y="273"/>
                  <a:pt x="411" y="273"/>
                  <a:pt x="411" y="273"/>
                </a:cubicBezTo>
                <a:cubicBezTo>
                  <a:pt x="461" y="234"/>
                  <a:pt x="490" y="195"/>
                  <a:pt x="501" y="176"/>
                </a:cubicBezTo>
                <a:cubicBezTo>
                  <a:pt x="511" y="191"/>
                  <a:pt x="511" y="191"/>
                  <a:pt x="511" y="191"/>
                </a:cubicBezTo>
                <a:cubicBezTo>
                  <a:pt x="513" y="194"/>
                  <a:pt x="517" y="195"/>
                  <a:pt x="520" y="194"/>
                </a:cubicBezTo>
                <a:cubicBezTo>
                  <a:pt x="524" y="193"/>
                  <a:pt x="526" y="190"/>
                  <a:pt x="526" y="186"/>
                </a:cubicBezTo>
                <a:lnTo>
                  <a:pt x="525" y="68"/>
                </a:lnTo>
                <a:close/>
                <a:moveTo>
                  <a:pt x="226" y="73"/>
                </a:moveTo>
                <a:cubicBezTo>
                  <a:pt x="226" y="73"/>
                  <a:pt x="227" y="72"/>
                  <a:pt x="227" y="72"/>
                </a:cubicBezTo>
                <a:cubicBezTo>
                  <a:pt x="289" y="72"/>
                  <a:pt x="289" y="72"/>
                  <a:pt x="289" y="72"/>
                </a:cubicBezTo>
                <a:cubicBezTo>
                  <a:pt x="290" y="72"/>
                  <a:pt x="290" y="73"/>
                  <a:pt x="290" y="73"/>
                </a:cubicBezTo>
                <a:cubicBezTo>
                  <a:pt x="290" y="290"/>
                  <a:pt x="290" y="290"/>
                  <a:pt x="290" y="290"/>
                </a:cubicBezTo>
                <a:cubicBezTo>
                  <a:pt x="271" y="301"/>
                  <a:pt x="249" y="310"/>
                  <a:pt x="226" y="318"/>
                </a:cubicBezTo>
                <a:lnTo>
                  <a:pt x="226" y="73"/>
                </a:lnTo>
                <a:close/>
                <a:moveTo>
                  <a:pt x="123" y="128"/>
                </a:moveTo>
                <a:cubicBezTo>
                  <a:pt x="184" y="128"/>
                  <a:pt x="184" y="128"/>
                  <a:pt x="184" y="128"/>
                </a:cubicBezTo>
                <a:cubicBezTo>
                  <a:pt x="185" y="128"/>
                  <a:pt x="186" y="129"/>
                  <a:pt x="186" y="130"/>
                </a:cubicBezTo>
                <a:cubicBezTo>
                  <a:pt x="186" y="330"/>
                  <a:pt x="186" y="330"/>
                  <a:pt x="186" y="330"/>
                </a:cubicBezTo>
                <a:cubicBezTo>
                  <a:pt x="164" y="336"/>
                  <a:pt x="142" y="341"/>
                  <a:pt x="121" y="344"/>
                </a:cubicBezTo>
                <a:cubicBezTo>
                  <a:pt x="121" y="130"/>
                  <a:pt x="121" y="130"/>
                  <a:pt x="121" y="130"/>
                </a:cubicBezTo>
                <a:cubicBezTo>
                  <a:pt x="121" y="129"/>
                  <a:pt x="122" y="128"/>
                  <a:pt x="123" y="128"/>
                </a:cubicBezTo>
                <a:close/>
                <a:moveTo>
                  <a:pt x="16" y="186"/>
                </a:moveTo>
                <a:cubicBezTo>
                  <a:pt x="16" y="185"/>
                  <a:pt x="17" y="185"/>
                  <a:pt x="18" y="185"/>
                </a:cubicBezTo>
                <a:cubicBezTo>
                  <a:pt x="79" y="185"/>
                  <a:pt x="79" y="185"/>
                  <a:pt x="79" y="185"/>
                </a:cubicBezTo>
                <a:cubicBezTo>
                  <a:pt x="80" y="185"/>
                  <a:pt x="81" y="185"/>
                  <a:pt x="81" y="186"/>
                </a:cubicBezTo>
                <a:cubicBezTo>
                  <a:pt x="81" y="351"/>
                  <a:pt x="81" y="351"/>
                  <a:pt x="81" y="351"/>
                </a:cubicBezTo>
                <a:cubicBezTo>
                  <a:pt x="68" y="352"/>
                  <a:pt x="56" y="354"/>
                  <a:pt x="46" y="354"/>
                </a:cubicBezTo>
                <a:cubicBezTo>
                  <a:pt x="30" y="356"/>
                  <a:pt x="19" y="357"/>
                  <a:pt x="18" y="357"/>
                </a:cubicBezTo>
                <a:cubicBezTo>
                  <a:pt x="17" y="357"/>
                  <a:pt x="16" y="356"/>
                  <a:pt x="16" y="355"/>
                </a:cubicBezTo>
                <a:lnTo>
                  <a:pt x="16" y="186"/>
                </a:lnTo>
                <a:close/>
                <a:moveTo>
                  <a:pt x="290" y="355"/>
                </a:moveTo>
                <a:cubicBezTo>
                  <a:pt x="290" y="356"/>
                  <a:pt x="290" y="357"/>
                  <a:pt x="289" y="357"/>
                </a:cubicBezTo>
                <a:cubicBezTo>
                  <a:pt x="235" y="357"/>
                  <a:pt x="235" y="357"/>
                  <a:pt x="235" y="357"/>
                </a:cubicBezTo>
                <a:cubicBezTo>
                  <a:pt x="254" y="353"/>
                  <a:pt x="273" y="347"/>
                  <a:pt x="290" y="341"/>
                </a:cubicBezTo>
                <a:lnTo>
                  <a:pt x="290" y="355"/>
                </a:lnTo>
                <a:close/>
                <a:moveTo>
                  <a:pt x="395" y="355"/>
                </a:moveTo>
                <a:cubicBezTo>
                  <a:pt x="395" y="356"/>
                  <a:pt x="395" y="357"/>
                  <a:pt x="394" y="357"/>
                </a:cubicBezTo>
                <a:cubicBezTo>
                  <a:pt x="332" y="357"/>
                  <a:pt x="332" y="357"/>
                  <a:pt x="332" y="357"/>
                </a:cubicBezTo>
                <a:cubicBezTo>
                  <a:pt x="332" y="357"/>
                  <a:pt x="331" y="356"/>
                  <a:pt x="331" y="355"/>
                </a:cubicBezTo>
                <a:cubicBezTo>
                  <a:pt x="331" y="323"/>
                  <a:pt x="331" y="323"/>
                  <a:pt x="331" y="323"/>
                </a:cubicBezTo>
                <a:cubicBezTo>
                  <a:pt x="355" y="312"/>
                  <a:pt x="377" y="299"/>
                  <a:pt x="395" y="285"/>
                </a:cubicBezTo>
                <a:lnTo>
                  <a:pt x="395" y="355"/>
                </a:lnTo>
                <a:close/>
                <a:moveTo>
                  <a:pt x="507" y="157"/>
                </a:moveTo>
                <a:cubicBezTo>
                  <a:pt x="506" y="155"/>
                  <a:pt x="503" y="153"/>
                  <a:pt x="500" y="154"/>
                </a:cubicBezTo>
                <a:cubicBezTo>
                  <a:pt x="497" y="154"/>
                  <a:pt x="495" y="155"/>
                  <a:pt x="494" y="158"/>
                </a:cubicBezTo>
                <a:cubicBezTo>
                  <a:pt x="494" y="158"/>
                  <a:pt x="493" y="159"/>
                  <a:pt x="491" y="162"/>
                </a:cubicBezTo>
                <a:cubicBezTo>
                  <a:pt x="480" y="182"/>
                  <a:pt x="425" y="267"/>
                  <a:pt x="301" y="319"/>
                </a:cubicBezTo>
                <a:cubicBezTo>
                  <a:pt x="260" y="337"/>
                  <a:pt x="210" y="347"/>
                  <a:pt x="164" y="352"/>
                </a:cubicBezTo>
                <a:cubicBezTo>
                  <a:pt x="212" y="341"/>
                  <a:pt x="264" y="325"/>
                  <a:pt x="305" y="300"/>
                </a:cubicBezTo>
                <a:cubicBezTo>
                  <a:pt x="368" y="262"/>
                  <a:pt x="442" y="182"/>
                  <a:pt x="469" y="120"/>
                </a:cubicBezTo>
                <a:cubicBezTo>
                  <a:pt x="471" y="117"/>
                  <a:pt x="469" y="112"/>
                  <a:pt x="466" y="110"/>
                </a:cubicBezTo>
                <a:cubicBezTo>
                  <a:pt x="455" y="104"/>
                  <a:pt x="455" y="104"/>
                  <a:pt x="455" y="104"/>
                </a:cubicBezTo>
                <a:cubicBezTo>
                  <a:pt x="509" y="80"/>
                  <a:pt x="509" y="80"/>
                  <a:pt x="509" y="80"/>
                </a:cubicBezTo>
                <a:cubicBezTo>
                  <a:pt x="510" y="161"/>
                  <a:pt x="510" y="161"/>
                  <a:pt x="510" y="161"/>
                </a:cubicBezTo>
                <a:lnTo>
                  <a:pt x="507" y="157"/>
                </a:lnTo>
                <a:close/>
              </a:path>
            </a:pathLst>
          </a:custGeom>
          <a:solidFill>
            <a:srgbClr val="7B06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96" name="Rounded Rectangle 6"/>
          <p:cNvSpPr>
            <a:spLocks noChangeArrowheads="1"/>
          </p:cNvSpPr>
          <p:nvPr/>
        </p:nvSpPr>
        <p:spPr bwMode="auto">
          <a:xfrm rot="16200000">
            <a:off x="-1514711" y="3898900"/>
            <a:ext cx="4449762" cy="668338"/>
          </a:xfrm>
          <a:prstGeom prst="roundRect">
            <a:avLst>
              <a:gd name="adj" fmla="val 16667"/>
            </a:avLst>
          </a:prstGeom>
          <a:solidFill>
            <a:srgbClr val="87888A"/>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nchor="ctr"/>
          <a:lstStyle/>
          <a:p>
            <a:pPr algn="ctr"/>
            <a:r>
              <a:rPr lang="en-US" sz="2400">
                <a:solidFill>
                  <a:srgbClr val="FFFFFF"/>
                </a:solidFill>
                <a:cs typeface="Arial" pitchFamily="34" charset="0"/>
              </a:rPr>
              <a:t>CxO TOP PRIORITIES</a:t>
            </a:r>
          </a:p>
        </p:txBody>
      </p:sp>
      <p:sp>
        <p:nvSpPr>
          <p:cNvPr id="97" name="Freeform 3"/>
          <p:cNvSpPr>
            <a:spLocks noChangeAspect="1" noEditPoints="1"/>
          </p:cNvSpPr>
          <p:nvPr/>
        </p:nvSpPr>
        <p:spPr bwMode="auto">
          <a:xfrm>
            <a:off x="1172578" y="3869320"/>
            <a:ext cx="1002639" cy="729086"/>
          </a:xfrm>
          <a:custGeom>
            <a:avLst/>
            <a:gdLst>
              <a:gd name="T0" fmla="*/ 2147483647 w 421"/>
              <a:gd name="T1" fmla="*/ 2147483647 h 318"/>
              <a:gd name="T2" fmla="*/ 2147483647 w 421"/>
              <a:gd name="T3" fmla="*/ 2147483647 h 318"/>
              <a:gd name="T4" fmla="*/ 2147483647 w 421"/>
              <a:gd name="T5" fmla="*/ 2147483647 h 318"/>
              <a:gd name="T6" fmla="*/ 2147483647 w 421"/>
              <a:gd name="T7" fmla="*/ 2147483647 h 318"/>
              <a:gd name="T8" fmla="*/ 2147483647 w 421"/>
              <a:gd name="T9" fmla="*/ 2147483647 h 318"/>
              <a:gd name="T10" fmla="*/ 2147483647 w 421"/>
              <a:gd name="T11" fmla="*/ 2147483647 h 318"/>
              <a:gd name="T12" fmla="*/ 2147483647 w 421"/>
              <a:gd name="T13" fmla="*/ 2147483647 h 318"/>
              <a:gd name="T14" fmla="*/ 2147483647 w 421"/>
              <a:gd name="T15" fmla="*/ 2147483647 h 318"/>
              <a:gd name="T16" fmla="*/ 2147483647 w 421"/>
              <a:gd name="T17" fmla="*/ 2147483647 h 318"/>
              <a:gd name="T18" fmla="*/ 2147483647 w 421"/>
              <a:gd name="T19" fmla="*/ 2147483647 h 318"/>
              <a:gd name="T20" fmla="*/ 2147483647 w 421"/>
              <a:gd name="T21" fmla="*/ 2147483647 h 318"/>
              <a:gd name="T22" fmla="*/ 2147483647 w 421"/>
              <a:gd name="T23" fmla="*/ 2147483647 h 318"/>
              <a:gd name="T24" fmla="*/ 2147483647 w 421"/>
              <a:gd name="T25" fmla="*/ 2147483647 h 318"/>
              <a:gd name="T26" fmla="*/ 2147483647 w 421"/>
              <a:gd name="T27" fmla="*/ 2147483647 h 318"/>
              <a:gd name="T28" fmla="*/ 2147483647 w 421"/>
              <a:gd name="T29" fmla="*/ 2147483647 h 318"/>
              <a:gd name="T30" fmla="*/ 2147483647 w 421"/>
              <a:gd name="T31" fmla="*/ 2147483647 h 318"/>
              <a:gd name="T32" fmla="*/ 2147483647 w 421"/>
              <a:gd name="T33" fmla="*/ 2147483647 h 318"/>
              <a:gd name="T34" fmla="*/ 2147483647 w 421"/>
              <a:gd name="T35" fmla="*/ 2147483647 h 318"/>
              <a:gd name="T36" fmla="*/ 2147483647 w 421"/>
              <a:gd name="T37" fmla="*/ 2147483647 h 318"/>
              <a:gd name="T38" fmla="*/ 2147483647 w 421"/>
              <a:gd name="T39" fmla="*/ 2147483647 h 318"/>
              <a:gd name="T40" fmla="*/ 2147483647 w 421"/>
              <a:gd name="T41" fmla="*/ 2147483647 h 318"/>
              <a:gd name="T42" fmla="*/ 2147483647 w 421"/>
              <a:gd name="T43" fmla="*/ 2147483647 h 318"/>
              <a:gd name="T44" fmla="*/ 2147483647 w 421"/>
              <a:gd name="T45" fmla="*/ 2147483647 h 318"/>
              <a:gd name="T46" fmla="*/ 2147483647 w 421"/>
              <a:gd name="T47" fmla="*/ 2147483647 h 318"/>
              <a:gd name="T48" fmla="*/ 2147483647 w 421"/>
              <a:gd name="T49" fmla="*/ 2147483647 h 318"/>
              <a:gd name="T50" fmla="*/ 2147483647 w 421"/>
              <a:gd name="T51" fmla="*/ 2147483647 h 318"/>
              <a:gd name="T52" fmla="*/ 2147483647 w 421"/>
              <a:gd name="T53" fmla="*/ 2147483647 h 318"/>
              <a:gd name="T54" fmla="*/ 2147483647 w 421"/>
              <a:gd name="T55" fmla="*/ 2147483647 h 318"/>
              <a:gd name="T56" fmla="*/ 2147483647 w 421"/>
              <a:gd name="T57" fmla="*/ 2147483647 h 318"/>
              <a:gd name="T58" fmla="*/ 2147483647 w 421"/>
              <a:gd name="T59" fmla="*/ 2147483647 h 318"/>
              <a:gd name="T60" fmla="*/ 2147483647 w 421"/>
              <a:gd name="T61" fmla="*/ 2147483647 h 318"/>
              <a:gd name="T62" fmla="*/ 2147483647 w 421"/>
              <a:gd name="T63" fmla="*/ 2147483647 h 318"/>
              <a:gd name="T64" fmla="*/ 2147483647 w 421"/>
              <a:gd name="T65" fmla="*/ 2147483647 h 318"/>
              <a:gd name="T66" fmla="*/ 2147483647 w 421"/>
              <a:gd name="T67" fmla="*/ 2147483647 h 318"/>
              <a:gd name="T68" fmla="*/ 2147483647 w 421"/>
              <a:gd name="T69" fmla="*/ 2147483647 h 318"/>
              <a:gd name="T70" fmla="*/ 2147483647 w 421"/>
              <a:gd name="T71" fmla="*/ 2147483647 h 318"/>
              <a:gd name="T72" fmla="*/ 2147483647 w 421"/>
              <a:gd name="T73" fmla="*/ 2147483647 h 318"/>
              <a:gd name="T74" fmla="*/ 2147483647 w 421"/>
              <a:gd name="T75" fmla="*/ 2147483647 h 318"/>
              <a:gd name="T76" fmla="*/ 2147483647 w 421"/>
              <a:gd name="T77" fmla="*/ 2147483647 h 318"/>
              <a:gd name="T78" fmla="*/ 2147483647 w 421"/>
              <a:gd name="T79" fmla="*/ 2147483647 h 318"/>
              <a:gd name="T80" fmla="*/ 2147483647 w 421"/>
              <a:gd name="T81" fmla="*/ 2147483647 h 318"/>
              <a:gd name="T82" fmla="*/ 2147483647 w 421"/>
              <a:gd name="T83" fmla="*/ 2147483647 h 318"/>
              <a:gd name="T84" fmla="*/ 2147483647 w 421"/>
              <a:gd name="T85" fmla="*/ 2147483647 h 318"/>
              <a:gd name="T86" fmla="*/ 2147483647 w 421"/>
              <a:gd name="T87" fmla="*/ 2147483647 h 318"/>
              <a:gd name="T88" fmla="*/ 2147483647 w 421"/>
              <a:gd name="T89" fmla="*/ 2147483647 h 318"/>
              <a:gd name="T90" fmla="*/ 2147483647 w 421"/>
              <a:gd name="T91" fmla="*/ 2147483647 h 318"/>
              <a:gd name="T92" fmla="*/ 2147483647 w 421"/>
              <a:gd name="T93" fmla="*/ 2147483647 h 318"/>
              <a:gd name="T94" fmla="*/ 2147483647 w 421"/>
              <a:gd name="T95" fmla="*/ 2147483647 h 318"/>
              <a:gd name="T96" fmla="*/ 2147483647 w 421"/>
              <a:gd name="T97" fmla="*/ 2147483647 h 3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21"/>
              <a:gd name="T148" fmla="*/ 0 h 318"/>
              <a:gd name="T149" fmla="*/ 421 w 421"/>
              <a:gd name="T150" fmla="*/ 318 h 31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21" h="318">
                <a:moveTo>
                  <a:pt x="188" y="71"/>
                </a:moveTo>
                <a:cubicBezTo>
                  <a:pt x="211" y="54"/>
                  <a:pt x="211" y="54"/>
                  <a:pt x="211" y="54"/>
                </a:cubicBezTo>
                <a:cubicBezTo>
                  <a:pt x="234" y="71"/>
                  <a:pt x="234" y="71"/>
                  <a:pt x="234" y="71"/>
                </a:cubicBezTo>
                <a:cubicBezTo>
                  <a:pt x="225" y="44"/>
                  <a:pt x="225" y="44"/>
                  <a:pt x="225" y="44"/>
                </a:cubicBezTo>
                <a:cubicBezTo>
                  <a:pt x="248" y="27"/>
                  <a:pt x="248" y="27"/>
                  <a:pt x="248" y="27"/>
                </a:cubicBezTo>
                <a:cubicBezTo>
                  <a:pt x="219" y="27"/>
                  <a:pt x="219" y="27"/>
                  <a:pt x="219" y="27"/>
                </a:cubicBezTo>
                <a:cubicBezTo>
                  <a:pt x="211" y="0"/>
                  <a:pt x="211" y="0"/>
                  <a:pt x="211" y="0"/>
                </a:cubicBezTo>
                <a:cubicBezTo>
                  <a:pt x="202" y="27"/>
                  <a:pt x="202" y="27"/>
                  <a:pt x="202" y="27"/>
                </a:cubicBezTo>
                <a:cubicBezTo>
                  <a:pt x="173" y="27"/>
                  <a:pt x="173" y="27"/>
                  <a:pt x="173" y="27"/>
                </a:cubicBezTo>
                <a:cubicBezTo>
                  <a:pt x="196" y="44"/>
                  <a:pt x="196" y="44"/>
                  <a:pt x="196" y="44"/>
                </a:cubicBezTo>
                <a:lnTo>
                  <a:pt x="188" y="71"/>
                </a:lnTo>
                <a:close/>
                <a:moveTo>
                  <a:pt x="100" y="100"/>
                </a:moveTo>
                <a:cubicBezTo>
                  <a:pt x="129" y="96"/>
                  <a:pt x="129" y="96"/>
                  <a:pt x="129" y="96"/>
                </a:cubicBezTo>
                <a:cubicBezTo>
                  <a:pt x="103" y="83"/>
                  <a:pt x="103" y="83"/>
                  <a:pt x="103" y="83"/>
                </a:cubicBezTo>
                <a:cubicBezTo>
                  <a:pt x="108" y="54"/>
                  <a:pt x="108" y="54"/>
                  <a:pt x="108" y="54"/>
                </a:cubicBezTo>
                <a:cubicBezTo>
                  <a:pt x="87" y="75"/>
                  <a:pt x="87" y="75"/>
                  <a:pt x="87" y="75"/>
                </a:cubicBezTo>
                <a:cubicBezTo>
                  <a:pt x="62" y="62"/>
                  <a:pt x="62" y="62"/>
                  <a:pt x="62" y="62"/>
                </a:cubicBezTo>
                <a:cubicBezTo>
                  <a:pt x="75" y="87"/>
                  <a:pt x="75" y="87"/>
                  <a:pt x="75" y="87"/>
                </a:cubicBezTo>
                <a:cubicBezTo>
                  <a:pt x="55" y="107"/>
                  <a:pt x="55" y="107"/>
                  <a:pt x="55" y="107"/>
                </a:cubicBezTo>
                <a:cubicBezTo>
                  <a:pt x="83" y="103"/>
                  <a:pt x="83" y="103"/>
                  <a:pt x="83" y="103"/>
                </a:cubicBezTo>
                <a:cubicBezTo>
                  <a:pt x="96" y="128"/>
                  <a:pt x="96" y="128"/>
                  <a:pt x="96" y="128"/>
                </a:cubicBezTo>
                <a:lnTo>
                  <a:pt x="100" y="100"/>
                </a:lnTo>
                <a:close/>
                <a:moveTo>
                  <a:pt x="355" y="87"/>
                </a:moveTo>
                <a:cubicBezTo>
                  <a:pt x="368" y="62"/>
                  <a:pt x="368" y="62"/>
                  <a:pt x="368" y="62"/>
                </a:cubicBezTo>
                <a:cubicBezTo>
                  <a:pt x="343" y="75"/>
                  <a:pt x="343" y="75"/>
                  <a:pt x="343" y="75"/>
                </a:cubicBezTo>
                <a:cubicBezTo>
                  <a:pt x="323" y="54"/>
                  <a:pt x="323" y="54"/>
                  <a:pt x="323" y="54"/>
                </a:cubicBezTo>
                <a:cubicBezTo>
                  <a:pt x="327" y="83"/>
                  <a:pt x="327" y="83"/>
                  <a:pt x="327" y="83"/>
                </a:cubicBezTo>
                <a:cubicBezTo>
                  <a:pt x="302" y="96"/>
                  <a:pt x="302" y="96"/>
                  <a:pt x="302" y="96"/>
                </a:cubicBezTo>
                <a:cubicBezTo>
                  <a:pt x="330" y="100"/>
                  <a:pt x="330" y="100"/>
                  <a:pt x="330" y="100"/>
                </a:cubicBezTo>
                <a:cubicBezTo>
                  <a:pt x="334" y="128"/>
                  <a:pt x="334" y="128"/>
                  <a:pt x="334" y="128"/>
                </a:cubicBezTo>
                <a:cubicBezTo>
                  <a:pt x="347" y="103"/>
                  <a:pt x="347" y="103"/>
                  <a:pt x="347" y="103"/>
                </a:cubicBezTo>
                <a:cubicBezTo>
                  <a:pt x="376" y="107"/>
                  <a:pt x="376" y="107"/>
                  <a:pt x="376" y="107"/>
                </a:cubicBezTo>
                <a:lnTo>
                  <a:pt x="355" y="87"/>
                </a:lnTo>
                <a:close/>
                <a:moveTo>
                  <a:pt x="44" y="196"/>
                </a:moveTo>
                <a:cubicBezTo>
                  <a:pt x="28" y="173"/>
                  <a:pt x="28" y="173"/>
                  <a:pt x="28" y="173"/>
                </a:cubicBezTo>
                <a:cubicBezTo>
                  <a:pt x="28" y="201"/>
                  <a:pt x="28" y="201"/>
                  <a:pt x="28" y="201"/>
                </a:cubicBezTo>
                <a:cubicBezTo>
                  <a:pt x="0" y="210"/>
                  <a:pt x="0" y="210"/>
                  <a:pt x="0" y="210"/>
                </a:cubicBezTo>
                <a:cubicBezTo>
                  <a:pt x="28" y="219"/>
                  <a:pt x="28" y="219"/>
                  <a:pt x="28" y="219"/>
                </a:cubicBezTo>
                <a:cubicBezTo>
                  <a:pt x="28" y="248"/>
                  <a:pt x="28" y="248"/>
                  <a:pt x="28" y="248"/>
                </a:cubicBezTo>
                <a:cubicBezTo>
                  <a:pt x="44" y="225"/>
                  <a:pt x="44" y="225"/>
                  <a:pt x="44" y="225"/>
                </a:cubicBezTo>
                <a:cubicBezTo>
                  <a:pt x="72" y="233"/>
                  <a:pt x="72" y="233"/>
                  <a:pt x="72" y="233"/>
                </a:cubicBezTo>
                <a:cubicBezTo>
                  <a:pt x="55" y="210"/>
                  <a:pt x="55" y="210"/>
                  <a:pt x="55" y="210"/>
                </a:cubicBezTo>
                <a:cubicBezTo>
                  <a:pt x="72" y="187"/>
                  <a:pt x="72" y="187"/>
                  <a:pt x="72" y="187"/>
                </a:cubicBezTo>
                <a:lnTo>
                  <a:pt x="44" y="196"/>
                </a:lnTo>
                <a:close/>
                <a:moveTo>
                  <a:pt x="394" y="201"/>
                </a:moveTo>
                <a:cubicBezTo>
                  <a:pt x="394" y="173"/>
                  <a:pt x="394" y="173"/>
                  <a:pt x="394" y="173"/>
                </a:cubicBezTo>
                <a:cubicBezTo>
                  <a:pt x="377" y="196"/>
                  <a:pt x="377" y="196"/>
                  <a:pt x="377" y="196"/>
                </a:cubicBezTo>
                <a:cubicBezTo>
                  <a:pt x="350" y="187"/>
                  <a:pt x="350" y="187"/>
                  <a:pt x="350" y="187"/>
                </a:cubicBezTo>
                <a:cubicBezTo>
                  <a:pt x="367" y="210"/>
                  <a:pt x="367" y="210"/>
                  <a:pt x="367" y="210"/>
                </a:cubicBezTo>
                <a:cubicBezTo>
                  <a:pt x="350" y="233"/>
                  <a:pt x="350" y="233"/>
                  <a:pt x="350" y="233"/>
                </a:cubicBezTo>
                <a:cubicBezTo>
                  <a:pt x="377" y="225"/>
                  <a:pt x="377" y="225"/>
                  <a:pt x="377" y="225"/>
                </a:cubicBezTo>
                <a:cubicBezTo>
                  <a:pt x="394" y="248"/>
                  <a:pt x="394" y="248"/>
                  <a:pt x="394" y="248"/>
                </a:cubicBezTo>
                <a:cubicBezTo>
                  <a:pt x="394" y="219"/>
                  <a:pt x="394" y="219"/>
                  <a:pt x="394" y="219"/>
                </a:cubicBezTo>
                <a:cubicBezTo>
                  <a:pt x="421" y="210"/>
                  <a:pt x="421" y="210"/>
                  <a:pt x="421" y="210"/>
                </a:cubicBezTo>
                <a:lnTo>
                  <a:pt x="394" y="201"/>
                </a:lnTo>
                <a:close/>
                <a:moveTo>
                  <a:pt x="320" y="173"/>
                </a:moveTo>
                <a:cubicBezTo>
                  <a:pt x="242" y="173"/>
                  <a:pt x="242" y="173"/>
                  <a:pt x="242" y="173"/>
                </a:cubicBezTo>
                <a:cubicBezTo>
                  <a:pt x="240" y="167"/>
                  <a:pt x="240" y="167"/>
                  <a:pt x="240" y="167"/>
                </a:cubicBezTo>
                <a:cubicBezTo>
                  <a:pt x="239" y="163"/>
                  <a:pt x="234" y="160"/>
                  <a:pt x="230" y="162"/>
                </a:cubicBezTo>
                <a:cubicBezTo>
                  <a:pt x="226" y="163"/>
                  <a:pt x="224" y="167"/>
                  <a:pt x="225" y="172"/>
                </a:cubicBezTo>
                <a:cubicBezTo>
                  <a:pt x="229" y="184"/>
                  <a:pt x="229" y="184"/>
                  <a:pt x="229" y="184"/>
                </a:cubicBezTo>
                <a:cubicBezTo>
                  <a:pt x="230" y="187"/>
                  <a:pt x="233" y="189"/>
                  <a:pt x="236" y="189"/>
                </a:cubicBezTo>
                <a:cubicBezTo>
                  <a:pt x="295" y="189"/>
                  <a:pt x="295" y="189"/>
                  <a:pt x="295" y="189"/>
                </a:cubicBezTo>
                <a:cubicBezTo>
                  <a:pt x="248" y="224"/>
                  <a:pt x="248" y="224"/>
                  <a:pt x="248" y="224"/>
                </a:cubicBezTo>
                <a:cubicBezTo>
                  <a:pt x="245" y="226"/>
                  <a:pt x="244" y="230"/>
                  <a:pt x="245" y="233"/>
                </a:cubicBezTo>
                <a:cubicBezTo>
                  <a:pt x="263" y="289"/>
                  <a:pt x="263" y="289"/>
                  <a:pt x="263" y="289"/>
                </a:cubicBezTo>
                <a:cubicBezTo>
                  <a:pt x="215" y="254"/>
                  <a:pt x="215" y="254"/>
                  <a:pt x="215" y="254"/>
                </a:cubicBezTo>
                <a:cubicBezTo>
                  <a:pt x="213" y="252"/>
                  <a:pt x="209" y="252"/>
                  <a:pt x="206" y="254"/>
                </a:cubicBezTo>
                <a:cubicBezTo>
                  <a:pt x="158" y="289"/>
                  <a:pt x="158" y="289"/>
                  <a:pt x="158" y="289"/>
                </a:cubicBezTo>
                <a:cubicBezTo>
                  <a:pt x="176" y="233"/>
                  <a:pt x="176" y="233"/>
                  <a:pt x="176" y="233"/>
                </a:cubicBezTo>
                <a:cubicBezTo>
                  <a:pt x="178" y="230"/>
                  <a:pt x="176" y="226"/>
                  <a:pt x="174" y="224"/>
                </a:cubicBezTo>
                <a:cubicBezTo>
                  <a:pt x="126" y="189"/>
                  <a:pt x="126" y="189"/>
                  <a:pt x="126" y="189"/>
                </a:cubicBezTo>
                <a:cubicBezTo>
                  <a:pt x="185" y="189"/>
                  <a:pt x="185" y="189"/>
                  <a:pt x="185" y="189"/>
                </a:cubicBezTo>
                <a:cubicBezTo>
                  <a:pt x="188" y="189"/>
                  <a:pt x="191" y="187"/>
                  <a:pt x="192" y="184"/>
                </a:cubicBezTo>
                <a:cubicBezTo>
                  <a:pt x="211" y="128"/>
                  <a:pt x="211" y="128"/>
                  <a:pt x="211" y="128"/>
                </a:cubicBezTo>
                <a:cubicBezTo>
                  <a:pt x="215" y="141"/>
                  <a:pt x="215" y="141"/>
                  <a:pt x="215" y="141"/>
                </a:cubicBezTo>
                <a:cubicBezTo>
                  <a:pt x="216" y="145"/>
                  <a:pt x="221" y="148"/>
                  <a:pt x="225" y="146"/>
                </a:cubicBezTo>
                <a:cubicBezTo>
                  <a:pt x="229" y="145"/>
                  <a:pt x="232" y="140"/>
                  <a:pt x="230" y="136"/>
                </a:cubicBezTo>
                <a:cubicBezTo>
                  <a:pt x="218" y="99"/>
                  <a:pt x="218" y="99"/>
                  <a:pt x="218" y="99"/>
                </a:cubicBezTo>
                <a:cubicBezTo>
                  <a:pt x="217" y="96"/>
                  <a:pt x="214" y="94"/>
                  <a:pt x="211" y="94"/>
                </a:cubicBezTo>
                <a:cubicBezTo>
                  <a:pt x="207" y="94"/>
                  <a:pt x="204" y="96"/>
                  <a:pt x="203" y="99"/>
                </a:cubicBezTo>
                <a:cubicBezTo>
                  <a:pt x="179" y="173"/>
                  <a:pt x="179" y="173"/>
                  <a:pt x="179" y="173"/>
                </a:cubicBezTo>
                <a:cubicBezTo>
                  <a:pt x="101" y="173"/>
                  <a:pt x="101" y="173"/>
                  <a:pt x="101" y="173"/>
                </a:cubicBezTo>
                <a:cubicBezTo>
                  <a:pt x="98" y="173"/>
                  <a:pt x="95" y="176"/>
                  <a:pt x="94" y="179"/>
                </a:cubicBezTo>
                <a:cubicBezTo>
                  <a:pt x="93" y="182"/>
                  <a:pt x="94" y="186"/>
                  <a:pt x="97" y="188"/>
                </a:cubicBezTo>
                <a:cubicBezTo>
                  <a:pt x="159" y="233"/>
                  <a:pt x="159" y="233"/>
                  <a:pt x="159" y="233"/>
                </a:cubicBezTo>
                <a:cubicBezTo>
                  <a:pt x="135" y="307"/>
                  <a:pt x="135" y="307"/>
                  <a:pt x="135" y="307"/>
                </a:cubicBezTo>
                <a:cubicBezTo>
                  <a:pt x="134" y="311"/>
                  <a:pt x="136" y="314"/>
                  <a:pt x="138" y="316"/>
                </a:cubicBezTo>
                <a:cubicBezTo>
                  <a:pt x="140" y="317"/>
                  <a:pt x="141" y="318"/>
                  <a:pt x="143" y="318"/>
                </a:cubicBezTo>
                <a:cubicBezTo>
                  <a:pt x="145" y="318"/>
                  <a:pt x="146" y="317"/>
                  <a:pt x="148" y="316"/>
                </a:cubicBezTo>
                <a:cubicBezTo>
                  <a:pt x="211" y="271"/>
                  <a:pt x="211" y="271"/>
                  <a:pt x="211" y="271"/>
                </a:cubicBezTo>
                <a:cubicBezTo>
                  <a:pt x="274" y="316"/>
                  <a:pt x="274" y="316"/>
                  <a:pt x="274" y="316"/>
                </a:cubicBezTo>
                <a:cubicBezTo>
                  <a:pt x="276" y="318"/>
                  <a:pt x="280" y="318"/>
                  <a:pt x="283" y="316"/>
                </a:cubicBezTo>
                <a:cubicBezTo>
                  <a:pt x="286" y="314"/>
                  <a:pt x="287" y="311"/>
                  <a:pt x="286" y="307"/>
                </a:cubicBezTo>
                <a:cubicBezTo>
                  <a:pt x="262" y="233"/>
                  <a:pt x="262" y="233"/>
                  <a:pt x="262" y="233"/>
                </a:cubicBezTo>
                <a:cubicBezTo>
                  <a:pt x="325" y="188"/>
                  <a:pt x="325" y="188"/>
                  <a:pt x="325" y="188"/>
                </a:cubicBezTo>
                <a:cubicBezTo>
                  <a:pt x="328" y="186"/>
                  <a:pt x="329" y="182"/>
                  <a:pt x="328" y="179"/>
                </a:cubicBezTo>
                <a:cubicBezTo>
                  <a:pt x="327" y="176"/>
                  <a:pt x="323" y="173"/>
                  <a:pt x="320" y="173"/>
                </a:cubicBezTo>
                <a:close/>
              </a:path>
            </a:pathLst>
          </a:custGeom>
          <a:solidFill>
            <a:srgbClr val="007B7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98" name="Freeform 6"/>
          <p:cNvSpPr>
            <a:spLocks noChangeAspect="1"/>
          </p:cNvSpPr>
          <p:nvPr/>
        </p:nvSpPr>
        <p:spPr bwMode="auto">
          <a:xfrm>
            <a:off x="4212935" y="2176463"/>
            <a:ext cx="620712" cy="1035050"/>
          </a:xfrm>
          <a:custGeom>
            <a:avLst/>
            <a:gdLst>
              <a:gd name="T0" fmla="*/ 0 w 290"/>
              <a:gd name="T1" fmla="*/ 2147483647 h 457"/>
              <a:gd name="T2" fmla="*/ 2147483647 w 290"/>
              <a:gd name="T3" fmla="*/ 2147483647 h 457"/>
              <a:gd name="T4" fmla="*/ 2147483647 w 290"/>
              <a:gd name="T5" fmla="*/ 2147483647 h 457"/>
              <a:gd name="T6" fmla="*/ 2147483647 w 290"/>
              <a:gd name="T7" fmla="*/ 2147483647 h 457"/>
              <a:gd name="T8" fmla="*/ 2147483647 w 290"/>
              <a:gd name="T9" fmla="*/ 2147483647 h 457"/>
              <a:gd name="T10" fmla="*/ 2147483647 w 290"/>
              <a:gd name="T11" fmla="*/ 2147483647 h 457"/>
              <a:gd name="T12" fmla="*/ 0 w 290"/>
              <a:gd name="T13" fmla="*/ 2147483647 h 457"/>
              <a:gd name="T14" fmla="*/ 0 w 290"/>
              <a:gd name="T15" fmla="*/ 2147483647 h 457"/>
              <a:gd name="T16" fmla="*/ 0 60000 65536"/>
              <a:gd name="T17" fmla="*/ 0 60000 65536"/>
              <a:gd name="T18" fmla="*/ 0 60000 65536"/>
              <a:gd name="T19" fmla="*/ 0 60000 65536"/>
              <a:gd name="T20" fmla="*/ 0 60000 65536"/>
              <a:gd name="T21" fmla="*/ 0 60000 65536"/>
              <a:gd name="T22" fmla="*/ 0 60000 65536"/>
              <a:gd name="T23" fmla="*/ 0 60000 65536"/>
              <a:gd name="T24" fmla="*/ 0 w 290"/>
              <a:gd name="T25" fmla="*/ 0 h 457"/>
              <a:gd name="T26" fmla="*/ 290 w 290"/>
              <a:gd name="T27" fmla="*/ 457 h 4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0" h="457">
                <a:moveTo>
                  <a:pt x="0" y="409"/>
                </a:moveTo>
                <a:cubicBezTo>
                  <a:pt x="0" y="451"/>
                  <a:pt x="27" y="457"/>
                  <a:pt x="53" y="436"/>
                </a:cubicBezTo>
                <a:cubicBezTo>
                  <a:pt x="78" y="416"/>
                  <a:pt x="248" y="283"/>
                  <a:pt x="272" y="263"/>
                </a:cubicBezTo>
                <a:cubicBezTo>
                  <a:pt x="284" y="253"/>
                  <a:pt x="290" y="242"/>
                  <a:pt x="290" y="228"/>
                </a:cubicBezTo>
                <a:cubicBezTo>
                  <a:pt x="290" y="214"/>
                  <a:pt x="284" y="203"/>
                  <a:pt x="272" y="193"/>
                </a:cubicBezTo>
                <a:cubicBezTo>
                  <a:pt x="248" y="174"/>
                  <a:pt x="68" y="31"/>
                  <a:pt x="53" y="20"/>
                </a:cubicBezTo>
                <a:cubicBezTo>
                  <a:pt x="24" y="0"/>
                  <a:pt x="0" y="5"/>
                  <a:pt x="0" y="47"/>
                </a:cubicBezTo>
                <a:cubicBezTo>
                  <a:pt x="0" y="55"/>
                  <a:pt x="0" y="401"/>
                  <a:pt x="0" y="409"/>
                </a:cubicBezTo>
                <a:close/>
              </a:path>
            </a:pathLst>
          </a:custGeom>
          <a:solidFill>
            <a:srgbClr val="5FBADD"/>
          </a:solidFill>
          <a:ln w="9525" cap="flat" cmpd="sng" algn="ctr">
            <a:noFill/>
            <a:prstDash val="solid"/>
            <a:round/>
            <a:headEnd type="none" w="med" len="med"/>
            <a:tailEnd type="none" w="med" len="med"/>
          </a:ln>
          <a:effectLst/>
        </p:spPr>
        <p:txBody>
          <a:bodyPr anchor="ctr"/>
          <a:lstStyle/>
          <a:p>
            <a:pPr algn="ctr" defTabSz="915267">
              <a:spcBef>
                <a:spcPct val="50000"/>
              </a:spcBef>
              <a:defRPr/>
            </a:pPr>
            <a:endParaRPr lang="en-US" sz="1600" b="1" kern="0" cap="all">
              <a:solidFill>
                <a:srgbClr val="E32219"/>
              </a:solidFill>
              <a:latin typeface="Arial"/>
              <a:cs typeface="Times New Roman" pitchFamily="18" charset="0"/>
            </a:endParaRPr>
          </a:p>
        </p:txBody>
      </p:sp>
      <p:sp>
        <p:nvSpPr>
          <p:cNvPr id="99" name="TextBox 13"/>
          <p:cNvSpPr txBox="1">
            <a:spLocks noChangeArrowheads="1"/>
          </p:cNvSpPr>
          <p:nvPr/>
        </p:nvSpPr>
        <p:spPr bwMode="auto">
          <a:xfrm>
            <a:off x="4593474" y="2232025"/>
            <a:ext cx="44196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176213" indent="-176213"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spcBef>
                <a:spcPct val="20000"/>
              </a:spcBef>
              <a:buClr>
                <a:srgbClr val="00A9D4"/>
              </a:buClr>
              <a:buFont typeface="Arial" pitchFamily="34" charset="0"/>
              <a:buChar char="›"/>
            </a:pPr>
            <a:r>
              <a:rPr lang="en-US" sz="1800" dirty="0">
                <a:solidFill>
                  <a:srgbClr val="292929"/>
                </a:solidFill>
                <a:ea typeface="Geneva"/>
                <a:cs typeface="Geneva"/>
              </a:rPr>
              <a:t>Consolidate and optimize the entire process of managing and fulfilling orders to all markets on any technology</a:t>
            </a:r>
          </a:p>
        </p:txBody>
      </p:sp>
      <p:sp>
        <p:nvSpPr>
          <p:cNvPr id="100" name="TextBox 13"/>
          <p:cNvSpPr txBox="1">
            <a:spLocks noChangeArrowheads="1"/>
          </p:cNvSpPr>
          <p:nvPr/>
        </p:nvSpPr>
        <p:spPr bwMode="auto">
          <a:xfrm>
            <a:off x="4593474" y="3771900"/>
            <a:ext cx="44196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176213" indent="-176213"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spcBef>
                <a:spcPct val="20000"/>
              </a:spcBef>
              <a:buClr>
                <a:srgbClr val="00A9D4"/>
              </a:buClr>
              <a:buFont typeface="Arial" pitchFamily="34" charset="0"/>
              <a:buChar char="›"/>
            </a:pPr>
            <a:r>
              <a:rPr lang="en-US" sz="1800" dirty="0">
                <a:solidFill>
                  <a:srgbClr val="292929"/>
                </a:solidFill>
                <a:cs typeface="Arial" pitchFamily="34" charset="0"/>
              </a:rPr>
              <a:t>Deliver all service types consistently and accurately, providing </a:t>
            </a:r>
            <a:r>
              <a:rPr lang="en-US" sz="1800" dirty="0" smtClean="0">
                <a:solidFill>
                  <a:srgbClr val="292929"/>
                </a:solidFill>
                <a:cs typeface="Arial" pitchFamily="34" charset="0"/>
              </a:rPr>
              <a:t>timely</a:t>
            </a:r>
            <a:br>
              <a:rPr lang="en-US" sz="1800" dirty="0" smtClean="0">
                <a:solidFill>
                  <a:srgbClr val="292929"/>
                </a:solidFill>
                <a:cs typeface="Arial" pitchFamily="34" charset="0"/>
              </a:rPr>
            </a:br>
            <a:r>
              <a:rPr lang="en-US" sz="1800" dirty="0" smtClean="0">
                <a:solidFill>
                  <a:srgbClr val="292929"/>
                </a:solidFill>
                <a:cs typeface="Arial" pitchFamily="34" charset="0"/>
              </a:rPr>
              <a:t>status </a:t>
            </a:r>
            <a:r>
              <a:rPr lang="en-US" sz="1800" dirty="0">
                <a:solidFill>
                  <a:srgbClr val="292929"/>
                </a:solidFill>
                <a:cs typeface="Arial" pitchFamily="34" charset="0"/>
              </a:rPr>
              <a:t>to any person or system</a:t>
            </a:r>
          </a:p>
        </p:txBody>
      </p:sp>
      <p:sp>
        <p:nvSpPr>
          <p:cNvPr id="101" name="TextBox 13"/>
          <p:cNvSpPr txBox="1">
            <a:spLocks noChangeArrowheads="1"/>
          </p:cNvSpPr>
          <p:nvPr/>
        </p:nvSpPr>
        <p:spPr bwMode="auto">
          <a:xfrm>
            <a:off x="4593474" y="5310188"/>
            <a:ext cx="44196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176213" indent="-176213"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spcBef>
                <a:spcPct val="20000"/>
              </a:spcBef>
              <a:buClr>
                <a:srgbClr val="00A9D4"/>
              </a:buClr>
              <a:buFont typeface="Arial" pitchFamily="34" charset="0"/>
              <a:buChar char="›"/>
            </a:pPr>
            <a:r>
              <a:rPr lang="en-US" sz="1800" dirty="0">
                <a:solidFill>
                  <a:srgbClr val="292929"/>
                </a:solidFill>
                <a:cs typeface="Arial" pitchFamily="34" charset="0"/>
              </a:rPr>
              <a:t>Gain faster time to market and automate the delivery of even </a:t>
            </a:r>
            <a:r>
              <a:rPr lang="en-US" sz="1800" dirty="0" smtClean="0">
                <a:solidFill>
                  <a:srgbClr val="292929"/>
                </a:solidFill>
                <a:cs typeface="Arial" pitchFamily="34" charset="0"/>
              </a:rPr>
              <a:t>the</a:t>
            </a:r>
            <a:br>
              <a:rPr lang="en-US" sz="1800" dirty="0" smtClean="0">
                <a:solidFill>
                  <a:srgbClr val="292929"/>
                </a:solidFill>
                <a:cs typeface="Arial" pitchFamily="34" charset="0"/>
              </a:rPr>
            </a:br>
            <a:r>
              <a:rPr lang="en-US" sz="1800" dirty="0" smtClean="0">
                <a:solidFill>
                  <a:srgbClr val="292929"/>
                </a:solidFill>
                <a:cs typeface="Arial" pitchFamily="34" charset="0"/>
              </a:rPr>
              <a:t>most </a:t>
            </a:r>
            <a:r>
              <a:rPr lang="en-US" sz="1800" dirty="0">
                <a:solidFill>
                  <a:srgbClr val="292929"/>
                </a:solidFill>
                <a:cs typeface="Arial" pitchFamily="34" charset="0"/>
              </a:rPr>
              <a:t>complex offers and bundles</a:t>
            </a:r>
          </a:p>
        </p:txBody>
      </p:sp>
      <p:sp>
        <p:nvSpPr>
          <p:cNvPr id="102" name="Freeform 6"/>
          <p:cNvSpPr>
            <a:spLocks noChangeAspect="1"/>
          </p:cNvSpPr>
          <p:nvPr/>
        </p:nvSpPr>
        <p:spPr bwMode="auto">
          <a:xfrm>
            <a:off x="4212935" y="3716338"/>
            <a:ext cx="620712" cy="1035050"/>
          </a:xfrm>
          <a:custGeom>
            <a:avLst/>
            <a:gdLst>
              <a:gd name="T0" fmla="*/ 0 w 290"/>
              <a:gd name="T1" fmla="*/ 2147483647 h 457"/>
              <a:gd name="T2" fmla="*/ 2147483647 w 290"/>
              <a:gd name="T3" fmla="*/ 2147483647 h 457"/>
              <a:gd name="T4" fmla="*/ 2147483647 w 290"/>
              <a:gd name="T5" fmla="*/ 2147483647 h 457"/>
              <a:gd name="T6" fmla="*/ 2147483647 w 290"/>
              <a:gd name="T7" fmla="*/ 2147483647 h 457"/>
              <a:gd name="T8" fmla="*/ 2147483647 w 290"/>
              <a:gd name="T9" fmla="*/ 2147483647 h 457"/>
              <a:gd name="T10" fmla="*/ 2147483647 w 290"/>
              <a:gd name="T11" fmla="*/ 2147483647 h 457"/>
              <a:gd name="T12" fmla="*/ 0 w 290"/>
              <a:gd name="T13" fmla="*/ 2147483647 h 457"/>
              <a:gd name="T14" fmla="*/ 0 w 290"/>
              <a:gd name="T15" fmla="*/ 2147483647 h 457"/>
              <a:gd name="T16" fmla="*/ 0 60000 65536"/>
              <a:gd name="T17" fmla="*/ 0 60000 65536"/>
              <a:gd name="T18" fmla="*/ 0 60000 65536"/>
              <a:gd name="T19" fmla="*/ 0 60000 65536"/>
              <a:gd name="T20" fmla="*/ 0 60000 65536"/>
              <a:gd name="T21" fmla="*/ 0 60000 65536"/>
              <a:gd name="T22" fmla="*/ 0 60000 65536"/>
              <a:gd name="T23" fmla="*/ 0 60000 65536"/>
              <a:gd name="T24" fmla="*/ 0 w 290"/>
              <a:gd name="T25" fmla="*/ 0 h 457"/>
              <a:gd name="T26" fmla="*/ 290 w 290"/>
              <a:gd name="T27" fmla="*/ 457 h 4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0" h="457">
                <a:moveTo>
                  <a:pt x="0" y="409"/>
                </a:moveTo>
                <a:cubicBezTo>
                  <a:pt x="0" y="451"/>
                  <a:pt x="27" y="457"/>
                  <a:pt x="53" y="436"/>
                </a:cubicBezTo>
                <a:cubicBezTo>
                  <a:pt x="78" y="416"/>
                  <a:pt x="248" y="283"/>
                  <a:pt x="272" y="263"/>
                </a:cubicBezTo>
                <a:cubicBezTo>
                  <a:pt x="284" y="253"/>
                  <a:pt x="290" y="242"/>
                  <a:pt x="290" y="228"/>
                </a:cubicBezTo>
                <a:cubicBezTo>
                  <a:pt x="290" y="214"/>
                  <a:pt x="284" y="203"/>
                  <a:pt x="272" y="193"/>
                </a:cubicBezTo>
                <a:cubicBezTo>
                  <a:pt x="248" y="174"/>
                  <a:pt x="68" y="31"/>
                  <a:pt x="53" y="20"/>
                </a:cubicBezTo>
                <a:cubicBezTo>
                  <a:pt x="24" y="0"/>
                  <a:pt x="0" y="5"/>
                  <a:pt x="0" y="47"/>
                </a:cubicBezTo>
                <a:cubicBezTo>
                  <a:pt x="0" y="55"/>
                  <a:pt x="0" y="401"/>
                  <a:pt x="0" y="409"/>
                </a:cubicBezTo>
                <a:close/>
              </a:path>
            </a:pathLst>
          </a:custGeom>
          <a:solidFill>
            <a:srgbClr val="007B78"/>
          </a:solidFill>
          <a:ln w="9525" cap="flat" cmpd="sng" algn="ctr">
            <a:noFill/>
            <a:prstDash val="solid"/>
            <a:round/>
            <a:headEnd type="none" w="med" len="med"/>
            <a:tailEnd type="none" w="med" len="med"/>
          </a:ln>
          <a:effectLst/>
        </p:spPr>
        <p:txBody>
          <a:bodyPr anchor="ctr"/>
          <a:lstStyle/>
          <a:p>
            <a:pPr algn="ctr" defTabSz="915267">
              <a:spcBef>
                <a:spcPct val="50000"/>
              </a:spcBef>
              <a:defRPr/>
            </a:pPr>
            <a:endParaRPr lang="en-US" sz="1600" b="1" kern="0" cap="all">
              <a:solidFill>
                <a:srgbClr val="F08A00"/>
              </a:solidFill>
              <a:latin typeface="Arial"/>
              <a:cs typeface="Times New Roman" pitchFamily="18" charset="0"/>
            </a:endParaRPr>
          </a:p>
        </p:txBody>
      </p:sp>
      <p:sp>
        <p:nvSpPr>
          <p:cNvPr id="103" name="Freeform 6"/>
          <p:cNvSpPr>
            <a:spLocks noChangeAspect="1"/>
          </p:cNvSpPr>
          <p:nvPr/>
        </p:nvSpPr>
        <p:spPr bwMode="auto">
          <a:xfrm>
            <a:off x="4212935" y="5254625"/>
            <a:ext cx="620712" cy="1035050"/>
          </a:xfrm>
          <a:custGeom>
            <a:avLst/>
            <a:gdLst>
              <a:gd name="T0" fmla="*/ 0 w 290"/>
              <a:gd name="T1" fmla="*/ 2147483647 h 457"/>
              <a:gd name="T2" fmla="*/ 2147483647 w 290"/>
              <a:gd name="T3" fmla="*/ 2147483647 h 457"/>
              <a:gd name="T4" fmla="*/ 2147483647 w 290"/>
              <a:gd name="T5" fmla="*/ 2147483647 h 457"/>
              <a:gd name="T6" fmla="*/ 2147483647 w 290"/>
              <a:gd name="T7" fmla="*/ 2147483647 h 457"/>
              <a:gd name="T8" fmla="*/ 2147483647 w 290"/>
              <a:gd name="T9" fmla="*/ 2147483647 h 457"/>
              <a:gd name="T10" fmla="*/ 2147483647 w 290"/>
              <a:gd name="T11" fmla="*/ 2147483647 h 457"/>
              <a:gd name="T12" fmla="*/ 0 w 290"/>
              <a:gd name="T13" fmla="*/ 2147483647 h 457"/>
              <a:gd name="T14" fmla="*/ 0 w 290"/>
              <a:gd name="T15" fmla="*/ 2147483647 h 457"/>
              <a:gd name="T16" fmla="*/ 0 60000 65536"/>
              <a:gd name="T17" fmla="*/ 0 60000 65536"/>
              <a:gd name="T18" fmla="*/ 0 60000 65536"/>
              <a:gd name="T19" fmla="*/ 0 60000 65536"/>
              <a:gd name="T20" fmla="*/ 0 60000 65536"/>
              <a:gd name="T21" fmla="*/ 0 60000 65536"/>
              <a:gd name="T22" fmla="*/ 0 60000 65536"/>
              <a:gd name="T23" fmla="*/ 0 60000 65536"/>
              <a:gd name="T24" fmla="*/ 0 w 290"/>
              <a:gd name="T25" fmla="*/ 0 h 457"/>
              <a:gd name="T26" fmla="*/ 290 w 290"/>
              <a:gd name="T27" fmla="*/ 457 h 4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0" h="457">
                <a:moveTo>
                  <a:pt x="0" y="409"/>
                </a:moveTo>
                <a:cubicBezTo>
                  <a:pt x="0" y="451"/>
                  <a:pt x="27" y="457"/>
                  <a:pt x="53" y="436"/>
                </a:cubicBezTo>
                <a:cubicBezTo>
                  <a:pt x="78" y="416"/>
                  <a:pt x="248" y="283"/>
                  <a:pt x="272" y="263"/>
                </a:cubicBezTo>
                <a:cubicBezTo>
                  <a:pt x="284" y="253"/>
                  <a:pt x="290" y="242"/>
                  <a:pt x="290" y="228"/>
                </a:cubicBezTo>
                <a:cubicBezTo>
                  <a:pt x="290" y="214"/>
                  <a:pt x="284" y="203"/>
                  <a:pt x="272" y="193"/>
                </a:cubicBezTo>
                <a:cubicBezTo>
                  <a:pt x="248" y="174"/>
                  <a:pt x="68" y="31"/>
                  <a:pt x="53" y="20"/>
                </a:cubicBezTo>
                <a:cubicBezTo>
                  <a:pt x="24" y="0"/>
                  <a:pt x="0" y="5"/>
                  <a:pt x="0" y="47"/>
                </a:cubicBezTo>
                <a:cubicBezTo>
                  <a:pt x="0" y="55"/>
                  <a:pt x="0" y="401"/>
                  <a:pt x="0" y="409"/>
                </a:cubicBezTo>
                <a:close/>
              </a:path>
            </a:pathLst>
          </a:custGeom>
          <a:solidFill>
            <a:srgbClr val="8F3F7B"/>
          </a:solidFill>
          <a:ln w="9525" cap="flat" cmpd="sng" algn="ctr">
            <a:noFill/>
            <a:prstDash val="solid"/>
            <a:round/>
            <a:headEnd type="none" w="med" len="med"/>
            <a:tailEnd type="none" w="med" len="med"/>
          </a:ln>
          <a:effectLst/>
        </p:spPr>
        <p:txBody>
          <a:bodyPr anchor="ctr"/>
          <a:lstStyle/>
          <a:p>
            <a:pPr algn="ctr" defTabSz="915267">
              <a:spcBef>
                <a:spcPct val="50000"/>
              </a:spcBef>
              <a:defRPr/>
            </a:pPr>
            <a:endParaRPr lang="en-US" sz="1600" b="1" kern="0" cap="all">
              <a:solidFill>
                <a:srgbClr val="E32219"/>
              </a:solidFill>
              <a:latin typeface="Arial"/>
              <a:cs typeface="Times New Roman" pitchFamily="18" charset="0"/>
            </a:endParaRPr>
          </a:p>
        </p:txBody>
      </p:sp>
      <p:sp>
        <p:nvSpPr>
          <p:cNvPr id="104" name="TextBox 23"/>
          <p:cNvSpPr txBox="1">
            <a:spLocks noChangeArrowheads="1"/>
          </p:cNvSpPr>
          <p:nvPr/>
        </p:nvSpPr>
        <p:spPr bwMode="auto">
          <a:xfrm>
            <a:off x="2257621" y="2232322"/>
            <a:ext cx="264699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lang="en-US" sz="1800" dirty="0">
                <a:solidFill>
                  <a:srgbClr val="FFFFFF"/>
                </a:solidFill>
                <a:cs typeface="Arial" pitchFamily="34" charset="0"/>
              </a:rPr>
              <a:t>IMPROVING FINANCIAL EFFICIENCY</a:t>
            </a:r>
          </a:p>
        </p:txBody>
      </p:sp>
      <p:sp>
        <p:nvSpPr>
          <p:cNvPr id="105" name="TextBox 23"/>
          <p:cNvSpPr txBox="1">
            <a:spLocks noChangeArrowheads="1"/>
          </p:cNvSpPr>
          <p:nvPr/>
        </p:nvSpPr>
        <p:spPr bwMode="auto">
          <a:xfrm>
            <a:off x="2248095" y="3772197"/>
            <a:ext cx="2661337"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lang="en-US" sz="1800" dirty="0">
                <a:solidFill>
                  <a:srgbClr val="FFFFFF"/>
                </a:solidFill>
                <a:cs typeface="Arial" pitchFamily="34" charset="0"/>
              </a:rPr>
              <a:t>ENHANCING CUSTOMER EXPERIENCE</a:t>
            </a:r>
          </a:p>
        </p:txBody>
      </p:sp>
      <p:sp>
        <p:nvSpPr>
          <p:cNvPr id="106" name="TextBox 23"/>
          <p:cNvSpPr txBox="1">
            <a:spLocks noChangeArrowheads="1"/>
          </p:cNvSpPr>
          <p:nvPr/>
        </p:nvSpPr>
        <p:spPr bwMode="auto">
          <a:xfrm>
            <a:off x="2248095" y="5310485"/>
            <a:ext cx="2661337"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lang="en-US" sz="1800" dirty="0">
                <a:solidFill>
                  <a:srgbClr val="FFFFFF"/>
                </a:solidFill>
                <a:cs typeface="Arial" pitchFamily="34" charset="0"/>
              </a:rPr>
              <a:t>INCREASING </a:t>
            </a:r>
            <a:r>
              <a:rPr lang="en-US" sz="1800" dirty="0" smtClean="0">
                <a:solidFill>
                  <a:srgbClr val="FFFFFF"/>
                </a:solidFill>
                <a:cs typeface="Arial" pitchFamily="34" charset="0"/>
              </a:rPr>
              <a:t>&amp;</a:t>
            </a:r>
            <a:r>
              <a:rPr lang="en-US" sz="1800" dirty="0">
                <a:solidFill>
                  <a:srgbClr val="FFFFFF"/>
                </a:solidFill>
                <a:cs typeface="Arial" pitchFamily="34" charset="0"/>
              </a:rPr>
              <a:t/>
            </a:r>
            <a:br>
              <a:rPr lang="en-US" sz="1800" dirty="0">
                <a:solidFill>
                  <a:srgbClr val="FFFFFF"/>
                </a:solidFill>
                <a:cs typeface="Arial" pitchFamily="34" charset="0"/>
              </a:rPr>
            </a:br>
            <a:r>
              <a:rPr lang="en-US" sz="1800" dirty="0">
                <a:solidFill>
                  <a:srgbClr val="FFFFFF"/>
                </a:solidFill>
                <a:cs typeface="Arial" pitchFamily="34" charset="0"/>
              </a:rPr>
              <a:t>ACCELERATING REVENUE</a:t>
            </a:r>
          </a:p>
        </p:txBody>
      </p:sp>
    </p:spTree>
    <p:extLst>
      <p:ext uri="{BB962C8B-B14F-4D97-AF65-F5344CB8AC3E}">
        <p14:creationId xmlns:p14="http://schemas.microsoft.com/office/powerpoint/2010/main" val="319300882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5"/>
          <p:cNvSpPr>
            <a:spLocks noChangeArrowheads="1"/>
          </p:cNvSpPr>
          <p:nvPr/>
        </p:nvSpPr>
        <p:spPr bwMode="auto">
          <a:xfrm>
            <a:off x="-23813" y="6496050"/>
            <a:ext cx="9167813" cy="361950"/>
          </a:xfrm>
          <a:prstGeom prst="rect">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lgn="l">
              <a:spcBef>
                <a:spcPct val="50000"/>
              </a:spcBef>
            </a:pPr>
            <a:endParaRPr lang="en-US"/>
          </a:p>
        </p:txBody>
      </p:sp>
      <p:sp>
        <p:nvSpPr>
          <p:cNvPr id="4" name="Rectangle 3"/>
          <p:cNvSpPr/>
          <p:nvPr/>
        </p:nvSpPr>
        <p:spPr bwMode="auto">
          <a:xfrm>
            <a:off x="-23813" y="0"/>
            <a:ext cx="4595813" cy="6858000"/>
          </a:xfrm>
          <a:prstGeom prst="rect">
            <a:avLst/>
          </a:prstGeom>
          <a:solidFill>
            <a:srgbClr val="007B78"/>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p>
            <a:pPr>
              <a:defRPr/>
            </a:pPr>
            <a:endParaRPr lang="en-US" sz="1600">
              <a:solidFill>
                <a:srgbClr val="F08A00"/>
              </a:solidFill>
              <a:latin typeface="+mn-lt"/>
            </a:endParaRPr>
          </a:p>
        </p:txBody>
      </p:sp>
      <p:sp>
        <p:nvSpPr>
          <p:cNvPr id="50180" name="Title 5"/>
          <p:cNvSpPr>
            <a:spLocks noGrp="1"/>
          </p:cNvSpPr>
          <p:nvPr>
            <p:ph type="title"/>
          </p:nvPr>
        </p:nvSpPr>
        <p:spPr>
          <a:xfrm>
            <a:off x="5203825" y="3006725"/>
            <a:ext cx="3243263" cy="1085850"/>
          </a:xfrm>
        </p:spPr>
        <p:txBody>
          <a:bodyPr/>
          <a:lstStyle/>
          <a:p>
            <a:pPr algn="ctr"/>
            <a:r>
              <a:rPr lang="en-US" sz="11500" dirty="0" smtClean="0">
                <a:solidFill>
                  <a:srgbClr val="007B78"/>
                </a:solidFill>
                <a:latin typeface="Ericsson Capital TT" pitchFamily="2" charset="0"/>
              </a:rPr>
              <a:t>Q&amp;A</a:t>
            </a:r>
          </a:p>
        </p:txBody>
      </p:sp>
      <p:sp>
        <p:nvSpPr>
          <p:cNvPr id="50181" name="Freeform 3"/>
          <p:cNvSpPr>
            <a:spLocks noChangeAspect="1"/>
          </p:cNvSpPr>
          <p:nvPr/>
        </p:nvSpPr>
        <p:spPr bwMode="auto">
          <a:xfrm>
            <a:off x="609600" y="1749425"/>
            <a:ext cx="3328988" cy="3359150"/>
          </a:xfrm>
          <a:custGeom>
            <a:avLst/>
            <a:gdLst>
              <a:gd name="T0" fmla="*/ 2147483647 w 354"/>
              <a:gd name="T1" fmla="*/ 2147483647 h 357"/>
              <a:gd name="T2" fmla="*/ 2147483647 w 354"/>
              <a:gd name="T3" fmla="*/ 2147483647 h 357"/>
              <a:gd name="T4" fmla="*/ 2147483647 w 354"/>
              <a:gd name="T5" fmla="*/ 2147483647 h 357"/>
              <a:gd name="T6" fmla="*/ 2147483647 w 354"/>
              <a:gd name="T7" fmla="*/ 2147483647 h 357"/>
              <a:gd name="T8" fmla="*/ 2147483647 w 354"/>
              <a:gd name="T9" fmla="*/ 2147483647 h 357"/>
              <a:gd name="T10" fmla="*/ 2147483647 w 354"/>
              <a:gd name="T11" fmla="*/ 2147483647 h 357"/>
              <a:gd name="T12" fmla="*/ 2147483647 w 354"/>
              <a:gd name="T13" fmla="*/ 2147483647 h 357"/>
              <a:gd name="T14" fmla="*/ 2147483647 w 354"/>
              <a:gd name="T15" fmla="*/ 2147483647 h 357"/>
              <a:gd name="T16" fmla="*/ 2147483647 w 354"/>
              <a:gd name="T17" fmla="*/ 2147483647 h 357"/>
              <a:gd name="T18" fmla="*/ 2147483647 w 354"/>
              <a:gd name="T19" fmla="*/ 2147483647 h 357"/>
              <a:gd name="T20" fmla="*/ 2147483647 w 354"/>
              <a:gd name="T21" fmla="*/ 2147483647 h 357"/>
              <a:gd name="T22" fmla="*/ 2147483647 w 354"/>
              <a:gd name="T23" fmla="*/ 2147483647 h 357"/>
              <a:gd name="T24" fmla="*/ 2147483647 w 354"/>
              <a:gd name="T25" fmla="*/ 2147483647 h 357"/>
              <a:gd name="T26" fmla="*/ 2147483647 w 354"/>
              <a:gd name="T27" fmla="*/ 2147483647 h 357"/>
              <a:gd name="T28" fmla="*/ 2147483647 w 354"/>
              <a:gd name="T29" fmla="*/ 0 h 357"/>
              <a:gd name="T30" fmla="*/ 0 w 354"/>
              <a:gd name="T31" fmla="*/ 2147483647 h 357"/>
              <a:gd name="T32" fmla="*/ 2147483647 w 354"/>
              <a:gd name="T33" fmla="*/ 2147483647 h 357"/>
              <a:gd name="T34" fmla="*/ 2147483647 w 354"/>
              <a:gd name="T35" fmla="*/ 2147483647 h 357"/>
              <a:gd name="T36" fmla="*/ 2147483647 w 354"/>
              <a:gd name="T37" fmla="*/ 2147483647 h 357"/>
              <a:gd name="T38" fmla="*/ 2147483647 w 354"/>
              <a:gd name="T39" fmla="*/ 2147483647 h 357"/>
              <a:gd name="T40" fmla="*/ 2147483647 w 354"/>
              <a:gd name="T41" fmla="*/ 2147483647 h 3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54" h="357">
                <a:moveTo>
                  <a:pt x="339" y="287"/>
                </a:moveTo>
                <a:cubicBezTo>
                  <a:pt x="274" y="222"/>
                  <a:pt x="274" y="222"/>
                  <a:pt x="274" y="222"/>
                </a:cubicBezTo>
                <a:cubicBezTo>
                  <a:pt x="287" y="200"/>
                  <a:pt x="294" y="175"/>
                  <a:pt x="294" y="148"/>
                </a:cubicBezTo>
                <a:cubicBezTo>
                  <a:pt x="294" y="112"/>
                  <a:pt x="282" y="80"/>
                  <a:pt x="261" y="54"/>
                </a:cubicBezTo>
                <a:cubicBezTo>
                  <a:pt x="258" y="51"/>
                  <a:pt x="253" y="51"/>
                  <a:pt x="250" y="53"/>
                </a:cubicBezTo>
                <a:cubicBezTo>
                  <a:pt x="246" y="56"/>
                  <a:pt x="246" y="61"/>
                  <a:pt x="249" y="65"/>
                </a:cubicBezTo>
                <a:cubicBezTo>
                  <a:pt x="267" y="87"/>
                  <a:pt x="278" y="116"/>
                  <a:pt x="278" y="148"/>
                </a:cubicBezTo>
                <a:cubicBezTo>
                  <a:pt x="278" y="220"/>
                  <a:pt x="220" y="279"/>
                  <a:pt x="147" y="279"/>
                </a:cubicBezTo>
                <a:cubicBezTo>
                  <a:pt x="75" y="279"/>
                  <a:pt x="16" y="220"/>
                  <a:pt x="16" y="148"/>
                </a:cubicBezTo>
                <a:cubicBezTo>
                  <a:pt x="16" y="75"/>
                  <a:pt x="75" y="17"/>
                  <a:pt x="147" y="16"/>
                </a:cubicBezTo>
                <a:cubicBezTo>
                  <a:pt x="178" y="16"/>
                  <a:pt x="206" y="27"/>
                  <a:pt x="228" y="44"/>
                </a:cubicBezTo>
                <a:cubicBezTo>
                  <a:pt x="231" y="47"/>
                  <a:pt x="236" y="46"/>
                  <a:pt x="239" y="43"/>
                </a:cubicBezTo>
                <a:cubicBezTo>
                  <a:pt x="242" y="39"/>
                  <a:pt x="241" y="34"/>
                  <a:pt x="238" y="31"/>
                </a:cubicBezTo>
                <a:cubicBezTo>
                  <a:pt x="238" y="31"/>
                  <a:pt x="238" y="31"/>
                  <a:pt x="238" y="31"/>
                </a:cubicBezTo>
                <a:cubicBezTo>
                  <a:pt x="213" y="12"/>
                  <a:pt x="181" y="0"/>
                  <a:pt x="147" y="0"/>
                </a:cubicBezTo>
                <a:cubicBezTo>
                  <a:pt x="66" y="0"/>
                  <a:pt x="0" y="66"/>
                  <a:pt x="0" y="148"/>
                </a:cubicBezTo>
                <a:cubicBezTo>
                  <a:pt x="0" y="229"/>
                  <a:pt x="66" y="295"/>
                  <a:pt x="147" y="295"/>
                </a:cubicBezTo>
                <a:cubicBezTo>
                  <a:pt x="173" y="295"/>
                  <a:pt x="197" y="288"/>
                  <a:pt x="218" y="276"/>
                </a:cubicBezTo>
                <a:cubicBezTo>
                  <a:pt x="284" y="342"/>
                  <a:pt x="284" y="342"/>
                  <a:pt x="284" y="342"/>
                </a:cubicBezTo>
                <a:cubicBezTo>
                  <a:pt x="299" y="357"/>
                  <a:pt x="324" y="357"/>
                  <a:pt x="339" y="342"/>
                </a:cubicBezTo>
                <a:cubicBezTo>
                  <a:pt x="354" y="327"/>
                  <a:pt x="354" y="302"/>
                  <a:pt x="339"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182" name="Rectangle 8"/>
          <p:cNvSpPr>
            <a:spLocks noChangeArrowheads="1"/>
          </p:cNvSpPr>
          <p:nvPr/>
        </p:nvSpPr>
        <p:spPr bwMode="auto">
          <a:xfrm>
            <a:off x="1595438" y="2382838"/>
            <a:ext cx="869950" cy="157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9600">
                <a:solidFill>
                  <a:srgbClr val="FFFFFF"/>
                </a:solidFill>
              </a:rPr>
              <a:t>?</a:t>
            </a:r>
            <a:endParaRPr lang="en-US">
              <a:solidFill>
                <a:srgbClr val="FFFFFF"/>
              </a:solidFill>
            </a:endParaRPr>
          </a:p>
        </p:txBody>
      </p:sp>
    </p:spTree>
    <p:extLst>
      <p:ext uri="{BB962C8B-B14F-4D97-AF65-F5344CB8AC3E}">
        <p14:creationId xmlns:p14="http://schemas.microsoft.com/office/powerpoint/2010/main" val="397879154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12"/>
          <p:cNvSpPr>
            <a:spLocks noChangeArrowheads="1"/>
          </p:cNvSpPr>
          <p:nvPr/>
        </p:nvSpPr>
        <p:spPr bwMode="auto">
          <a:xfrm>
            <a:off x="0" y="6496050"/>
            <a:ext cx="9144000" cy="361950"/>
          </a:xfrm>
          <a:prstGeom prst="rect">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lgn="l">
              <a:spcBef>
                <a:spcPct val="50000"/>
              </a:spcBef>
            </a:pPr>
            <a:endParaRPr lang="en-US"/>
          </a:p>
        </p:txBody>
      </p:sp>
      <p:sp>
        <p:nvSpPr>
          <p:cNvPr id="2" name="Content Placeholder 2"/>
          <p:cNvSpPr>
            <a:spLocks noGrp="1"/>
          </p:cNvSpPr>
          <p:nvPr>
            <p:ph sz="quarter" idx="10"/>
          </p:nvPr>
        </p:nvSpPr>
        <p:spPr>
          <a:xfrm>
            <a:off x="393700" y="1800225"/>
            <a:ext cx="3854450" cy="4724400"/>
          </a:xfrm>
        </p:spPr>
        <p:txBody>
          <a:bodyPr/>
          <a:lstStyle/>
          <a:p>
            <a:pPr>
              <a:spcAft>
                <a:spcPts val="1200"/>
              </a:spcAft>
              <a:buFont typeface="Arial" charset="0"/>
              <a:buChar char="›"/>
              <a:defRPr/>
            </a:pPr>
            <a:r>
              <a:rPr lang="en-US" dirty="0"/>
              <a:t>C</a:t>
            </a:r>
            <a:r>
              <a:rPr lang="en-US" dirty="0" smtClean="0"/>
              <a:t>ontact your Ericsson sales representative </a:t>
            </a:r>
          </a:p>
          <a:p>
            <a:pPr>
              <a:spcAft>
                <a:spcPts val="1200"/>
              </a:spcAft>
              <a:buFont typeface="Arial" charset="0"/>
              <a:buChar char="›"/>
              <a:defRPr/>
            </a:pPr>
            <a:r>
              <a:rPr lang="en-US" dirty="0" smtClean="0"/>
              <a:t>Look for webinar replay and download instructions</a:t>
            </a:r>
          </a:p>
          <a:p>
            <a:pPr>
              <a:spcAft>
                <a:spcPts val="1200"/>
              </a:spcAft>
              <a:buFont typeface="Arial" charset="0"/>
              <a:buChar char="›"/>
              <a:defRPr/>
            </a:pPr>
            <a:r>
              <a:rPr lang="en-US" dirty="0" smtClean="0"/>
              <a:t>Send us an e-mail: </a:t>
            </a:r>
            <a:r>
              <a:rPr lang="en-GB" sz="2000" u="sng" dirty="0" smtClean="0">
                <a:hlinkClick r:id="rId3"/>
              </a:rPr>
              <a:t>claudia.gilmour@ericsson.com</a:t>
            </a:r>
            <a:endParaRPr lang="en-GB" sz="2000" u="sng" dirty="0" smtClean="0"/>
          </a:p>
          <a:p>
            <a:pPr>
              <a:spcAft>
                <a:spcPts val="1200"/>
              </a:spcAft>
              <a:buFont typeface="Arial" charset="0"/>
              <a:buChar char="›"/>
              <a:defRPr/>
            </a:pPr>
            <a:r>
              <a:rPr lang="en-GB" dirty="0"/>
              <a:t>Please respond to brief survey</a:t>
            </a:r>
          </a:p>
          <a:p>
            <a:pPr marL="0" indent="0">
              <a:spcAft>
                <a:spcPts val="1200"/>
              </a:spcAft>
              <a:buFont typeface="Arial" charset="0"/>
              <a:buNone/>
              <a:defRPr/>
            </a:pPr>
            <a:endParaRPr lang="en-US" dirty="0" smtClean="0"/>
          </a:p>
          <a:p>
            <a:pPr>
              <a:spcAft>
                <a:spcPts val="1200"/>
              </a:spcAft>
              <a:buFont typeface="Arial" charset="0"/>
              <a:buChar char="›"/>
              <a:defRPr/>
            </a:pPr>
            <a:endParaRPr lang="en-US" dirty="0" smtClean="0"/>
          </a:p>
        </p:txBody>
      </p:sp>
      <p:sp>
        <p:nvSpPr>
          <p:cNvPr id="52228" name="Title 1"/>
          <p:cNvSpPr>
            <a:spLocks noGrp="1"/>
          </p:cNvSpPr>
          <p:nvPr>
            <p:ph type="title"/>
          </p:nvPr>
        </p:nvSpPr>
        <p:spPr>
          <a:xfrm>
            <a:off x="393700" y="239713"/>
            <a:ext cx="3854450" cy="1085850"/>
          </a:xfrm>
        </p:spPr>
        <p:txBody>
          <a:bodyPr/>
          <a:lstStyle/>
          <a:p>
            <a:r>
              <a:rPr lang="en-US" sz="4000" smtClean="0">
                <a:solidFill>
                  <a:srgbClr val="00285F"/>
                </a:solidFill>
                <a:latin typeface="Ericsson Capital TT" pitchFamily="2" charset="0"/>
              </a:rPr>
              <a:t>For More Information</a:t>
            </a:r>
          </a:p>
        </p:txBody>
      </p:sp>
      <p:sp>
        <p:nvSpPr>
          <p:cNvPr id="4" name="Rectangle 3"/>
          <p:cNvSpPr/>
          <p:nvPr/>
        </p:nvSpPr>
        <p:spPr bwMode="auto">
          <a:xfrm>
            <a:off x="4548188" y="0"/>
            <a:ext cx="4595812" cy="6858000"/>
          </a:xfrm>
          <a:prstGeom prst="rect">
            <a:avLst/>
          </a:prstGeom>
          <a:solidFill>
            <a:srgbClr val="00285F"/>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p>
            <a:pPr>
              <a:defRPr/>
            </a:pPr>
            <a:endParaRPr lang="en-US" sz="1600">
              <a:solidFill>
                <a:srgbClr val="F08A00"/>
              </a:solidFill>
              <a:latin typeface="+mn-lt"/>
            </a:endParaRPr>
          </a:p>
        </p:txBody>
      </p:sp>
      <p:sp>
        <p:nvSpPr>
          <p:cNvPr id="52230" name="Title 1"/>
          <p:cNvSpPr txBox="1">
            <a:spLocks/>
          </p:cNvSpPr>
          <p:nvPr/>
        </p:nvSpPr>
        <p:spPr bwMode="auto">
          <a:xfrm>
            <a:off x="5013325" y="4297363"/>
            <a:ext cx="3665538"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0" rIns="72000" b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a:lnSpc>
                <a:spcPct val="75000"/>
              </a:lnSpc>
            </a:pPr>
            <a:r>
              <a:rPr lang="en-US" sz="4400">
                <a:solidFill>
                  <a:schemeClr val="bg1"/>
                </a:solidFill>
                <a:latin typeface="Ericsson Capital TT" pitchFamily="2" charset="0"/>
              </a:rPr>
              <a:t>THANK YOU!</a:t>
            </a:r>
          </a:p>
        </p:txBody>
      </p:sp>
      <p:pic>
        <p:nvPicPr>
          <p:cNvPr id="8" name="Picture 5" descr="White Logotype"/>
          <p:cNvPicPr>
            <a:picLocks noChangeAspect="1" noChangeArrowheads="1"/>
          </p:cNvPicPr>
          <p:nvPr/>
        </p:nvPicPr>
        <p:blipFill rotWithShape="1">
          <a:blip r:embed="rId4"/>
          <a:srcRect b="22453"/>
          <a:stretch/>
        </p:blipFill>
        <p:spPr bwMode="auto">
          <a:xfrm>
            <a:off x="8021638" y="341313"/>
            <a:ext cx="1047750" cy="712787"/>
          </a:xfrm>
          <a:prstGeom prst="rect">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52232" name="Freeform 3"/>
          <p:cNvSpPr>
            <a:spLocks noChangeAspect="1" noEditPoints="1"/>
          </p:cNvSpPr>
          <p:nvPr/>
        </p:nvSpPr>
        <p:spPr bwMode="auto">
          <a:xfrm>
            <a:off x="5738813" y="2527300"/>
            <a:ext cx="2214562" cy="1487488"/>
          </a:xfrm>
          <a:custGeom>
            <a:avLst/>
            <a:gdLst>
              <a:gd name="T0" fmla="*/ 2147483647 w 461"/>
              <a:gd name="T1" fmla="*/ 2147483647 h 310"/>
              <a:gd name="T2" fmla="*/ 2147483647 w 461"/>
              <a:gd name="T3" fmla="*/ 2147483647 h 310"/>
              <a:gd name="T4" fmla="*/ 2147483647 w 461"/>
              <a:gd name="T5" fmla="*/ 2147483647 h 310"/>
              <a:gd name="T6" fmla="*/ 2147483647 w 461"/>
              <a:gd name="T7" fmla="*/ 2147483647 h 310"/>
              <a:gd name="T8" fmla="*/ 2147483647 w 461"/>
              <a:gd name="T9" fmla="*/ 2147483647 h 310"/>
              <a:gd name="T10" fmla="*/ 2147483647 w 461"/>
              <a:gd name="T11" fmla="*/ 2147483647 h 310"/>
              <a:gd name="T12" fmla="*/ 2147483647 w 461"/>
              <a:gd name="T13" fmla="*/ 2147483647 h 310"/>
              <a:gd name="T14" fmla="*/ 2147483647 w 461"/>
              <a:gd name="T15" fmla="*/ 2147483647 h 310"/>
              <a:gd name="T16" fmla="*/ 0 w 461"/>
              <a:gd name="T17" fmla="*/ 2147483647 h 310"/>
              <a:gd name="T18" fmla="*/ 2147483647 w 461"/>
              <a:gd name="T19" fmla="*/ 2147483647 h 310"/>
              <a:gd name="T20" fmla="*/ 2147483647 w 461"/>
              <a:gd name="T21" fmla="*/ 2147483647 h 310"/>
              <a:gd name="T22" fmla="*/ 2147483647 w 461"/>
              <a:gd name="T23" fmla="*/ 2147483647 h 310"/>
              <a:gd name="T24" fmla="*/ 2147483647 w 461"/>
              <a:gd name="T25" fmla="*/ 2147483647 h 310"/>
              <a:gd name="T26" fmla="*/ 2147483647 w 461"/>
              <a:gd name="T27" fmla="*/ 2147483647 h 310"/>
              <a:gd name="T28" fmla="*/ 2147483647 w 461"/>
              <a:gd name="T29" fmla="*/ 2147483647 h 310"/>
              <a:gd name="T30" fmla="*/ 2147483647 w 461"/>
              <a:gd name="T31" fmla="*/ 2147483647 h 310"/>
              <a:gd name="T32" fmla="*/ 2147483647 w 461"/>
              <a:gd name="T33" fmla="*/ 2147483647 h 310"/>
              <a:gd name="T34" fmla="*/ 2147483647 w 461"/>
              <a:gd name="T35" fmla="*/ 2147483647 h 310"/>
              <a:gd name="T36" fmla="*/ 2147483647 w 461"/>
              <a:gd name="T37" fmla="*/ 2147483647 h 310"/>
              <a:gd name="T38" fmla="*/ 2147483647 w 461"/>
              <a:gd name="T39" fmla="*/ 2147483647 h 310"/>
              <a:gd name="T40" fmla="*/ 2147483647 w 461"/>
              <a:gd name="T41" fmla="*/ 2147483647 h 310"/>
              <a:gd name="T42" fmla="*/ 2147483647 w 461"/>
              <a:gd name="T43" fmla="*/ 2147483647 h 310"/>
              <a:gd name="T44" fmla="*/ 2147483647 w 461"/>
              <a:gd name="T45" fmla="*/ 2147483647 h 310"/>
              <a:gd name="T46" fmla="*/ 2147483647 w 461"/>
              <a:gd name="T47" fmla="*/ 2147483647 h 310"/>
              <a:gd name="T48" fmla="*/ 2147483647 w 461"/>
              <a:gd name="T49" fmla="*/ 2147483647 h 310"/>
              <a:gd name="T50" fmla="*/ 2147483647 w 461"/>
              <a:gd name="T51" fmla="*/ 2147483647 h 310"/>
              <a:gd name="T52" fmla="*/ 2147483647 w 461"/>
              <a:gd name="T53" fmla="*/ 2147483647 h 310"/>
              <a:gd name="T54" fmla="*/ 2147483647 w 461"/>
              <a:gd name="T55" fmla="*/ 2147483647 h 310"/>
              <a:gd name="T56" fmla="*/ 2147483647 w 461"/>
              <a:gd name="T57" fmla="*/ 2147483647 h 310"/>
              <a:gd name="T58" fmla="*/ 2147483647 w 461"/>
              <a:gd name="T59" fmla="*/ 2147483647 h 310"/>
              <a:gd name="T60" fmla="*/ 2147483647 w 461"/>
              <a:gd name="T61" fmla="*/ 2147483647 h 310"/>
              <a:gd name="T62" fmla="*/ 2147483647 w 461"/>
              <a:gd name="T63" fmla="*/ 2147483647 h 310"/>
              <a:gd name="T64" fmla="*/ 2147483647 w 461"/>
              <a:gd name="T65" fmla="*/ 2147483647 h 310"/>
              <a:gd name="T66" fmla="*/ 2147483647 w 461"/>
              <a:gd name="T67" fmla="*/ 2147483647 h 310"/>
              <a:gd name="T68" fmla="*/ 2147483647 w 461"/>
              <a:gd name="T69" fmla="*/ 2147483647 h 310"/>
              <a:gd name="T70" fmla="*/ 2147483647 w 461"/>
              <a:gd name="T71" fmla="*/ 2147483647 h 310"/>
              <a:gd name="T72" fmla="*/ 2147483647 w 461"/>
              <a:gd name="T73" fmla="*/ 2147483647 h 310"/>
              <a:gd name="T74" fmla="*/ 2147483647 w 461"/>
              <a:gd name="T75" fmla="*/ 2147483647 h 310"/>
              <a:gd name="T76" fmla="*/ 2147483647 w 461"/>
              <a:gd name="T77" fmla="*/ 2147483647 h 310"/>
              <a:gd name="T78" fmla="*/ 2147483647 w 461"/>
              <a:gd name="T79" fmla="*/ 2147483647 h 310"/>
              <a:gd name="T80" fmla="*/ 2147483647 w 461"/>
              <a:gd name="T81" fmla="*/ 2147483647 h 310"/>
              <a:gd name="T82" fmla="*/ 2147483647 w 461"/>
              <a:gd name="T83" fmla="*/ 2147483647 h 310"/>
              <a:gd name="T84" fmla="*/ 2147483647 w 461"/>
              <a:gd name="T85" fmla="*/ 2147483647 h 310"/>
              <a:gd name="T86" fmla="*/ 2147483647 w 461"/>
              <a:gd name="T87" fmla="*/ 2147483647 h 310"/>
              <a:gd name="T88" fmla="*/ 2147483647 w 461"/>
              <a:gd name="T89" fmla="*/ 2147483647 h 310"/>
              <a:gd name="T90" fmla="*/ 2147483647 w 461"/>
              <a:gd name="T91" fmla="*/ 2147483647 h 310"/>
              <a:gd name="T92" fmla="*/ 2147483647 w 461"/>
              <a:gd name="T93" fmla="*/ 2147483647 h 310"/>
              <a:gd name="T94" fmla="*/ 2147483647 w 461"/>
              <a:gd name="T95" fmla="*/ 2147483647 h 310"/>
              <a:gd name="T96" fmla="*/ 2147483647 w 461"/>
              <a:gd name="T97" fmla="*/ 2147483647 h 310"/>
              <a:gd name="T98" fmla="*/ 2147483647 w 461"/>
              <a:gd name="T99" fmla="*/ 2147483647 h 310"/>
              <a:gd name="T100" fmla="*/ 2147483647 w 461"/>
              <a:gd name="T101" fmla="*/ 2147483647 h 310"/>
              <a:gd name="T102" fmla="*/ 2147483647 w 461"/>
              <a:gd name="T103" fmla="*/ 2147483647 h 310"/>
              <a:gd name="T104" fmla="*/ 2147483647 w 461"/>
              <a:gd name="T105" fmla="*/ 2147483647 h 310"/>
              <a:gd name="T106" fmla="*/ 2147483647 w 461"/>
              <a:gd name="T107" fmla="*/ 2147483647 h 310"/>
              <a:gd name="T108" fmla="*/ 2147483647 w 461"/>
              <a:gd name="T109" fmla="*/ 2147483647 h 310"/>
              <a:gd name="T110" fmla="*/ 2147483647 w 461"/>
              <a:gd name="T111" fmla="*/ 2147483647 h 310"/>
              <a:gd name="T112" fmla="*/ 2147483647 w 461"/>
              <a:gd name="T113" fmla="*/ 2147483647 h 310"/>
              <a:gd name="T114" fmla="*/ 2147483647 w 461"/>
              <a:gd name="T115" fmla="*/ 2147483647 h 310"/>
              <a:gd name="T116" fmla="*/ 2147483647 w 461"/>
              <a:gd name="T117" fmla="*/ 2147483647 h 310"/>
              <a:gd name="T118" fmla="*/ 2147483647 w 461"/>
              <a:gd name="T119" fmla="*/ 2147483647 h 310"/>
              <a:gd name="T120" fmla="*/ 2147483647 w 461"/>
              <a:gd name="T121" fmla="*/ 2147483647 h 310"/>
              <a:gd name="T122" fmla="*/ 2147483647 w 461"/>
              <a:gd name="T123" fmla="*/ 2147483647 h 310"/>
              <a:gd name="T124" fmla="*/ 2147483647 w 461"/>
              <a:gd name="T125" fmla="*/ 2147483647 h 3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61" h="310">
                <a:moveTo>
                  <a:pt x="449" y="165"/>
                </a:moveTo>
                <a:cubicBezTo>
                  <a:pt x="444" y="158"/>
                  <a:pt x="438" y="153"/>
                  <a:pt x="431" y="149"/>
                </a:cubicBezTo>
                <a:cubicBezTo>
                  <a:pt x="439" y="138"/>
                  <a:pt x="444" y="125"/>
                  <a:pt x="444" y="111"/>
                </a:cubicBezTo>
                <a:cubicBezTo>
                  <a:pt x="444" y="102"/>
                  <a:pt x="442" y="93"/>
                  <a:pt x="438" y="85"/>
                </a:cubicBezTo>
                <a:cubicBezTo>
                  <a:pt x="432" y="72"/>
                  <a:pt x="422" y="61"/>
                  <a:pt x="409" y="55"/>
                </a:cubicBezTo>
                <a:cubicBezTo>
                  <a:pt x="401" y="51"/>
                  <a:pt x="392" y="49"/>
                  <a:pt x="382" y="49"/>
                </a:cubicBezTo>
                <a:cubicBezTo>
                  <a:pt x="348" y="49"/>
                  <a:pt x="321" y="77"/>
                  <a:pt x="321" y="111"/>
                </a:cubicBezTo>
                <a:cubicBezTo>
                  <a:pt x="321" y="125"/>
                  <a:pt x="326" y="138"/>
                  <a:pt x="334" y="149"/>
                </a:cubicBezTo>
                <a:cubicBezTo>
                  <a:pt x="329" y="151"/>
                  <a:pt x="325" y="155"/>
                  <a:pt x="321" y="158"/>
                </a:cubicBezTo>
                <a:cubicBezTo>
                  <a:pt x="320" y="157"/>
                  <a:pt x="319" y="155"/>
                  <a:pt x="318" y="154"/>
                </a:cubicBezTo>
                <a:cubicBezTo>
                  <a:pt x="311" y="145"/>
                  <a:pt x="302" y="137"/>
                  <a:pt x="293" y="132"/>
                </a:cubicBezTo>
                <a:cubicBezTo>
                  <a:pt x="304" y="118"/>
                  <a:pt x="311" y="100"/>
                  <a:pt x="311" y="80"/>
                </a:cubicBezTo>
                <a:cubicBezTo>
                  <a:pt x="311" y="65"/>
                  <a:pt x="307" y="50"/>
                  <a:pt x="299" y="37"/>
                </a:cubicBezTo>
                <a:cubicBezTo>
                  <a:pt x="296" y="34"/>
                  <a:pt x="291" y="33"/>
                  <a:pt x="288" y="35"/>
                </a:cubicBezTo>
                <a:cubicBezTo>
                  <a:pt x="284" y="37"/>
                  <a:pt x="283" y="42"/>
                  <a:pt x="285" y="46"/>
                </a:cubicBezTo>
                <a:cubicBezTo>
                  <a:pt x="292" y="56"/>
                  <a:pt x="295" y="68"/>
                  <a:pt x="295" y="80"/>
                </a:cubicBezTo>
                <a:cubicBezTo>
                  <a:pt x="295" y="116"/>
                  <a:pt x="266" y="144"/>
                  <a:pt x="231" y="144"/>
                </a:cubicBezTo>
                <a:cubicBezTo>
                  <a:pt x="196" y="144"/>
                  <a:pt x="167" y="116"/>
                  <a:pt x="167" y="80"/>
                </a:cubicBezTo>
                <a:cubicBezTo>
                  <a:pt x="167" y="45"/>
                  <a:pt x="196" y="16"/>
                  <a:pt x="231" y="16"/>
                </a:cubicBezTo>
                <a:cubicBezTo>
                  <a:pt x="243" y="16"/>
                  <a:pt x="255" y="20"/>
                  <a:pt x="265" y="26"/>
                </a:cubicBezTo>
                <a:cubicBezTo>
                  <a:pt x="269" y="28"/>
                  <a:pt x="274" y="27"/>
                  <a:pt x="276" y="24"/>
                </a:cubicBezTo>
                <a:cubicBezTo>
                  <a:pt x="279" y="20"/>
                  <a:pt x="278" y="15"/>
                  <a:pt x="274" y="13"/>
                </a:cubicBezTo>
                <a:cubicBezTo>
                  <a:pt x="261" y="4"/>
                  <a:pt x="246" y="0"/>
                  <a:pt x="231" y="0"/>
                </a:cubicBezTo>
                <a:cubicBezTo>
                  <a:pt x="187" y="0"/>
                  <a:pt x="151" y="36"/>
                  <a:pt x="151" y="80"/>
                </a:cubicBezTo>
                <a:cubicBezTo>
                  <a:pt x="151" y="100"/>
                  <a:pt x="158" y="118"/>
                  <a:pt x="169" y="132"/>
                </a:cubicBezTo>
                <a:cubicBezTo>
                  <a:pt x="160" y="137"/>
                  <a:pt x="151" y="145"/>
                  <a:pt x="144" y="154"/>
                </a:cubicBezTo>
                <a:cubicBezTo>
                  <a:pt x="143" y="155"/>
                  <a:pt x="142" y="157"/>
                  <a:pt x="140" y="159"/>
                </a:cubicBezTo>
                <a:cubicBezTo>
                  <a:pt x="137" y="155"/>
                  <a:pt x="132" y="151"/>
                  <a:pt x="128" y="149"/>
                </a:cubicBezTo>
                <a:cubicBezTo>
                  <a:pt x="136" y="138"/>
                  <a:pt x="141" y="125"/>
                  <a:pt x="141" y="111"/>
                </a:cubicBezTo>
                <a:cubicBezTo>
                  <a:pt x="141" y="102"/>
                  <a:pt x="139" y="93"/>
                  <a:pt x="135" y="85"/>
                </a:cubicBezTo>
                <a:cubicBezTo>
                  <a:pt x="129" y="72"/>
                  <a:pt x="118" y="61"/>
                  <a:pt x="105" y="55"/>
                </a:cubicBezTo>
                <a:cubicBezTo>
                  <a:pt x="97" y="51"/>
                  <a:pt x="88" y="49"/>
                  <a:pt x="79" y="49"/>
                </a:cubicBezTo>
                <a:cubicBezTo>
                  <a:pt x="45" y="49"/>
                  <a:pt x="17" y="77"/>
                  <a:pt x="17" y="111"/>
                </a:cubicBezTo>
                <a:cubicBezTo>
                  <a:pt x="17" y="125"/>
                  <a:pt x="22" y="138"/>
                  <a:pt x="30" y="149"/>
                </a:cubicBezTo>
                <a:cubicBezTo>
                  <a:pt x="23" y="153"/>
                  <a:pt x="17" y="158"/>
                  <a:pt x="12" y="165"/>
                </a:cubicBezTo>
                <a:cubicBezTo>
                  <a:pt x="5" y="174"/>
                  <a:pt x="0" y="186"/>
                  <a:pt x="0" y="198"/>
                </a:cubicBezTo>
                <a:cubicBezTo>
                  <a:pt x="0" y="266"/>
                  <a:pt x="0" y="266"/>
                  <a:pt x="0" y="266"/>
                </a:cubicBezTo>
                <a:cubicBezTo>
                  <a:pt x="0" y="276"/>
                  <a:pt x="7" y="284"/>
                  <a:pt x="17" y="284"/>
                </a:cubicBezTo>
                <a:cubicBezTo>
                  <a:pt x="128" y="284"/>
                  <a:pt x="128" y="284"/>
                  <a:pt x="128" y="284"/>
                </a:cubicBezTo>
                <a:cubicBezTo>
                  <a:pt x="128" y="288"/>
                  <a:pt x="128" y="288"/>
                  <a:pt x="128" y="288"/>
                </a:cubicBezTo>
                <a:cubicBezTo>
                  <a:pt x="128" y="300"/>
                  <a:pt x="136" y="310"/>
                  <a:pt x="148" y="310"/>
                </a:cubicBezTo>
                <a:cubicBezTo>
                  <a:pt x="314" y="310"/>
                  <a:pt x="314" y="310"/>
                  <a:pt x="314" y="310"/>
                </a:cubicBezTo>
                <a:cubicBezTo>
                  <a:pt x="326" y="310"/>
                  <a:pt x="334" y="300"/>
                  <a:pt x="334" y="288"/>
                </a:cubicBezTo>
                <a:cubicBezTo>
                  <a:pt x="334" y="284"/>
                  <a:pt x="334" y="284"/>
                  <a:pt x="334" y="284"/>
                </a:cubicBezTo>
                <a:cubicBezTo>
                  <a:pt x="444" y="284"/>
                  <a:pt x="444" y="284"/>
                  <a:pt x="444" y="284"/>
                </a:cubicBezTo>
                <a:cubicBezTo>
                  <a:pt x="454" y="284"/>
                  <a:pt x="461" y="276"/>
                  <a:pt x="461" y="266"/>
                </a:cubicBezTo>
                <a:cubicBezTo>
                  <a:pt x="461" y="198"/>
                  <a:pt x="461" y="198"/>
                  <a:pt x="461" y="198"/>
                </a:cubicBezTo>
                <a:cubicBezTo>
                  <a:pt x="461" y="186"/>
                  <a:pt x="456" y="174"/>
                  <a:pt x="449" y="165"/>
                </a:cubicBezTo>
                <a:close/>
                <a:moveTo>
                  <a:pt x="79" y="65"/>
                </a:moveTo>
                <a:cubicBezTo>
                  <a:pt x="86" y="65"/>
                  <a:pt x="92" y="67"/>
                  <a:pt x="98" y="70"/>
                </a:cubicBezTo>
                <a:cubicBezTo>
                  <a:pt x="108" y="74"/>
                  <a:pt x="116" y="82"/>
                  <a:pt x="120" y="92"/>
                </a:cubicBezTo>
                <a:cubicBezTo>
                  <a:pt x="123" y="97"/>
                  <a:pt x="125" y="104"/>
                  <a:pt x="125" y="111"/>
                </a:cubicBezTo>
                <a:cubicBezTo>
                  <a:pt x="125" y="125"/>
                  <a:pt x="118" y="137"/>
                  <a:pt x="109" y="146"/>
                </a:cubicBezTo>
                <a:cubicBezTo>
                  <a:pt x="108" y="146"/>
                  <a:pt x="107" y="147"/>
                  <a:pt x="106" y="147"/>
                </a:cubicBezTo>
                <a:cubicBezTo>
                  <a:pt x="106" y="148"/>
                  <a:pt x="106" y="148"/>
                  <a:pt x="105" y="148"/>
                </a:cubicBezTo>
                <a:cubicBezTo>
                  <a:pt x="105" y="149"/>
                  <a:pt x="104" y="149"/>
                  <a:pt x="103" y="150"/>
                </a:cubicBezTo>
                <a:cubicBezTo>
                  <a:pt x="103" y="150"/>
                  <a:pt x="102" y="150"/>
                  <a:pt x="102" y="151"/>
                </a:cubicBezTo>
                <a:cubicBezTo>
                  <a:pt x="101" y="151"/>
                  <a:pt x="100" y="151"/>
                  <a:pt x="100" y="152"/>
                </a:cubicBezTo>
                <a:cubicBezTo>
                  <a:pt x="99" y="152"/>
                  <a:pt x="98" y="152"/>
                  <a:pt x="98" y="153"/>
                </a:cubicBezTo>
                <a:cubicBezTo>
                  <a:pt x="97" y="153"/>
                  <a:pt x="97" y="153"/>
                  <a:pt x="96" y="153"/>
                </a:cubicBezTo>
                <a:cubicBezTo>
                  <a:pt x="95" y="154"/>
                  <a:pt x="94" y="154"/>
                  <a:pt x="94" y="154"/>
                </a:cubicBezTo>
                <a:cubicBezTo>
                  <a:pt x="93" y="154"/>
                  <a:pt x="92" y="155"/>
                  <a:pt x="92" y="155"/>
                </a:cubicBezTo>
                <a:cubicBezTo>
                  <a:pt x="91" y="155"/>
                  <a:pt x="90" y="155"/>
                  <a:pt x="89" y="156"/>
                </a:cubicBezTo>
                <a:cubicBezTo>
                  <a:pt x="89" y="156"/>
                  <a:pt x="88" y="156"/>
                  <a:pt x="88" y="156"/>
                </a:cubicBezTo>
                <a:cubicBezTo>
                  <a:pt x="87" y="156"/>
                  <a:pt x="86" y="156"/>
                  <a:pt x="84" y="156"/>
                </a:cubicBezTo>
                <a:cubicBezTo>
                  <a:pt x="84" y="156"/>
                  <a:pt x="84" y="156"/>
                  <a:pt x="83" y="156"/>
                </a:cubicBezTo>
                <a:cubicBezTo>
                  <a:pt x="82" y="157"/>
                  <a:pt x="80" y="157"/>
                  <a:pt x="79" y="157"/>
                </a:cubicBezTo>
                <a:cubicBezTo>
                  <a:pt x="77" y="157"/>
                  <a:pt x="76" y="157"/>
                  <a:pt x="74" y="156"/>
                </a:cubicBezTo>
                <a:cubicBezTo>
                  <a:pt x="74" y="156"/>
                  <a:pt x="74" y="156"/>
                  <a:pt x="73" y="156"/>
                </a:cubicBezTo>
                <a:cubicBezTo>
                  <a:pt x="72" y="156"/>
                  <a:pt x="71" y="156"/>
                  <a:pt x="70" y="156"/>
                </a:cubicBezTo>
                <a:cubicBezTo>
                  <a:pt x="69" y="156"/>
                  <a:pt x="69" y="156"/>
                  <a:pt x="69" y="156"/>
                </a:cubicBezTo>
                <a:cubicBezTo>
                  <a:pt x="68" y="155"/>
                  <a:pt x="67" y="155"/>
                  <a:pt x="66" y="155"/>
                </a:cubicBezTo>
                <a:cubicBezTo>
                  <a:pt x="65" y="155"/>
                  <a:pt x="65" y="154"/>
                  <a:pt x="64" y="154"/>
                </a:cubicBezTo>
                <a:cubicBezTo>
                  <a:pt x="63" y="154"/>
                  <a:pt x="63" y="154"/>
                  <a:pt x="62" y="153"/>
                </a:cubicBezTo>
                <a:cubicBezTo>
                  <a:pt x="61" y="153"/>
                  <a:pt x="61" y="153"/>
                  <a:pt x="60" y="153"/>
                </a:cubicBezTo>
                <a:cubicBezTo>
                  <a:pt x="59" y="152"/>
                  <a:pt x="59" y="152"/>
                  <a:pt x="58" y="152"/>
                </a:cubicBezTo>
                <a:cubicBezTo>
                  <a:pt x="57" y="151"/>
                  <a:pt x="57" y="151"/>
                  <a:pt x="56" y="151"/>
                </a:cubicBezTo>
                <a:cubicBezTo>
                  <a:pt x="56" y="150"/>
                  <a:pt x="55" y="150"/>
                  <a:pt x="55" y="150"/>
                </a:cubicBezTo>
                <a:cubicBezTo>
                  <a:pt x="54" y="149"/>
                  <a:pt x="53" y="149"/>
                  <a:pt x="52" y="148"/>
                </a:cubicBezTo>
                <a:cubicBezTo>
                  <a:pt x="52" y="148"/>
                  <a:pt x="52" y="148"/>
                  <a:pt x="51" y="147"/>
                </a:cubicBezTo>
                <a:cubicBezTo>
                  <a:pt x="51" y="147"/>
                  <a:pt x="50" y="146"/>
                  <a:pt x="49" y="146"/>
                </a:cubicBezTo>
                <a:cubicBezTo>
                  <a:pt x="39" y="137"/>
                  <a:pt x="33" y="125"/>
                  <a:pt x="33" y="111"/>
                </a:cubicBezTo>
                <a:cubicBezTo>
                  <a:pt x="33" y="86"/>
                  <a:pt x="54" y="65"/>
                  <a:pt x="79" y="65"/>
                </a:cubicBezTo>
                <a:close/>
                <a:moveTo>
                  <a:pt x="129" y="189"/>
                </a:moveTo>
                <a:cubicBezTo>
                  <a:pt x="128" y="190"/>
                  <a:pt x="128" y="191"/>
                  <a:pt x="128" y="192"/>
                </a:cubicBezTo>
                <a:cubicBezTo>
                  <a:pt x="128" y="194"/>
                  <a:pt x="128" y="195"/>
                  <a:pt x="128" y="196"/>
                </a:cubicBezTo>
                <a:cubicBezTo>
                  <a:pt x="128" y="196"/>
                  <a:pt x="128" y="196"/>
                  <a:pt x="128" y="196"/>
                </a:cubicBezTo>
                <a:cubicBezTo>
                  <a:pt x="128" y="268"/>
                  <a:pt x="128" y="268"/>
                  <a:pt x="128" y="268"/>
                </a:cubicBezTo>
                <a:cubicBezTo>
                  <a:pt x="43" y="268"/>
                  <a:pt x="43" y="268"/>
                  <a:pt x="43" y="268"/>
                </a:cubicBezTo>
                <a:cubicBezTo>
                  <a:pt x="43" y="206"/>
                  <a:pt x="43" y="206"/>
                  <a:pt x="43" y="206"/>
                </a:cubicBezTo>
                <a:cubicBezTo>
                  <a:pt x="43" y="202"/>
                  <a:pt x="39" y="198"/>
                  <a:pt x="35" y="198"/>
                </a:cubicBezTo>
                <a:cubicBezTo>
                  <a:pt x="31" y="198"/>
                  <a:pt x="27" y="202"/>
                  <a:pt x="27" y="206"/>
                </a:cubicBezTo>
                <a:cubicBezTo>
                  <a:pt x="27" y="268"/>
                  <a:pt x="27" y="268"/>
                  <a:pt x="27" y="268"/>
                </a:cubicBezTo>
                <a:cubicBezTo>
                  <a:pt x="17" y="268"/>
                  <a:pt x="17" y="268"/>
                  <a:pt x="17" y="268"/>
                </a:cubicBezTo>
                <a:cubicBezTo>
                  <a:pt x="17" y="268"/>
                  <a:pt x="17" y="268"/>
                  <a:pt x="17" y="268"/>
                </a:cubicBezTo>
                <a:cubicBezTo>
                  <a:pt x="16" y="268"/>
                  <a:pt x="16" y="267"/>
                  <a:pt x="16" y="266"/>
                </a:cubicBezTo>
                <a:cubicBezTo>
                  <a:pt x="16" y="198"/>
                  <a:pt x="16" y="198"/>
                  <a:pt x="16" y="198"/>
                </a:cubicBezTo>
                <a:cubicBezTo>
                  <a:pt x="16" y="191"/>
                  <a:pt x="19" y="182"/>
                  <a:pt x="25" y="174"/>
                </a:cubicBezTo>
                <a:cubicBezTo>
                  <a:pt x="30" y="168"/>
                  <a:pt x="36" y="163"/>
                  <a:pt x="42" y="160"/>
                </a:cubicBezTo>
                <a:cubicBezTo>
                  <a:pt x="42" y="161"/>
                  <a:pt x="42" y="161"/>
                  <a:pt x="43" y="161"/>
                </a:cubicBezTo>
                <a:cubicBezTo>
                  <a:pt x="44" y="162"/>
                  <a:pt x="45" y="162"/>
                  <a:pt x="46" y="163"/>
                </a:cubicBezTo>
                <a:cubicBezTo>
                  <a:pt x="46" y="163"/>
                  <a:pt x="47" y="164"/>
                  <a:pt x="47" y="164"/>
                </a:cubicBezTo>
                <a:cubicBezTo>
                  <a:pt x="48" y="164"/>
                  <a:pt x="49" y="165"/>
                  <a:pt x="50" y="166"/>
                </a:cubicBezTo>
                <a:cubicBezTo>
                  <a:pt x="50" y="166"/>
                  <a:pt x="51" y="166"/>
                  <a:pt x="51" y="166"/>
                </a:cubicBezTo>
                <a:cubicBezTo>
                  <a:pt x="53" y="167"/>
                  <a:pt x="55" y="168"/>
                  <a:pt x="57" y="169"/>
                </a:cubicBezTo>
                <a:cubicBezTo>
                  <a:pt x="58" y="169"/>
                  <a:pt x="59" y="169"/>
                  <a:pt x="60" y="170"/>
                </a:cubicBezTo>
                <a:cubicBezTo>
                  <a:pt x="60" y="170"/>
                  <a:pt x="61" y="170"/>
                  <a:pt x="62" y="170"/>
                </a:cubicBezTo>
                <a:cubicBezTo>
                  <a:pt x="63" y="171"/>
                  <a:pt x="64" y="171"/>
                  <a:pt x="65" y="171"/>
                </a:cubicBezTo>
                <a:cubicBezTo>
                  <a:pt x="66" y="171"/>
                  <a:pt x="67" y="171"/>
                  <a:pt x="67" y="172"/>
                </a:cubicBezTo>
                <a:cubicBezTo>
                  <a:pt x="69" y="172"/>
                  <a:pt x="70" y="172"/>
                  <a:pt x="71" y="172"/>
                </a:cubicBezTo>
                <a:cubicBezTo>
                  <a:pt x="72" y="172"/>
                  <a:pt x="72" y="172"/>
                  <a:pt x="73" y="172"/>
                </a:cubicBezTo>
                <a:cubicBezTo>
                  <a:pt x="75" y="173"/>
                  <a:pt x="77" y="173"/>
                  <a:pt x="79" y="173"/>
                </a:cubicBezTo>
                <a:cubicBezTo>
                  <a:pt x="81" y="173"/>
                  <a:pt x="83" y="173"/>
                  <a:pt x="85" y="172"/>
                </a:cubicBezTo>
                <a:cubicBezTo>
                  <a:pt x="85" y="172"/>
                  <a:pt x="86" y="172"/>
                  <a:pt x="86" y="172"/>
                </a:cubicBezTo>
                <a:cubicBezTo>
                  <a:pt x="88" y="172"/>
                  <a:pt x="89" y="172"/>
                  <a:pt x="90" y="172"/>
                </a:cubicBezTo>
                <a:cubicBezTo>
                  <a:pt x="91" y="171"/>
                  <a:pt x="92" y="171"/>
                  <a:pt x="92" y="171"/>
                </a:cubicBezTo>
                <a:cubicBezTo>
                  <a:pt x="94" y="171"/>
                  <a:pt x="95" y="171"/>
                  <a:pt x="96" y="170"/>
                </a:cubicBezTo>
                <a:cubicBezTo>
                  <a:pt x="96" y="170"/>
                  <a:pt x="97" y="170"/>
                  <a:pt x="98" y="170"/>
                </a:cubicBezTo>
                <a:cubicBezTo>
                  <a:pt x="99" y="169"/>
                  <a:pt x="100" y="169"/>
                  <a:pt x="101" y="169"/>
                </a:cubicBezTo>
                <a:cubicBezTo>
                  <a:pt x="103" y="168"/>
                  <a:pt x="105" y="167"/>
                  <a:pt x="107" y="166"/>
                </a:cubicBezTo>
                <a:cubicBezTo>
                  <a:pt x="107" y="166"/>
                  <a:pt x="108" y="166"/>
                  <a:pt x="108" y="166"/>
                </a:cubicBezTo>
                <a:cubicBezTo>
                  <a:pt x="109" y="165"/>
                  <a:pt x="110" y="164"/>
                  <a:pt x="111" y="164"/>
                </a:cubicBezTo>
                <a:cubicBezTo>
                  <a:pt x="111" y="164"/>
                  <a:pt x="112" y="163"/>
                  <a:pt x="112" y="163"/>
                </a:cubicBezTo>
                <a:cubicBezTo>
                  <a:pt x="113" y="162"/>
                  <a:pt x="114" y="162"/>
                  <a:pt x="115" y="161"/>
                </a:cubicBezTo>
                <a:cubicBezTo>
                  <a:pt x="115" y="161"/>
                  <a:pt x="116" y="161"/>
                  <a:pt x="116" y="160"/>
                </a:cubicBezTo>
                <a:cubicBezTo>
                  <a:pt x="122" y="163"/>
                  <a:pt x="128" y="168"/>
                  <a:pt x="133" y="174"/>
                </a:cubicBezTo>
                <a:cubicBezTo>
                  <a:pt x="131" y="179"/>
                  <a:pt x="129" y="184"/>
                  <a:pt x="129" y="189"/>
                </a:cubicBezTo>
                <a:close/>
                <a:moveTo>
                  <a:pt x="318" y="288"/>
                </a:moveTo>
                <a:cubicBezTo>
                  <a:pt x="318" y="292"/>
                  <a:pt x="316" y="294"/>
                  <a:pt x="314" y="294"/>
                </a:cubicBezTo>
                <a:cubicBezTo>
                  <a:pt x="298" y="294"/>
                  <a:pt x="298" y="294"/>
                  <a:pt x="298" y="294"/>
                </a:cubicBezTo>
                <a:cubicBezTo>
                  <a:pt x="298" y="196"/>
                  <a:pt x="298" y="196"/>
                  <a:pt x="298" y="196"/>
                </a:cubicBezTo>
                <a:cubicBezTo>
                  <a:pt x="298" y="191"/>
                  <a:pt x="294" y="188"/>
                  <a:pt x="290" y="188"/>
                </a:cubicBezTo>
                <a:cubicBezTo>
                  <a:pt x="285" y="188"/>
                  <a:pt x="282" y="191"/>
                  <a:pt x="282" y="196"/>
                </a:cubicBezTo>
                <a:cubicBezTo>
                  <a:pt x="282" y="294"/>
                  <a:pt x="282" y="294"/>
                  <a:pt x="282" y="294"/>
                </a:cubicBezTo>
                <a:cubicBezTo>
                  <a:pt x="180" y="294"/>
                  <a:pt x="180" y="294"/>
                  <a:pt x="180" y="294"/>
                </a:cubicBezTo>
                <a:cubicBezTo>
                  <a:pt x="180" y="196"/>
                  <a:pt x="180" y="196"/>
                  <a:pt x="180" y="196"/>
                </a:cubicBezTo>
                <a:cubicBezTo>
                  <a:pt x="180" y="191"/>
                  <a:pt x="177" y="188"/>
                  <a:pt x="172" y="188"/>
                </a:cubicBezTo>
                <a:cubicBezTo>
                  <a:pt x="168" y="188"/>
                  <a:pt x="164" y="191"/>
                  <a:pt x="164" y="196"/>
                </a:cubicBezTo>
                <a:cubicBezTo>
                  <a:pt x="164" y="294"/>
                  <a:pt x="164" y="294"/>
                  <a:pt x="164" y="294"/>
                </a:cubicBezTo>
                <a:cubicBezTo>
                  <a:pt x="148" y="294"/>
                  <a:pt x="148" y="294"/>
                  <a:pt x="148" y="294"/>
                </a:cubicBezTo>
                <a:cubicBezTo>
                  <a:pt x="147" y="294"/>
                  <a:pt x="144" y="292"/>
                  <a:pt x="144" y="288"/>
                </a:cubicBezTo>
                <a:cubicBezTo>
                  <a:pt x="144" y="276"/>
                  <a:pt x="144" y="276"/>
                  <a:pt x="144" y="276"/>
                </a:cubicBezTo>
                <a:cubicBezTo>
                  <a:pt x="144" y="276"/>
                  <a:pt x="144" y="276"/>
                  <a:pt x="144" y="276"/>
                </a:cubicBezTo>
                <a:cubicBezTo>
                  <a:pt x="144" y="196"/>
                  <a:pt x="144" y="196"/>
                  <a:pt x="144" y="196"/>
                </a:cubicBezTo>
                <a:cubicBezTo>
                  <a:pt x="144" y="196"/>
                  <a:pt x="144" y="196"/>
                  <a:pt x="144" y="196"/>
                </a:cubicBezTo>
                <a:cubicBezTo>
                  <a:pt x="144" y="195"/>
                  <a:pt x="144" y="193"/>
                  <a:pt x="144" y="192"/>
                </a:cubicBezTo>
                <a:cubicBezTo>
                  <a:pt x="144" y="192"/>
                  <a:pt x="144" y="191"/>
                  <a:pt x="145" y="191"/>
                </a:cubicBezTo>
                <a:cubicBezTo>
                  <a:pt x="145" y="190"/>
                  <a:pt x="145" y="188"/>
                  <a:pt x="145" y="187"/>
                </a:cubicBezTo>
                <a:cubicBezTo>
                  <a:pt x="145" y="187"/>
                  <a:pt x="145" y="187"/>
                  <a:pt x="146" y="186"/>
                </a:cubicBezTo>
                <a:cubicBezTo>
                  <a:pt x="146" y="185"/>
                  <a:pt x="146" y="184"/>
                  <a:pt x="147" y="182"/>
                </a:cubicBezTo>
                <a:cubicBezTo>
                  <a:pt x="147" y="182"/>
                  <a:pt x="147" y="182"/>
                  <a:pt x="147" y="181"/>
                </a:cubicBezTo>
                <a:cubicBezTo>
                  <a:pt x="148" y="180"/>
                  <a:pt x="148" y="178"/>
                  <a:pt x="149" y="177"/>
                </a:cubicBezTo>
                <a:cubicBezTo>
                  <a:pt x="149" y="177"/>
                  <a:pt x="149" y="177"/>
                  <a:pt x="149" y="177"/>
                </a:cubicBezTo>
                <a:cubicBezTo>
                  <a:pt x="151" y="172"/>
                  <a:pt x="154" y="167"/>
                  <a:pt x="157" y="163"/>
                </a:cubicBezTo>
                <a:cubicBezTo>
                  <a:pt x="164" y="154"/>
                  <a:pt x="173" y="147"/>
                  <a:pt x="182" y="144"/>
                </a:cubicBezTo>
                <a:cubicBezTo>
                  <a:pt x="195" y="154"/>
                  <a:pt x="212" y="160"/>
                  <a:pt x="231" y="160"/>
                </a:cubicBezTo>
                <a:cubicBezTo>
                  <a:pt x="250" y="160"/>
                  <a:pt x="267" y="154"/>
                  <a:pt x="280" y="143"/>
                </a:cubicBezTo>
                <a:cubicBezTo>
                  <a:pt x="289" y="147"/>
                  <a:pt x="298" y="154"/>
                  <a:pt x="305" y="163"/>
                </a:cubicBezTo>
                <a:cubicBezTo>
                  <a:pt x="308" y="167"/>
                  <a:pt x="311" y="172"/>
                  <a:pt x="313" y="176"/>
                </a:cubicBezTo>
                <a:cubicBezTo>
                  <a:pt x="314" y="178"/>
                  <a:pt x="314" y="179"/>
                  <a:pt x="315" y="181"/>
                </a:cubicBezTo>
                <a:cubicBezTo>
                  <a:pt x="315" y="181"/>
                  <a:pt x="315" y="182"/>
                  <a:pt x="316" y="182"/>
                </a:cubicBezTo>
                <a:cubicBezTo>
                  <a:pt x="316" y="183"/>
                  <a:pt x="316" y="184"/>
                  <a:pt x="317" y="186"/>
                </a:cubicBezTo>
                <a:cubicBezTo>
                  <a:pt x="317" y="186"/>
                  <a:pt x="317" y="187"/>
                  <a:pt x="317" y="187"/>
                </a:cubicBezTo>
                <a:cubicBezTo>
                  <a:pt x="317" y="188"/>
                  <a:pt x="318" y="190"/>
                  <a:pt x="318" y="191"/>
                </a:cubicBezTo>
                <a:cubicBezTo>
                  <a:pt x="318" y="191"/>
                  <a:pt x="318" y="191"/>
                  <a:pt x="318" y="192"/>
                </a:cubicBezTo>
                <a:cubicBezTo>
                  <a:pt x="318" y="193"/>
                  <a:pt x="318" y="195"/>
                  <a:pt x="318" y="196"/>
                </a:cubicBezTo>
                <a:cubicBezTo>
                  <a:pt x="318" y="276"/>
                  <a:pt x="318" y="276"/>
                  <a:pt x="318" y="276"/>
                </a:cubicBezTo>
                <a:cubicBezTo>
                  <a:pt x="318" y="276"/>
                  <a:pt x="318" y="276"/>
                  <a:pt x="318" y="276"/>
                </a:cubicBezTo>
                <a:lnTo>
                  <a:pt x="318" y="288"/>
                </a:lnTo>
                <a:close/>
                <a:moveTo>
                  <a:pt x="382" y="65"/>
                </a:moveTo>
                <a:cubicBezTo>
                  <a:pt x="389" y="65"/>
                  <a:pt x="396" y="67"/>
                  <a:pt x="402" y="70"/>
                </a:cubicBezTo>
                <a:cubicBezTo>
                  <a:pt x="412" y="74"/>
                  <a:pt x="419" y="82"/>
                  <a:pt x="424" y="92"/>
                </a:cubicBezTo>
                <a:cubicBezTo>
                  <a:pt x="427" y="97"/>
                  <a:pt x="428" y="104"/>
                  <a:pt x="428" y="111"/>
                </a:cubicBezTo>
                <a:cubicBezTo>
                  <a:pt x="428" y="125"/>
                  <a:pt x="422" y="137"/>
                  <a:pt x="412" y="146"/>
                </a:cubicBezTo>
                <a:cubicBezTo>
                  <a:pt x="411" y="146"/>
                  <a:pt x="411" y="147"/>
                  <a:pt x="410" y="147"/>
                </a:cubicBezTo>
                <a:cubicBezTo>
                  <a:pt x="410" y="148"/>
                  <a:pt x="409" y="148"/>
                  <a:pt x="409" y="148"/>
                </a:cubicBezTo>
                <a:cubicBezTo>
                  <a:pt x="408" y="149"/>
                  <a:pt x="407" y="149"/>
                  <a:pt x="407" y="150"/>
                </a:cubicBezTo>
                <a:cubicBezTo>
                  <a:pt x="406" y="150"/>
                  <a:pt x="406" y="150"/>
                  <a:pt x="405" y="151"/>
                </a:cubicBezTo>
                <a:cubicBezTo>
                  <a:pt x="405" y="151"/>
                  <a:pt x="404" y="151"/>
                  <a:pt x="403" y="152"/>
                </a:cubicBezTo>
                <a:cubicBezTo>
                  <a:pt x="403" y="152"/>
                  <a:pt x="402" y="152"/>
                  <a:pt x="401" y="153"/>
                </a:cubicBezTo>
                <a:cubicBezTo>
                  <a:pt x="401" y="153"/>
                  <a:pt x="400" y="153"/>
                  <a:pt x="399" y="153"/>
                </a:cubicBezTo>
                <a:cubicBezTo>
                  <a:pt x="399" y="154"/>
                  <a:pt x="398" y="154"/>
                  <a:pt x="397" y="154"/>
                </a:cubicBezTo>
                <a:cubicBezTo>
                  <a:pt x="397" y="154"/>
                  <a:pt x="396" y="155"/>
                  <a:pt x="396" y="155"/>
                </a:cubicBezTo>
                <a:cubicBezTo>
                  <a:pt x="395" y="155"/>
                  <a:pt x="394" y="155"/>
                  <a:pt x="393" y="156"/>
                </a:cubicBezTo>
                <a:cubicBezTo>
                  <a:pt x="392" y="156"/>
                  <a:pt x="392" y="156"/>
                  <a:pt x="391" y="156"/>
                </a:cubicBezTo>
                <a:cubicBezTo>
                  <a:pt x="390" y="156"/>
                  <a:pt x="389" y="156"/>
                  <a:pt x="388" y="156"/>
                </a:cubicBezTo>
                <a:cubicBezTo>
                  <a:pt x="388" y="156"/>
                  <a:pt x="387" y="156"/>
                  <a:pt x="387" y="156"/>
                </a:cubicBezTo>
                <a:cubicBezTo>
                  <a:pt x="385" y="157"/>
                  <a:pt x="384" y="157"/>
                  <a:pt x="382" y="157"/>
                </a:cubicBezTo>
                <a:cubicBezTo>
                  <a:pt x="382" y="157"/>
                  <a:pt x="382" y="157"/>
                  <a:pt x="382" y="157"/>
                </a:cubicBezTo>
                <a:cubicBezTo>
                  <a:pt x="381" y="157"/>
                  <a:pt x="379" y="157"/>
                  <a:pt x="378" y="156"/>
                </a:cubicBezTo>
                <a:cubicBezTo>
                  <a:pt x="378" y="156"/>
                  <a:pt x="377" y="156"/>
                  <a:pt x="377" y="156"/>
                </a:cubicBezTo>
                <a:cubicBezTo>
                  <a:pt x="376" y="156"/>
                  <a:pt x="375" y="156"/>
                  <a:pt x="374" y="156"/>
                </a:cubicBezTo>
                <a:cubicBezTo>
                  <a:pt x="373" y="156"/>
                  <a:pt x="373" y="156"/>
                  <a:pt x="372" y="155"/>
                </a:cubicBezTo>
                <a:cubicBezTo>
                  <a:pt x="371" y="155"/>
                  <a:pt x="370" y="155"/>
                  <a:pt x="369" y="155"/>
                </a:cubicBezTo>
                <a:cubicBezTo>
                  <a:pt x="369" y="155"/>
                  <a:pt x="368" y="154"/>
                  <a:pt x="368" y="154"/>
                </a:cubicBezTo>
                <a:cubicBezTo>
                  <a:pt x="367" y="154"/>
                  <a:pt x="366" y="154"/>
                  <a:pt x="365" y="153"/>
                </a:cubicBezTo>
                <a:cubicBezTo>
                  <a:pt x="365" y="153"/>
                  <a:pt x="364" y="153"/>
                  <a:pt x="363" y="153"/>
                </a:cubicBezTo>
                <a:cubicBezTo>
                  <a:pt x="363" y="152"/>
                  <a:pt x="362" y="152"/>
                  <a:pt x="362" y="152"/>
                </a:cubicBezTo>
                <a:cubicBezTo>
                  <a:pt x="361" y="151"/>
                  <a:pt x="360" y="151"/>
                  <a:pt x="360" y="151"/>
                </a:cubicBezTo>
                <a:cubicBezTo>
                  <a:pt x="359" y="150"/>
                  <a:pt x="359" y="150"/>
                  <a:pt x="358" y="150"/>
                </a:cubicBezTo>
                <a:cubicBezTo>
                  <a:pt x="357" y="149"/>
                  <a:pt x="357" y="149"/>
                  <a:pt x="356" y="148"/>
                </a:cubicBezTo>
                <a:cubicBezTo>
                  <a:pt x="356" y="148"/>
                  <a:pt x="355" y="148"/>
                  <a:pt x="355" y="148"/>
                </a:cubicBezTo>
                <a:cubicBezTo>
                  <a:pt x="354" y="147"/>
                  <a:pt x="353" y="146"/>
                  <a:pt x="353" y="146"/>
                </a:cubicBezTo>
                <a:cubicBezTo>
                  <a:pt x="343" y="137"/>
                  <a:pt x="337" y="125"/>
                  <a:pt x="337" y="111"/>
                </a:cubicBezTo>
                <a:cubicBezTo>
                  <a:pt x="337" y="86"/>
                  <a:pt x="357" y="65"/>
                  <a:pt x="382" y="65"/>
                </a:cubicBezTo>
                <a:close/>
                <a:moveTo>
                  <a:pt x="445" y="266"/>
                </a:moveTo>
                <a:cubicBezTo>
                  <a:pt x="445" y="267"/>
                  <a:pt x="445" y="268"/>
                  <a:pt x="445" y="268"/>
                </a:cubicBezTo>
                <a:cubicBezTo>
                  <a:pt x="444" y="268"/>
                  <a:pt x="444" y="268"/>
                  <a:pt x="444" y="268"/>
                </a:cubicBezTo>
                <a:cubicBezTo>
                  <a:pt x="434" y="268"/>
                  <a:pt x="434" y="268"/>
                  <a:pt x="434" y="268"/>
                </a:cubicBezTo>
                <a:cubicBezTo>
                  <a:pt x="434" y="206"/>
                  <a:pt x="434" y="206"/>
                  <a:pt x="434" y="206"/>
                </a:cubicBezTo>
                <a:cubicBezTo>
                  <a:pt x="434" y="202"/>
                  <a:pt x="431" y="198"/>
                  <a:pt x="426" y="198"/>
                </a:cubicBezTo>
                <a:cubicBezTo>
                  <a:pt x="422" y="198"/>
                  <a:pt x="418" y="202"/>
                  <a:pt x="418" y="206"/>
                </a:cubicBezTo>
                <a:cubicBezTo>
                  <a:pt x="418" y="268"/>
                  <a:pt x="418" y="268"/>
                  <a:pt x="418" y="268"/>
                </a:cubicBezTo>
                <a:cubicBezTo>
                  <a:pt x="334" y="268"/>
                  <a:pt x="334" y="268"/>
                  <a:pt x="334" y="268"/>
                </a:cubicBezTo>
                <a:cubicBezTo>
                  <a:pt x="334" y="264"/>
                  <a:pt x="334" y="264"/>
                  <a:pt x="334" y="264"/>
                </a:cubicBezTo>
                <a:cubicBezTo>
                  <a:pt x="334" y="196"/>
                  <a:pt x="334" y="196"/>
                  <a:pt x="334" y="196"/>
                </a:cubicBezTo>
                <a:cubicBezTo>
                  <a:pt x="334" y="196"/>
                  <a:pt x="334" y="196"/>
                  <a:pt x="334" y="196"/>
                </a:cubicBezTo>
                <a:cubicBezTo>
                  <a:pt x="334" y="194"/>
                  <a:pt x="334" y="193"/>
                  <a:pt x="334" y="191"/>
                </a:cubicBezTo>
                <a:cubicBezTo>
                  <a:pt x="334" y="190"/>
                  <a:pt x="334" y="189"/>
                  <a:pt x="333" y="188"/>
                </a:cubicBezTo>
                <a:cubicBezTo>
                  <a:pt x="333" y="187"/>
                  <a:pt x="333" y="186"/>
                  <a:pt x="333" y="185"/>
                </a:cubicBezTo>
                <a:cubicBezTo>
                  <a:pt x="333" y="184"/>
                  <a:pt x="333" y="183"/>
                  <a:pt x="332" y="183"/>
                </a:cubicBezTo>
                <a:cubicBezTo>
                  <a:pt x="332" y="182"/>
                  <a:pt x="332" y="180"/>
                  <a:pt x="331" y="179"/>
                </a:cubicBezTo>
                <a:cubicBezTo>
                  <a:pt x="331" y="179"/>
                  <a:pt x="331" y="178"/>
                  <a:pt x="331" y="178"/>
                </a:cubicBezTo>
                <a:cubicBezTo>
                  <a:pt x="330" y="176"/>
                  <a:pt x="330" y="175"/>
                  <a:pt x="329" y="174"/>
                </a:cubicBezTo>
                <a:cubicBezTo>
                  <a:pt x="329" y="174"/>
                  <a:pt x="329" y="173"/>
                  <a:pt x="329" y="173"/>
                </a:cubicBezTo>
                <a:cubicBezTo>
                  <a:pt x="334" y="168"/>
                  <a:pt x="340" y="163"/>
                  <a:pt x="346" y="160"/>
                </a:cubicBezTo>
                <a:cubicBezTo>
                  <a:pt x="346" y="161"/>
                  <a:pt x="346" y="161"/>
                  <a:pt x="346" y="161"/>
                </a:cubicBezTo>
                <a:cubicBezTo>
                  <a:pt x="347" y="162"/>
                  <a:pt x="348" y="162"/>
                  <a:pt x="349" y="163"/>
                </a:cubicBezTo>
                <a:cubicBezTo>
                  <a:pt x="350" y="163"/>
                  <a:pt x="350" y="164"/>
                  <a:pt x="351" y="164"/>
                </a:cubicBezTo>
                <a:cubicBezTo>
                  <a:pt x="352" y="164"/>
                  <a:pt x="353" y="165"/>
                  <a:pt x="354" y="166"/>
                </a:cubicBezTo>
                <a:cubicBezTo>
                  <a:pt x="354" y="166"/>
                  <a:pt x="355" y="166"/>
                  <a:pt x="355" y="166"/>
                </a:cubicBezTo>
                <a:cubicBezTo>
                  <a:pt x="357" y="167"/>
                  <a:pt x="359" y="168"/>
                  <a:pt x="360" y="169"/>
                </a:cubicBezTo>
                <a:cubicBezTo>
                  <a:pt x="361" y="169"/>
                  <a:pt x="362" y="169"/>
                  <a:pt x="363" y="170"/>
                </a:cubicBezTo>
                <a:cubicBezTo>
                  <a:pt x="364" y="170"/>
                  <a:pt x="365" y="170"/>
                  <a:pt x="366" y="170"/>
                </a:cubicBezTo>
                <a:cubicBezTo>
                  <a:pt x="367" y="171"/>
                  <a:pt x="368" y="171"/>
                  <a:pt x="369" y="171"/>
                </a:cubicBezTo>
                <a:cubicBezTo>
                  <a:pt x="370" y="171"/>
                  <a:pt x="370" y="171"/>
                  <a:pt x="371" y="172"/>
                </a:cubicBezTo>
                <a:cubicBezTo>
                  <a:pt x="372" y="172"/>
                  <a:pt x="374" y="172"/>
                  <a:pt x="375" y="172"/>
                </a:cubicBezTo>
                <a:cubicBezTo>
                  <a:pt x="375" y="172"/>
                  <a:pt x="376" y="172"/>
                  <a:pt x="377" y="172"/>
                </a:cubicBezTo>
                <a:cubicBezTo>
                  <a:pt x="379" y="173"/>
                  <a:pt x="380" y="173"/>
                  <a:pt x="382" y="173"/>
                </a:cubicBezTo>
                <a:cubicBezTo>
                  <a:pt x="382" y="173"/>
                  <a:pt x="382" y="173"/>
                  <a:pt x="382" y="173"/>
                </a:cubicBezTo>
                <a:cubicBezTo>
                  <a:pt x="384" y="173"/>
                  <a:pt x="386" y="173"/>
                  <a:pt x="388" y="172"/>
                </a:cubicBezTo>
                <a:cubicBezTo>
                  <a:pt x="389" y="172"/>
                  <a:pt x="389" y="172"/>
                  <a:pt x="390" y="172"/>
                </a:cubicBezTo>
                <a:cubicBezTo>
                  <a:pt x="391" y="172"/>
                  <a:pt x="393" y="172"/>
                  <a:pt x="394" y="172"/>
                </a:cubicBezTo>
                <a:cubicBezTo>
                  <a:pt x="395" y="171"/>
                  <a:pt x="395" y="171"/>
                  <a:pt x="396" y="171"/>
                </a:cubicBezTo>
                <a:cubicBezTo>
                  <a:pt x="397" y="171"/>
                  <a:pt x="398" y="171"/>
                  <a:pt x="399" y="170"/>
                </a:cubicBezTo>
                <a:cubicBezTo>
                  <a:pt x="400" y="170"/>
                  <a:pt x="401" y="170"/>
                  <a:pt x="402" y="170"/>
                </a:cubicBezTo>
                <a:cubicBezTo>
                  <a:pt x="402" y="169"/>
                  <a:pt x="403" y="169"/>
                  <a:pt x="404" y="169"/>
                </a:cubicBezTo>
                <a:cubicBezTo>
                  <a:pt x="408" y="167"/>
                  <a:pt x="411" y="166"/>
                  <a:pt x="414" y="164"/>
                </a:cubicBezTo>
                <a:cubicBezTo>
                  <a:pt x="415" y="163"/>
                  <a:pt x="415" y="163"/>
                  <a:pt x="416" y="163"/>
                </a:cubicBezTo>
                <a:cubicBezTo>
                  <a:pt x="417" y="162"/>
                  <a:pt x="418" y="162"/>
                  <a:pt x="419" y="161"/>
                </a:cubicBezTo>
                <a:cubicBezTo>
                  <a:pt x="419" y="161"/>
                  <a:pt x="419" y="161"/>
                  <a:pt x="419" y="160"/>
                </a:cubicBezTo>
                <a:cubicBezTo>
                  <a:pt x="425" y="163"/>
                  <a:pt x="431" y="168"/>
                  <a:pt x="436" y="174"/>
                </a:cubicBezTo>
                <a:cubicBezTo>
                  <a:pt x="442" y="182"/>
                  <a:pt x="445" y="191"/>
                  <a:pt x="445" y="198"/>
                </a:cubicBezTo>
                <a:lnTo>
                  <a:pt x="445" y="2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10" name="Picture 5" descr="White Logotype"/>
          <p:cNvPicPr>
            <a:picLocks noChangeAspect="1" noChangeArrowheads="1"/>
          </p:cNvPicPr>
          <p:nvPr/>
        </p:nvPicPr>
        <p:blipFill rotWithShape="1">
          <a:blip r:embed="rId4"/>
          <a:srcRect b="22453"/>
          <a:stretch/>
        </p:blipFill>
        <p:spPr bwMode="auto">
          <a:xfrm>
            <a:off x="6632575" y="3503613"/>
            <a:ext cx="457200" cy="309562"/>
          </a:xfrm>
          <a:prstGeom prst="rect">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pic>
        <p:nvPicPr>
          <p:cNvPr id="11" name="Picture 5" descr="White Logotype"/>
          <p:cNvPicPr>
            <a:picLocks noChangeAspect="1" noChangeArrowheads="1"/>
          </p:cNvPicPr>
          <p:nvPr/>
        </p:nvPicPr>
        <p:blipFill rotWithShape="1">
          <a:blip r:embed="rId4"/>
          <a:srcRect b="22453"/>
          <a:stretch/>
        </p:blipFill>
        <p:spPr bwMode="auto">
          <a:xfrm>
            <a:off x="5986463" y="3495675"/>
            <a:ext cx="274637" cy="185738"/>
          </a:xfrm>
          <a:prstGeom prst="rect">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pic>
        <p:nvPicPr>
          <p:cNvPr id="12" name="Picture 5" descr="White Logotype"/>
          <p:cNvPicPr>
            <a:picLocks noChangeAspect="1" noChangeArrowheads="1"/>
          </p:cNvPicPr>
          <p:nvPr/>
        </p:nvPicPr>
        <p:blipFill rotWithShape="1">
          <a:blip r:embed="rId4"/>
          <a:srcRect b="22453"/>
          <a:stretch/>
        </p:blipFill>
        <p:spPr bwMode="auto">
          <a:xfrm>
            <a:off x="7439025" y="3495675"/>
            <a:ext cx="273050" cy="185738"/>
          </a:xfrm>
          <a:prstGeom prst="rect">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Tree>
    <p:extLst>
      <p:ext uri="{BB962C8B-B14F-4D97-AF65-F5344CB8AC3E}">
        <p14:creationId xmlns:p14="http://schemas.microsoft.com/office/powerpoint/2010/main" val="58039849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Logo_ChapterSlide_Normal"/>
          <p:cNvPicPr>
            <a:picLocks/>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04023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Title 2"/>
          <p:cNvSpPr>
            <a:spLocks noGrp="1"/>
          </p:cNvSpPr>
          <p:nvPr>
            <p:ph type="title"/>
          </p:nvPr>
        </p:nvSpPr>
        <p:spPr>
          <a:xfrm>
            <a:off x="393700" y="239713"/>
            <a:ext cx="8129813" cy="1085371"/>
          </a:xfrm>
        </p:spPr>
        <p:txBody>
          <a:bodyPr/>
          <a:lstStyle/>
          <a:p>
            <a:r>
              <a:rPr lang="en-US" sz="4000" dirty="0" smtClean="0">
                <a:solidFill>
                  <a:srgbClr val="00285F"/>
                </a:solidFill>
                <a:latin typeface="Ericsson Capital TT" pitchFamily="2" charset="0"/>
              </a:rPr>
              <a:t>Ericsson Acquisition is </a:t>
            </a:r>
            <a:br>
              <a:rPr lang="en-US" sz="4000" dirty="0" smtClean="0">
                <a:solidFill>
                  <a:srgbClr val="00285F"/>
                </a:solidFill>
                <a:latin typeface="Ericsson Capital TT" pitchFamily="2" charset="0"/>
              </a:rPr>
            </a:br>
            <a:r>
              <a:rPr lang="en-US" sz="4000" dirty="0" smtClean="0">
                <a:solidFill>
                  <a:srgbClr val="00285F"/>
                </a:solidFill>
                <a:latin typeface="Ericsson Capital TT" pitchFamily="2" charset="0"/>
              </a:rPr>
              <a:t>Driving Product Growth</a:t>
            </a:r>
          </a:p>
        </p:txBody>
      </p:sp>
      <p:graphicFrame>
        <p:nvGraphicFramePr>
          <p:cNvPr id="3" name="Object 2"/>
          <p:cNvGraphicFramePr>
            <a:graphicFrameLocks noGrp="1"/>
          </p:cNvGraphicFramePr>
          <p:nvPr>
            <p:extLst>
              <p:ext uri="{D42A27DB-BD31-4B8C-83A1-F6EECF244321}">
                <p14:modId xmlns:p14="http://schemas.microsoft.com/office/powerpoint/2010/main" val="2225132848"/>
              </p:ext>
            </p:extLst>
          </p:nvPr>
        </p:nvGraphicFramePr>
        <p:xfrm>
          <a:off x="201613" y="1712913"/>
          <a:ext cx="8704262" cy="4351337"/>
        </p:xfrm>
        <a:graphic>
          <a:graphicData uri="http://schemas.openxmlformats.org/presentationml/2006/ole">
            <mc:AlternateContent xmlns:mc="http://schemas.openxmlformats.org/markup-compatibility/2006">
              <mc:Choice xmlns:v="urn:schemas-microsoft-com:vml" Requires="v">
                <p:oleObj spid="_x0000_s37908" name="Worksheet" r:id="rId4" imgW="8702066" imgH="4351030" progId="Excel.Sheet.8">
                  <p:embed/>
                </p:oleObj>
              </mc:Choice>
              <mc:Fallback>
                <p:oleObj name="Worksheet" r:id="rId4" imgW="8702066" imgH="4351030" progId="Excel.Sheet.8">
                  <p:embed/>
                  <p:pic>
                    <p:nvPicPr>
                      <p:cNvPr id="0" name=""/>
                      <p:cNvPicPr>
                        <a:picLocks noGrp="1" noChangeArrowheads="1"/>
                      </p:cNvPicPr>
                      <p:nvPr/>
                    </p:nvPicPr>
                    <p:blipFill>
                      <a:blip r:embed="rId5"/>
                      <a:srcRect/>
                      <a:stretch>
                        <a:fillRect/>
                      </a:stretch>
                    </p:blipFill>
                    <p:spPr bwMode="auto">
                      <a:xfrm>
                        <a:off x="201613" y="1712913"/>
                        <a:ext cx="8704262" cy="4351337"/>
                      </a:xfrm>
                      <a:prstGeom prst="rect">
                        <a:avLst/>
                      </a:prstGeom>
                      <a:noFill/>
                      <a:ln>
                        <a:noFill/>
                      </a:ln>
                      <a:extLst/>
                    </p:spPr>
                  </p:pic>
                </p:oleObj>
              </mc:Fallback>
            </mc:AlternateContent>
          </a:graphicData>
        </a:graphic>
      </p:graphicFrame>
      <p:sp>
        <p:nvSpPr>
          <p:cNvPr id="2" name="TextBox 1"/>
          <p:cNvSpPr txBox="1"/>
          <p:nvPr/>
        </p:nvSpPr>
        <p:spPr>
          <a:xfrm>
            <a:off x="2297313" y="1963954"/>
            <a:ext cx="4587474" cy="400110"/>
          </a:xfrm>
          <a:prstGeom prst="rect">
            <a:avLst/>
          </a:prstGeom>
          <a:noFill/>
        </p:spPr>
        <p:txBody>
          <a:bodyPr wrap="none" rtlCol="0">
            <a:spAutoFit/>
          </a:bodyPr>
          <a:lstStyle/>
          <a:p>
            <a:pPr algn="l"/>
            <a:r>
              <a:rPr lang="en-US" dirty="0" smtClean="0">
                <a:solidFill>
                  <a:srgbClr val="00285F"/>
                </a:solidFill>
              </a:rPr>
              <a:t>Customer Deployments Added by Year</a:t>
            </a:r>
            <a:endParaRPr lang="en-US" dirty="0">
              <a:solidFill>
                <a:srgbClr val="00285F"/>
              </a:solidFill>
            </a:endParaRPr>
          </a:p>
        </p:txBody>
      </p:sp>
      <p:sp>
        <p:nvSpPr>
          <p:cNvPr id="6" name="Rectangle 5"/>
          <p:cNvSpPr/>
          <p:nvPr/>
        </p:nvSpPr>
        <p:spPr bwMode="auto">
          <a:xfrm>
            <a:off x="276224" y="1762125"/>
            <a:ext cx="8553451" cy="4219575"/>
          </a:xfrm>
          <a:prstGeom prst="rect">
            <a:avLst/>
          </a:prstGeom>
          <a:noFill/>
          <a:ln w="2540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4" name="Rounded Rectangle 3"/>
          <p:cNvSpPr/>
          <p:nvPr/>
        </p:nvSpPr>
        <p:spPr bwMode="auto">
          <a:xfrm>
            <a:off x="571500" y="1712913"/>
            <a:ext cx="8039100" cy="4351337"/>
          </a:xfrm>
          <a:prstGeom prst="roundRect">
            <a:avLst>
              <a:gd name="adj" fmla="val 3971"/>
            </a:avLst>
          </a:prstGeom>
          <a:noFill/>
          <a:ln w="38100" cap="flat" cmpd="sng" algn="ctr">
            <a:solidFill>
              <a:srgbClr val="00285F"/>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cxnSp>
        <p:nvCxnSpPr>
          <p:cNvPr id="7" name="Straight Connector 6"/>
          <p:cNvCxnSpPr/>
          <p:nvPr/>
        </p:nvCxnSpPr>
        <p:spPr bwMode="auto">
          <a:xfrm flipV="1">
            <a:off x="6550323" y="2952751"/>
            <a:ext cx="0" cy="2219324"/>
          </a:xfrm>
          <a:prstGeom prst="line">
            <a:avLst/>
          </a:prstGeom>
          <a:solidFill>
            <a:schemeClr val="accent1"/>
          </a:solidFill>
          <a:ln w="12700" cap="flat" cmpd="sng" algn="ctr">
            <a:solidFill>
              <a:schemeClr val="tx1"/>
            </a:solidFill>
            <a:prstDash val="lgDashDotDot"/>
            <a:round/>
            <a:headEnd type="none" w="med" len="med"/>
            <a:tailEnd type="none" w="med" len="med"/>
          </a:ln>
          <a:effectLst/>
        </p:spPr>
      </p:cxnSp>
      <p:cxnSp>
        <p:nvCxnSpPr>
          <p:cNvPr id="9" name="Straight Arrow Connector 8"/>
          <p:cNvCxnSpPr/>
          <p:nvPr/>
        </p:nvCxnSpPr>
        <p:spPr bwMode="auto">
          <a:xfrm>
            <a:off x="942975" y="3248025"/>
            <a:ext cx="5600700" cy="0"/>
          </a:xfrm>
          <a:prstGeom prst="straightConnector1">
            <a:avLst/>
          </a:prstGeom>
          <a:solidFill>
            <a:schemeClr val="accent1"/>
          </a:solidFill>
          <a:ln w="12700" cap="flat" cmpd="sng" algn="ctr">
            <a:solidFill>
              <a:schemeClr val="tx1"/>
            </a:solidFill>
            <a:prstDash val="solid"/>
            <a:round/>
            <a:headEnd type="arrow" w="med" len="med"/>
            <a:tailEnd type="arrow" w="med" len="med"/>
          </a:ln>
          <a:effectLst/>
        </p:spPr>
      </p:cxnSp>
      <p:cxnSp>
        <p:nvCxnSpPr>
          <p:cNvPr id="11" name="Straight Arrow Connector 10"/>
          <p:cNvCxnSpPr/>
          <p:nvPr/>
        </p:nvCxnSpPr>
        <p:spPr bwMode="auto">
          <a:xfrm flipH="1">
            <a:off x="6556971" y="3248025"/>
            <a:ext cx="1672629" cy="0"/>
          </a:xfrm>
          <a:prstGeom prst="straightConnector1">
            <a:avLst/>
          </a:prstGeom>
          <a:solidFill>
            <a:schemeClr val="accent1"/>
          </a:solidFill>
          <a:ln w="12700" cap="flat" cmpd="sng" algn="ctr">
            <a:solidFill>
              <a:schemeClr val="tx1"/>
            </a:solidFill>
            <a:prstDash val="solid"/>
            <a:round/>
            <a:headEnd type="arrow" w="med" len="med"/>
            <a:tailEnd type="arrow" w="med" len="med"/>
          </a:ln>
          <a:effectLst/>
        </p:spPr>
      </p:cxnSp>
      <p:sp>
        <p:nvSpPr>
          <p:cNvPr id="10" name="Rectangle 9"/>
          <p:cNvSpPr/>
          <p:nvPr/>
        </p:nvSpPr>
        <p:spPr>
          <a:xfrm>
            <a:off x="3183716" y="2952750"/>
            <a:ext cx="1119217" cy="261610"/>
          </a:xfrm>
          <a:prstGeom prst="rect">
            <a:avLst/>
          </a:prstGeom>
        </p:spPr>
        <p:txBody>
          <a:bodyPr wrap="none">
            <a:spAutoFit/>
          </a:bodyPr>
          <a:lstStyle/>
          <a:p>
            <a:r>
              <a:rPr lang="en-US" sz="1100" b="1" dirty="0" smtClean="0">
                <a:solidFill>
                  <a:srgbClr val="00285F"/>
                </a:solidFill>
              </a:rPr>
              <a:t>ConceptWave</a:t>
            </a:r>
            <a:endParaRPr lang="en-US" sz="1100" b="1" dirty="0"/>
          </a:p>
        </p:txBody>
      </p:sp>
      <p:sp>
        <p:nvSpPr>
          <p:cNvPr id="13" name="Rectangle 12"/>
          <p:cNvSpPr/>
          <p:nvPr/>
        </p:nvSpPr>
        <p:spPr>
          <a:xfrm>
            <a:off x="6859436" y="2952750"/>
            <a:ext cx="780984" cy="261610"/>
          </a:xfrm>
          <a:prstGeom prst="rect">
            <a:avLst/>
          </a:prstGeom>
        </p:spPr>
        <p:txBody>
          <a:bodyPr wrap="none">
            <a:spAutoFit/>
          </a:bodyPr>
          <a:lstStyle/>
          <a:p>
            <a:r>
              <a:rPr lang="en-US" sz="1100" b="1" dirty="0" smtClean="0">
                <a:solidFill>
                  <a:srgbClr val="00285F"/>
                </a:solidFill>
              </a:rPr>
              <a:t>Ericsson</a:t>
            </a:r>
            <a:endParaRPr lang="en-US" sz="1100" b="1" dirty="0"/>
          </a:p>
        </p:txBody>
      </p:sp>
      <p:sp>
        <p:nvSpPr>
          <p:cNvPr id="5" name="Right Arrow 4"/>
          <p:cNvSpPr/>
          <p:nvPr/>
        </p:nvSpPr>
        <p:spPr bwMode="auto">
          <a:xfrm>
            <a:off x="8523513" y="6429375"/>
            <a:ext cx="504825" cy="352425"/>
          </a:xfrm>
          <a:prstGeom prst="rightArrow">
            <a:avLst/>
          </a:prstGeom>
          <a:solidFill>
            <a:srgbClr val="B1B3B4"/>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kumimoji="0" lang="en-US" sz="1100" b="1" i="0" u="none" strike="noStrike" cap="none" normalizeH="0" baseline="0" dirty="0" smtClean="0">
                <a:ln>
                  <a:noFill/>
                </a:ln>
                <a:solidFill>
                  <a:schemeClr val="tx1"/>
                </a:solidFill>
                <a:effectLst/>
                <a:latin typeface="Arial" charset="0"/>
              </a:rPr>
              <a:t>P1</a:t>
            </a:r>
          </a:p>
        </p:txBody>
      </p:sp>
    </p:spTree>
    <p:extLst>
      <p:ext uri="{BB962C8B-B14F-4D97-AF65-F5344CB8AC3E}">
        <p14:creationId xmlns:p14="http://schemas.microsoft.com/office/powerpoint/2010/main" val="3692747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3" name="AutoShape 9" descr="bpct-blend2"/>
          <p:cNvSpPr>
            <a:spLocks noChangeArrowheads="1"/>
          </p:cNvSpPr>
          <p:nvPr/>
        </p:nvSpPr>
        <p:spPr bwMode="auto">
          <a:xfrm>
            <a:off x="392311" y="5574527"/>
            <a:ext cx="8359379" cy="717416"/>
          </a:xfrm>
          <a:prstGeom prst="roundRect">
            <a:avLst>
              <a:gd name="adj" fmla="val 9366"/>
            </a:avLst>
          </a:pr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lIns="82800" rIns="0" anchor="ctr"/>
          <a:lstStyle/>
          <a:p>
            <a:pPr algn="ctr">
              <a:spcBef>
                <a:spcPts val="300"/>
              </a:spcBef>
            </a:pPr>
            <a:r>
              <a:rPr lang="en-AU">
                <a:solidFill>
                  <a:schemeClr val="bg1"/>
                </a:solidFill>
              </a:rPr>
              <a:t>COMMON CHARACTERISTICS</a:t>
            </a:r>
          </a:p>
        </p:txBody>
      </p:sp>
      <p:sp>
        <p:nvSpPr>
          <p:cNvPr id="7174" name="AutoShape 9" descr="bpct-blend2"/>
          <p:cNvSpPr>
            <a:spLocks noChangeArrowheads="1"/>
          </p:cNvSpPr>
          <p:nvPr/>
        </p:nvSpPr>
        <p:spPr bwMode="auto">
          <a:xfrm>
            <a:off x="392311" y="4530700"/>
            <a:ext cx="8359379" cy="719880"/>
          </a:xfrm>
          <a:prstGeom prst="roundRect">
            <a:avLst>
              <a:gd name="adj" fmla="val 9366"/>
            </a:avLst>
          </a:pr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lIns="82800" rIns="0" anchor="ctr"/>
          <a:lstStyle/>
          <a:p>
            <a:pPr algn="ctr">
              <a:spcBef>
                <a:spcPts val="300"/>
              </a:spcBef>
            </a:pPr>
            <a:endParaRPr lang="en-AU">
              <a:solidFill>
                <a:schemeClr val="bg1"/>
              </a:solidFill>
            </a:endParaRPr>
          </a:p>
          <a:p>
            <a:pPr algn="ctr">
              <a:spcBef>
                <a:spcPts val="300"/>
              </a:spcBef>
            </a:pPr>
            <a:r>
              <a:rPr lang="en-AU">
                <a:solidFill>
                  <a:schemeClr val="bg1"/>
                </a:solidFill>
              </a:rPr>
              <a:t>INDUSTRIALIZED SOFTWARE PLATFORMS</a:t>
            </a:r>
          </a:p>
          <a:p>
            <a:pPr algn="ctr">
              <a:spcBef>
                <a:spcPts val="300"/>
              </a:spcBef>
            </a:pPr>
            <a:endParaRPr lang="en-AU" sz="1600">
              <a:solidFill>
                <a:schemeClr val="bg1"/>
              </a:solidFill>
            </a:endParaRPr>
          </a:p>
        </p:txBody>
      </p:sp>
      <p:sp>
        <p:nvSpPr>
          <p:cNvPr id="7175" name="Freeform 24"/>
          <p:cNvSpPr>
            <a:spLocks noChangeAspect="1"/>
          </p:cNvSpPr>
          <p:nvPr/>
        </p:nvSpPr>
        <p:spPr bwMode="auto">
          <a:xfrm rot="16200000">
            <a:off x="4445035" y="4795213"/>
            <a:ext cx="253930" cy="1234679"/>
          </a:xfrm>
          <a:custGeom>
            <a:avLst/>
            <a:gdLst>
              <a:gd name="T0" fmla="*/ 2147483647 w 161"/>
              <a:gd name="T1" fmla="*/ 2147483647 h 439"/>
              <a:gd name="T2" fmla="*/ 2147483647 w 161"/>
              <a:gd name="T3" fmla="*/ 2147483647 h 439"/>
              <a:gd name="T4" fmla="*/ 2147483647 w 161"/>
              <a:gd name="T5" fmla="*/ 0 h 439"/>
              <a:gd name="T6" fmla="*/ 2147483647 w 161"/>
              <a:gd name="T7" fmla="*/ 0 h 439"/>
              <a:gd name="T8" fmla="*/ 0 w 161"/>
              <a:gd name="T9" fmla="*/ 2147483647 h 439"/>
              <a:gd name="T10" fmla="*/ 0 w 161"/>
              <a:gd name="T11" fmla="*/ 2147483647 h 439"/>
              <a:gd name="T12" fmla="*/ 2147483647 w 161"/>
              <a:gd name="T13" fmla="*/ 2147483647 h 439"/>
              <a:gd name="T14" fmla="*/ 2147483647 w 161"/>
              <a:gd name="T15" fmla="*/ 2147483647 h 439"/>
              <a:gd name="T16" fmla="*/ 2147483647 w 161"/>
              <a:gd name="T17" fmla="*/ 2147483647 h 439"/>
              <a:gd name="T18" fmla="*/ 2147483647 w 161"/>
              <a:gd name="T19" fmla="*/ 2147483647 h 439"/>
              <a:gd name="T20" fmla="*/ 2147483647 w 161"/>
              <a:gd name="T21" fmla="*/ 2147483647 h 4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1"/>
              <a:gd name="T34" fmla="*/ 0 h 439"/>
              <a:gd name="T35" fmla="*/ 161 w 161"/>
              <a:gd name="T36" fmla="*/ 439 h 43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1" h="439">
                <a:moveTo>
                  <a:pt x="149" y="197"/>
                </a:moveTo>
                <a:cubicBezTo>
                  <a:pt x="65" y="21"/>
                  <a:pt x="65" y="21"/>
                  <a:pt x="65" y="21"/>
                </a:cubicBezTo>
                <a:cubicBezTo>
                  <a:pt x="65" y="21"/>
                  <a:pt x="55" y="0"/>
                  <a:pt x="38" y="0"/>
                </a:cubicBezTo>
                <a:cubicBezTo>
                  <a:pt x="21" y="0"/>
                  <a:pt x="21" y="0"/>
                  <a:pt x="21" y="0"/>
                </a:cubicBezTo>
                <a:cubicBezTo>
                  <a:pt x="9" y="0"/>
                  <a:pt x="0" y="9"/>
                  <a:pt x="0" y="21"/>
                </a:cubicBezTo>
                <a:cubicBezTo>
                  <a:pt x="0" y="418"/>
                  <a:pt x="0" y="418"/>
                  <a:pt x="0" y="418"/>
                </a:cubicBezTo>
                <a:cubicBezTo>
                  <a:pt x="0" y="430"/>
                  <a:pt x="9" y="439"/>
                  <a:pt x="21" y="439"/>
                </a:cubicBezTo>
                <a:cubicBezTo>
                  <a:pt x="38" y="439"/>
                  <a:pt x="38" y="439"/>
                  <a:pt x="38" y="439"/>
                </a:cubicBezTo>
                <a:cubicBezTo>
                  <a:pt x="53" y="439"/>
                  <a:pt x="65" y="418"/>
                  <a:pt x="65" y="418"/>
                </a:cubicBezTo>
                <a:cubicBezTo>
                  <a:pt x="65" y="418"/>
                  <a:pt x="138" y="266"/>
                  <a:pt x="149" y="242"/>
                </a:cubicBezTo>
                <a:cubicBezTo>
                  <a:pt x="161" y="218"/>
                  <a:pt x="149" y="197"/>
                  <a:pt x="149" y="197"/>
                </a:cubicBezTo>
                <a:close/>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7176" name="AutoShape 9" descr="bpct-blend2"/>
          <p:cNvSpPr>
            <a:spLocks noChangeArrowheads="1"/>
          </p:cNvSpPr>
          <p:nvPr/>
        </p:nvSpPr>
        <p:spPr bwMode="auto">
          <a:xfrm>
            <a:off x="392311" y="3489339"/>
            <a:ext cx="8359379" cy="717414"/>
          </a:xfrm>
          <a:prstGeom prst="roundRect">
            <a:avLst>
              <a:gd name="adj" fmla="val 9366"/>
            </a:avLst>
          </a:pr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lIns="82800" rIns="0" anchor="ctr"/>
          <a:lstStyle/>
          <a:p>
            <a:pPr algn="ctr">
              <a:spcBef>
                <a:spcPts val="300"/>
              </a:spcBef>
            </a:pPr>
            <a:r>
              <a:rPr lang="en-AU">
                <a:solidFill>
                  <a:schemeClr val="bg1"/>
                </a:solidFill>
              </a:rPr>
              <a:t>BUSINESS SOLUTIONS</a:t>
            </a:r>
          </a:p>
        </p:txBody>
      </p:sp>
      <p:sp>
        <p:nvSpPr>
          <p:cNvPr id="7177" name="Freeform 24"/>
          <p:cNvSpPr>
            <a:spLocks noChangeAspect="1"/>
          </p:cNvSpPr>
          <p:nvPr/>
        </p:nvSpPr>
        <p:spPr bwMode="auto">
          <a:xfrm rot="16200000">
            <a:off x="4445035" y="2710026"/>
            <a:ext cx="253930" cy="1234679"/>
          </a:xfrm>
          <a:custGeom>
            <a:avLst/>
            <a:gdLst>
              <a:gd name="T0" fmla="*/ 2147483647 w 161"/>
              <a:gd name="T1" fmla="*/ 2147483647 h 439"/>
              <a:gd name="T2" fmla="*/ 2147483647 w 161"/>
              <a:gd name="T3" fmla="*/ 2147483647 h 439"/>
              <a:gd name="T4" fmla="*/ 2147483647 w 161"/>
              <a:gd name="T5" fmla="*/ 0 h 439"/>
              <a:gd name="T6" fmla="*/ 2147483647 w 161"/>
              <a:gd name="T7" fmla="*/ 0 h 439"/>
              <a:gd name="T8" fmla="*/ 0 w 161"/>
              <a:gd name="T9" fmla="*/ 2147483647 h 439"/>
              <a:gd name="T10" fmla="*/ 0 w 161"/>
              <a:gd name="T11" fmla="*/ 2147483647 h 439"/>
              <a:gd name="T12" fmla="*/ 2147483647 w 161"/>
              <a:gd name="T13" fmla="*/ 2147483647 h 439"/>
              <a:gd name="T14" fmla="*/ 2147483647 w 161"/>
              <a:gd name="T15" fmla="*/ 2147483647 h 439"/>
              <a:gd name="T16" fmla="*/ 2147483647 w 161"/>
              <a:gd name="T17" fmla="*/ 2147483647 h 439"/>
              <a:gd name="T18" fmla="*/ 2147483647 w 161"/>
              <a:gd name="T19" fmla="*/ 2147483647 h 439"/>
              <a:gd name="T20" fmla="*/ 2147483647 w 161"/>
              <a:gd name="T21" fmla="*/ 2147483647 h 4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1"/>
              <a:gd name="T34" fmla="*/ 0 h 439"/>
              <a:gd name="T35" fmla="*/ 161 w 161"/>
              <a:gd name="T36" fmla="*/ 439 h 43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1" h="439">
                <a:moveTo>
                  <a:pt x="149" y="197"/>
                </a:moveTo>
                <a:cubicBezTo>
                  <a:pt x="65" y="21"/>
                  <a:pt x="65" y="21"/>
                  <a:pt x="65" y="21"/>
                </a:cubicBezTo>
                <a:cubicBezTo>
                  <a:pt x="65" y="21"/>
                  <a:pt x="55" y="0"/>
                  <a:pt x="38" y="0"/>
                </a:cubicBezTo>
                <a:cubicBezTo>
                  <a:pt x="21" y="0"/>
                  <a:pt x="21" y="0"/>
                  <a:pt x="21" y="0"/>
                </a:cubicBezTo>
                <a:cubicBezTo>
                  <a:pt x="9" y="0"/>
                  <a:pt x="0" y="9"/>
                  <a:pt x="0" y="21"/>
                </a:cubicBezTo>
                <a:cubicBezTo>
                  <a:pt x="0" y="418"/>
                  <a:pt x="0" y="418"/>
                  <a:pt x="0" y="418"/>
                </a:cubicBezTo>
                <a:cubicBezTo>
                  <a:pt x="0" y="430"/>
                  <a:pt x="9" y="439"/>
                  <a:pt x="21" y="439"/>
                </a:cubicBezTo>
                <a:cubicBezTo>
                  <a:pt x="38" y="439"/>
                  <a:pt x="38" y="439"/>
                  <a:pt x="38" y="439"/>
                </a:cubicBezTo>
                <a:cubicBezTo>
                  <a:pt x="53" y="439"/>
                  <a:pt x="65" y="418"/>
                  <a:pt x="65" y="418"/>
                </a:cubicBezTo>
                <a:cubicBezTo>
                  <a:pt x="65" y="418"/>
                  <a:pt x="138" y="266"/>
                  <a:pt x="149" y="242"/>
                </a:cubicBezTo>
                <a:cubicBezTo>
                  <a:pt x="161" y="218"/>
                  <a:pt x="149" y="197"/>
                  <a:pt x="149" y="197"/>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7178" name="Freeform 24"/>
          <p:cNvSpPr>
            <a:spLocks noChangeAspect="1"/>
          </p:cNvSpPr>
          <p:nvPr/>
        </p:nvSpPr>
        <p:spPr bwMode="auto">
          <a:xfrm rot="16200000">
            <a:off x="4445035" y="3751387"/>
            <a:ext cx="253931" cy="1234679"/>
          </a:xfrm>
          <a:custGeom>
            <a:avLst/>
            <a:gdLst>
              <a:gd name="T0" fmla="*/ 2147483647 w 161"/>
              <a:gd name="T1" fmla="*/ 2147483647 h 439"/>
              <a:gd name="T2" fmla="*/ 2147483647 w 161"/>
              <a:gd name="T3" fmla="*/ 2147483647 h 439"/>
              <a:gd name="T4" fmla="*/ 2147483647 w 161"/>
              <a:gd name="T5" fmla="*/ 0 h 439"/>
              <a:gd name="T6" fmla="*/ 2147483647 w 161"/>
              <a:gd name="T7" fmla="*/ 0 h 439"/>
              <a:gd name="T8" fmla="*/ 0 w 161"/>
              <a:gd name="T9" fmla="*/ 2147483647 h 439"/>
              <a:gd name="T10" fmla="*/ 0 w 161"/>
              <a:gd name="T11" fmla="*/ 2147483647 h 439"/>
              <a:gd name="T12" fmla="*/ 2147483647 w 161"/>
              <a:gd name="T13" fmla="*/ 2147483647 h 439"/>
              <a:gd name="T14" fmla="*/ 2147483647 w 161"/>
              <a:gd name="T15" fmla="*/ 2147483647 h 439"/>
              <a:gd name="T16" fmla="*/ 2147483647 w 161"/>
              <a:gd name="T17" fmla="*/ 2147483647 h 439"/>
              <a:gd name="T18" fmla="*/ 2147483647 w 161"/>
              <a:gd name="T19" fmla="*/ 2147483647 h 439"/>
              <a:gd name="T20" fmla="*/ 2147483647 w 161"/>
              <a:gd name="T21" fmla="*/ 2147483647 h 4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1"/>
              <a:gd name="T34" fmla="*/ 0 h 439"/>
              <a:gd name="T35" fmla="*/ 161 w 161"/>
              <a:gd name="T36" fmla="*/ 439 h 43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1" h="439">
                <a:moveTo>
                  <a:pt x="149" y="197"/>
                </a:moveTo>
                <a:cubicBezTo>
                  <a:pt x="65" y="21"/>
                  <a:pt x="65" y="21"/>
                  <a:pt x="65" y="21"/>
                </a:cubicBezTo>
                <a:cubicBezTo>
                  <a:pt x="65" y="21"/>
                  <a:pt x="55" y="0"/>
                  <a:pt x="38" y="0"/>
                </a:cubicBezTo>
                <a:cubicBezTo>
                  <a:pt x="21" y="0"/>
                  <a:pt x="21" y="0"/>
                  <a:pt x="21" y="0"/>
                </a:cubicBezTo>
                <a:cubicBezTo>
                  <a:pt x="9" y="0"/>
                  <a:pt x="0" y="9"/>
                  <a:pt x="0" y="21"/>
                </a:cubicBezTo>
                <a:cubicBezTo>
                  <a:pt x="0" y="418"/>
                  <a:pt x="0" y="418"/>
                  <a:pt x="0" y="418"/>
                </a:cubicBezTo>
                <a:cubicBezTo>
                  <a:pt x="0" y="430"/>
                  <a:pt x="9" y="439"/>
                  <a:pt x="21" y="439"/>
                </a:cubicBezTo>
                <a:cubicBezTo>
                  <a:pt x="38" y="439"/>
                  <a:pt x="38" y="439"/>
                  <a:pt x="38" y="439"/>
                </a:cubicBezTo>
                <a:cubicBezTo>
                  <a:pt x="53" y="439"/>
                  <a:pt x="65" y="418"/>
                  <a:pt x="65" y="418"/>
                </a:cubicBezTo>
                <a:cubicBezTo>
                  <a:pt x="65" y="418"/>
                  <a:pt x="138" y="266"/>
                  <a:pt x="149" y="242"/>
                </a:cubicBezTo>
                <a:cubicBezTo>
                  <a:pt x="161" y="218"/>
                  <a:pt x="149" y="197"/>
                  <a:pt x="149" y="197"/>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7183" name="Title 6"/>
          <p:cNvSpPr>
            <a:spLocks noGrp="1"/>
          </p:cNvSpPr>
          <p:nvPr>
            <p:ph type="title"/>
          </p:nvPr>
        </p:nvSpPr>
        <p:spPr>
          <a:xfrm>
            <a:off x="394098" y="239713"/>
            <a:ext cx="7493794" cy="1085850"/>
          </a:xfrm>
        </p:spPr>
        <p:txBody>
          <a:bodyPr/>
          <a:lstStyle/>
          <a:p>
            <a:r>
              <a:rPr lang="en-US" smtClean="0">
                <a:latin typeface="Ericsson Capital TT" pitchFamily="2" charset="0"/>
              </a:rPr>
              <a:t>Ericsson portfolio Strategy</a:t>
            </a:r>
          </a:p>
        </p:txBody>
      </p:sp>
      <p:sp>
        <p:nvSpPr>
          <p:cNvPr id="18" name="Freeform 8"/>
          <p:cNvSpPr>
            <a:spLocks noChangeAspect="1"/>
          </p:cNvSpPr>
          <p:nvPr/>
        </p:nvSpPr>
        <p:spPr bwMode="auto">
          <a:xfrm rot="16200000">
            <a:off x="1068782" y="1044631"/>
            <a:ext cx="1518183" cy="2613365"/>
          </a:xfrm>
          <a:custGeom>
            <a:avLst/>
            <a:gdLst>
              <a:gd name="T0" fmla="*/ 2147483647 w 529"/>
              <a:gd name="T1" fmla="*/ 2147483647 h 910"/>
              <a:gd name="T2" fmla="*/ 2147483647 w 529"/>
              <a:gd name="T3" fmla="*/ 2147483647 h 910"/>
              <a:gd name="T4" fmla="*/ 2147483647 w 529"/>
              <a:gd name="T5" fmla="*/ 2147483647 h 910"/>
              <a:gd name="T6" fmla="*/ 2147483647 w 529"/>
              <a:gd name="T7" fmla="*/ 2147483647 h 910"/>
              <a:gd name="T8" fmla="*/ 2147483647 w 529"/>
              <a:gd name="T9" fmla="*/ 2147483647 h 910"/>
              <a:gd name="T10" fmla="*/ 2147483647 w 529"/>
              <a:gd name="T11" fmla="*/ 2147483647 h 910"/>
              <a:gd name="T12" fmla="*/ 2147483647 w 529"/>
              <a:gd name="T13" fmla="*/ 2147483647 h 910"/>
              <a:gd name="T14" fmla="*/ 0 w 529"/>
              <a:gd name="T15" fmla="*/ 2147483647 h 910"/>
              <a:gd name="T16" fmla="*/ 0 w 529"/>
              <a:gd name="T17" fmla="*/ 2147483647 h 910"/>
              <a:gd name="T18" fmla="*/ 2147483647 w 529"/>
              <a:gd name="T19" fmla="*/ 2147483647 h 910"/>
              <a:gd name="T20" fmla="*/ 2147483647 w 529"/>
              <a:gd name="T21" fmla="*/ 2147483647 h 910"/>
              <a:gd name="T22" fmla="*/ 2147483647 w 529"/>
              <a:gd name="T23" fmla="*/ 2147483647 h 910"/>
              <a:gd name="T24" fmla="*/ 2147483647 w 529"/>
              <a:gd name="T25" fmla="*/ 2147483647 h 910"/>
              <a:gd name="T26" fmla="*/ 2147483647 w 529"/>
              <a:gd name="T27" fmla="*/ 2147483647 h 9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9"/>
              <a:gd name="T43" fmla="*/ 0 h 910"/>
              <a:gd name="T44" fmla="*/ 529 w 529"/>
              <a:gd name="T45" fmla="*/ 910 h 9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9" h="910">
                <a:moveTo>
                  <a:pt x="526" y="472"/>
                </a:moveTo>
                <a:cubicBezTo>
                  <a:pt x="528" y="462"/>
                  <a:pt x="529" y="462"/>
                  <a:pt x="529" y="455"/>
                </a:cubicBezTo>
                <a:cubicBezTo>
                  <a:pt x="529" y="448"/>
                  <a:pt x="529" y="449"/>
                  <a:pt x="526" y="438"/>
                </a:cubicBezTo>
                <a:cubicBezTo>
                  <a:pt x="521" y="421"/>
                  <a:pt x="425" y="44"/>
                  <a:pt x="418" y="16"/>
                </a:cubicBezTo>
                <a:cubicBezTo>
                  <a:pt x="414" y="0"/>
                  <a:pt x="391" y="6"/>
                  <a:pt x="390" y="26"/>
                </a:cubicBezTo>
                <a:cubicBezTo>
                  <a:pt x="390" y="30"/>
                  <a:pt x="390" y="35"/>
                  <a:pt x="390" y="42"/>
                </a:cubicBezTo>
                <a:cubicBezTo>
                  <a:pt x="14" y="42"/>
                  <a:pt x="14" y="42"/>
                  <a:pt x="14" y="42"/>
                </a:cubicBezTo>
                <a:cubicBezTo>
                  <a:pt x="6" y="42"/>
                  <a:pt x="0" y="48"/>
                  <a:pt x="0" y="56"/>
                </a:cubicBezTo>
                <a:cubicBezTo>
                  <a:pt x="0" y="854"/>
                  <a:pt x="0" y="854"/>
                  <a:pt x="0" y="854"/>
                </a:cubicBezTo>
                <a:cubicBezTo>
                  <a:pt x="0" y="862"/>
                  <a:pt x="6" y="868"/>
                  <a:pt x="14" y="868"/>
                </a:cubicBezTo>
                <a:cubicBezTo>
                  <a:pt x="390" y="868"/>
                  <a:pt x="390" y="868"/>
                  <a:pt x="390" y="868"/>
                </a:cubicBezTo>
                <a:cubicBezTo>
                  <a:pt x="390" y="875"/>
                  <a:pt x="390" y="881"/>
                  <a:pt x="390" y="885"/>
                </a:cubicBezTo>
                <a:cubicBezTo>
                  <a:pt x="391" y="905"/>
                  <a:pt x="413" y="910"/>
                  <a:pt x="417" y="895"/>
                </a:cubicBezTo>
                <a:cubicBezTo>
                  <a:pt x="425" y="869"/>
                  <a:pt x="522" y="487"/>
                  <a:pt x="526" y="472"/>
                </a:cubicBezTo>
                <a:close/>
              </a:path>
            </a:pathLst>
          </a:custGeom>
          <a:solidFill>
            <a:srgbClr val="F08A00"/>
          </a:solidFill>
          <a:ln w="9525">
            <a:solidFill>
              <a:schemeClr val="bg1"/>
            </a:solidFill>
            <a:round/>
            <a:headEnd/>
            <a:tailEnd/>
          </a:ln>
        </p:spPr>
        <p:txBody>
          <a:bodyPr lIns="91426" tIns="45718" rIns="91426" bIns="45718" anchor="ctr"/>
          <a:lstStyle/>
          <a:p>
            <a:endParaRPr lang="en-US" dirty="0">
              <a:solidFill>
                <a:schemeClr val="bg1"/>
              </a:solidFill>
            </a:endParaRPr>
          </a:p>
        </p:txBody>
      </p:sp>
      <p:sp>
        <p:nvSpPr>
          <p:cNvPr id="19" name="Freeform 8"/>
          <p:cNvSpPr>
            <a:spLocks noChangeAspect="1"/>
          </p:cNvSpPr>
          <p:nvPr/>
        </p:nvSpPr>
        <p:spPr bwMode="auto">
          <a:xfrm rot="16200000">
            <a:off x="3787880" y="1044631"/>
            <a:ext cx="1518183" cy="2613365"/>
          </a:xfrm>
          <a:custGeom>
            <a:avLst/>
            <a:gdLst>
              <a:gd name="T0" fmla="*/ 2147483647 w 529"/>
              <a:gd name="T1" fmla="*/ 2147483647 h 910"/>
              <a:gd name="T2" fmla="*/ 2147483647 w 529"/>
              <a:gd name="T3" fmla="*/ 2147483647 h 910"/>
              <a:gd name="T4" fmla="*/ 2147483647 w 529"/>
              <a:gd name="T5" fmla="*/ 2147483647 h 910"/>
              <a:gd name="T6" fmla="*/ 2147483647 w 529"/>
              <a:gd name="T7" fmla="*/ 2147483647 h 910"/>
              <a:gd name="T8" fmla="*/ 2147483647 w 529"/>
              <a:gd name="T9" fmla="*/ 2147483647 h 910"/>
              <a:gd name="T10" fmla="*/ 2147483647 w 529"/>
              <a:gd name="T11" fmla="*/ 2147483647 h 910"/>
              <a:gd name="T12" fmla="*/ 2147483647 w 529"/>
              <a:gd name="T13" fmla="*/ 2147483647 h 910"/>
              <a:gd name="T14" fmla="*/ 0 w 529"/>
              <a:gd name="T15" fmla="*/ 2147483647 h 910"/>
              <a:gd name="T16" fmla="*/ 0 w 529"/>
              <a:gd name="T17" fmla="*/ 2147483647 h 910"/>
              <a:gd name="T18" fmla="*/ 2147483647 w 529"/>
              <a:gd name="T19" fmla="*/ 2147483647 h 910"/>
              <a:gd name="T20" fmla="*/ 2147483647 w 529"/>
              <a:gd name="T21" fmla="*/ 2147483647 h 910"/>
              <a:gd name="T22" fmla="*/ 2147483647 w 529"/>
              <a:gd name="T23" fmla="*/ 2147483647 h 910"/>
              <a:gd name="T24" fmla="*/ 2147483647 w 529"/>
              <a:gd name="T25" fmla="*/ 2147483647 h 910"/>
              <a:gd name="T26" fmla="*/ 2147483647 w 529"/>
              <a:gd name="T27" fmla="*/ 2147483647 h 9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9"/>
              <a:gd name="T43" fmla="*/ 0 h 910"/>
              <a:gd name="T44" fmla="*/ 529 w 529"/>
              <a:gd name="T45" fmla="*/ 910 h 9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9" h="910">
                <a:moveTo>
                  <a:pt x="526" y="472"/>
                </a:moveTo>
                <a:cubicBezTo>
                  <a:pt x="528" y="462"/>
                  <a:pt x="529" y="462"/>
                  <a:pt x="529" y="455"/>
                </a:cubicBezTo>
                <a:cubicBezTo>
                  <a:pt x="529" y="448"/>
                  <a:pt x="529" y="449"/>
                  <a:pt x="526" y="438"/>
                </a:cubicBezTo>
                <a:cubicBezTo>
                  <a:pt x="521" y="421"/>
                  <a:pt x="425" y="44"/>
                  <a:pt x="418" y="16"/>
                </a:cubicBezTo>
                <a:cubicBezTo>
                  <a:pt x="414" y="0"/>
                  <a:pt x="391" y="6"/>
                  <a:pt x="390" y="26"/>
                </a:cubicBezTo>
                <a:cubicBezTo>
                  <a:pt x="390" y="30"/>
                  <a:pt x="390" y="35"/>
                  <a:pt x="390" y="42"/>
                </a:cubicBezTo>
                <a:cubicBezTo>
                  <a:pt x="14" y="42"/>
                  <a:pt x="14" y="42"/>
                  <a:pt x="14" y="42"/>
                </a:cubicBezTo>
                <a:cubicBezTo>
                  <a:pt x="6" y="42"/>
                  <a:pt x="0" y="48"/>
                  <a:pt x="0" y="56"/>
                </a:cubicBezTo>
                <a:cubicBezTo>
                  <a:pt x="0" y="854"/>
                  <a:pt x="0" y="854"/>
                  <a:pt x="0" y="854"/>
                </a:cubicBezTo>
                <a:cubicBezTo>
                  <a:pt x="0" y="862"/>
                  <a:pt x="6" y="868"/>
                  <a:pt x="14" y="868"/>
                </a:cubicBezTo>
                <a:cubicBezTo>
                  <a:pt x="390" y="868"/>
                  <a:pt x="390" y="868"/>
                  <a:pt x="390" y="868"/>
                </a:cubicBezTo>
                <a:cubicBezTo>
                  <a:pt x="390" y="875"/>
                  <a:pt x="390" y="881"/>
                  <a:pt x="390" y="885"/>
                </a:cubicBezTo>
                <a:cubicBezTo>
                  <a:pt x="391" y="905"/>
                  <a:pt x="413" y="910"/>
                  <a:pt x="417" y="895"/>
                </a:cubicBezTo>
                <a:cubicBezTo>
                  <a:pt x="425" y="869"/>
                  <a:pt x="522" y="487"/>
                  <a:pt x="526" y="472"/>
                </a:cubicBezTo>
                <a:close/>
              </a:path>
            </a:pathLst>
          </a:custGeom>
          <a:solidFill>
            <a:srgbClr val="00A9D4"/>
          </a:solidFill>
          <a:ln w="9525">
            <a:solidFill>
              <a:schemeClr val="bg1"/>
            </a:solidFill>
            <a:round/>
            <a:headEnd/>
            <a:tailEnd/>
          </a:ln>
        </p:spPr>
        <p:txBody>
          <a:bodyPr lIns="91426" tIns="45718" rIns="91426" bIns="45718" anchor="ctr"/>
          <a:lstStyle/>
          <a:p>
            <a:endParaRPr lang="en-US" dirty="0">
              <a:solidFill>
                <a:schemeClr val="bg1"/>
              </a:solidFill>
            </a:endParaRPr>
          </a:p>
        </p:txBody>
      </p:sp>
      <p:sp>
        <p:nvSpPr>
          <p:cNvPr id="20" name="Freeform 8"/>
          <p:cNvSpPr>
            <a:spLocks noChangeAspect="1"/>
          </p:cNvSpPr>
          <p:nvPr/>
        </p:nvSpPr>
        <p:spPr bwMode="auto">
          <a:xfrm rot="16200000">
            <a:off x="6506978" y="1044631"/>
            <a:ext cx="1518182" cy="2613364"/>
          </a:xfrm>
          <a:custGeom>
            <a:avLst/>
            <a:gdLst>
              <a:gd name="T0" fmla="*/ 2147483647 w 529"/>
              <a:gd name="T1" fmla="*/ 2147483647 h 910"/>
              <a:gd name="T2" fmla="*/ 2147483647 w 529"/>
              <a:gd name="T3" fmla="*/ 2147483647 h 910"/>
              <a:gd name="T4" fmla="*/ 2147483647 w 529"/>
              <a:gd name="T5" fmla="*/ 2147483647 h 910"/>
              <a:gd name="T6" fmla="*/ 2147483647 w 529"/>
              <a:gd name="T7" fmla="*/ 2147483647 h 910"/>
              <a:gd name="T8" fmla="*/ 2147483647 w 529"/>
              <a:gd name="T9" fmla="*/ 2147483647 h 910"/>
              <a:gd name="T10" fmla="*/ 2147483647 w 529"/>
              <a:gd name="T11" fmla="*/ 2147483647 h 910"/>
              <a:gd name="T12" fmla="*/ 2147483647 w 529"/>
              <a:gd name="T13" fmla="*/ 2147483647 h 910"/>
              <a:gd name="T14" fmla="*/ 0 w 529"/>
              <a:gd name="T15" fmla="*/ 2147483647 h 910"/>
              <a:gd name="T16" fmla="*/ 0 w 529"/>
              <a:gd name="T17" fmla="*/ 2147483647 h 910"/>
              <a:gd name="T18" fmla="*/ 2147483647 w 529"/>
              <a:gd name="T19" fmla="*/ 2147483647 h 910"/>
              <a:gd name="T20" fmla="*/ 2147483647 w 529"/>
              <a:gd name="T21" fmla="*/ 2147483647 h 910"/>
              <a:gd name="T22" fmla="*/ 2147483647 w 529"/>
              <a:gd name="T23" fmla="*/ 2147483647 h 910"/>
              <a:gd name="T24" fmla="*/ 2147483647 w 529"/>
              <a:gd name="T25" fmla="*/ 2147483647 h 910"/>
              <a:gd name="T26" fmla="*/ 2147483647 w 529"/>
              <a:gd name="T27" fmla="*/ 2147483647 h 9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9"/>
              <a:gd name="T43" fmla="*/ 0 h 910"/>
              <a:gd name="T44" fmla="*/ 529 w 529"/>
              <a:gd name="T45" fmla="*/ 910 h 9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9" h="910">
                <a:moveTo>
                  <a:pt x="526" y="472"/>
                </a:moveTo>
                <a:cubicBezTo>
                  <a:pt x="528" y="462"/>
                  <a:pt x="529" y="462"/>
                  <a:pt x="529" y="455"/>
                </a:cubicBezTo>
                <a:cubicBezTo>
                  <a:pt x="529" y="448"/>
                  <a:pt x="529" y="449"/>
                  <a:pt x="526" y="438"/>
                </a:cubicBezTo>
                <a:cubicBezTo>
                  <a:pt x="521" y="421"/>
                  <a:pt x="425" y="44"/>
                  <a:pt x="418" y="16"/>
                </a:cubicBezTo>
                <a:cubicBezTo>
                  <a:pt x="414" y="0"/>
                  <a:pt x="391" y="6"/>
                  <a:pt x="390" y="26"/>
                </a:cubicBezTo>
                <a:cubicBezTo>
                  <a:pt x="390" y="30"/>
                  <a:pt x="390" y="35"/>
                  <a:pt x="390" y="42"/>
                </a:cubicBezTo>
                <a:cubicBezTo>
                  <a:pt x="14" y="42"/>
                  <a:pt x="14" y="42"/>
                  <a:pt x="14" y="42"/>
                </a:cubicBezTo>
                <a:cubicBezTo>
                  <a:pt x="6" y="42"/>
                  <a:pt x="0" y="48"/>
                  <a:pt x="0" y="56"/>
                </a:cubicBezTo>
                <a:cubicBezTo>
                  <a:pt x="0" y="854"/>
                  <a:pt x="0" y="854"/>
                  <a:pt x="0" y="854"/>
                </a:cubicBezTo>
                <a:cubicBezTo>
                  <a:pt x="0" y="862"/>
                  <a:pt x="6" y="868"/>
                  <a:pt x="14" y="868"/>
                </a:cubicBezTo>
                <a:cubicBezTo>
                  <a:pt x="390" y="868"/>
                  <a:pt x="390" y="868"/>
                  <a:pt x="390" y="868"/>
                </a:cubicBezTo>
                <a:cubicBezTo>
                  <a:pt x="390" y="875"/>
                  <a:pt x="390" y="881"/>
                  <a:pt x="390" y="885"/>
                </a:cubicBezTo>
                <a:cubicBezTo>
                  <a:pt x="391" y="905"/>
                  <a:pt x="413" y="910"/>
                  <a:pt x="417" y="895"/>
                </a:cubicBezTo>
                <a:cubicBezTo>
                  <a:pt x="425" y="869"/>
                  <a:pt x="522" y="487"/>
                  <a:pt x="526" y="472"/>
                </a:cubicBezTo>
                <a:close/>
              </a:path>
            </a:pathLst>
          </a:custGeom>
          <a:solidFill>
            <a:srgbClr val="89BA17"/>
          </a:solidFill>
          <a:ln w="9525">
            <a:solidFill>
              <a:schemeClr val="bg1"/>
            </a:solidFill>
            <a:round/>
            <a:headEnd/>
            <a:tailEnd/>
          </a:ln>
        </p:spPr>
        <p:txBody>
          <a:bodyPr lIns="91426" tIns="45718" rIns="91426" bIns="45718" anchor="ctr"/>
          <a:lstStyle/>
          <a:p>
            <a:endParaRPr lang="en-US" dirty="0">
              <a:solidFill>
                <a:schemeClr val="bg1"/>
              </a:solidFill>
            </a:endParaRPr>
          </a:p>
        </p:txBody>
      </p:sp>
      <p:sp>
        <p:nvSpPr>
          <p:cNvPr id="4" name="Rectangle 3"/>
          <p:cNvSpPr/>
          <p:nvPr/>
        </p:nvSpPr>
        <p:spPr>
          <a:xfrm>
            <a:off x="521191" y="2025637"/>
            <a:ext cx="2613366" cy="923330"/>
          </a:xfrm>
          <a:prstGeom prst="rect">
            <a:avLst/>
          </a:prstGeom>
        </p:spPr>
        <p:txBody>
          <a:bodyPr wrap="square">
            <a:spAutoFit/>
          </a:bodyPr>
          <a:lstStyle/>
          <a:p>
            <a:r>
              <a:rPr lang="it-IT" sz="1800" b="1" dirty="0">
                <a:solidFill>
                  <a:schemeClr val="bg1"/>
                </a:solidFill>
              </a:rPr>
              <a:t>UP FRONT INVESTMENT EFFICIENCY</a:t>
            </a:r>
            <a:endParaRPr lang="en-US" sz="1800" b="1" dirty="0">
              <a:solidFill>
                <a:schemeClr val="bg1"/>
              </a:solidFill>
            </a:endParaRPr>
          </a:p>
        </p:txBody>
      </p:sp>
      <p:sp>
        <p:nvSpPr>
          <p:cNvPr id="5" name="Rectangle 4"/>
          <p:cNvSpPr/>
          <p:nvPr/>
        </p:nvSpPr>
        <p:spPr>
          <a:xfrm>
            <a:off x="3240288" y="2025637"/>
            <a:ext cx="2613365" cy="923330"/>
          </a:xfrm>
          <a:prstGeom prst="rect">
            <a:avLst/>
          </a:prstGeom>
        </p:spPr>
        <p:txBody>
          <a:bodyPr wrap="square">
            <a:spAutoFit/>
          </a:bodyPr>
          <a:lstStyle/>
          <a:p>
            <a:r>
              <a:rPr lang="it-IT" sz="1800" b="1" dirty="0" smtClean="0">
                <a:solidFill>
                  <a:schemeClr val="bg1"/>
                </a:solidFill>
              </a:rPr>
              <a:t>RECURRENT</a:t>
            </a:r>
            <a:br>
              <a:rPr lang="it-IT" sz="1800" b="1" dirty="0" smtClean="0">
                <a:solidFill>
                  <a:schemeClr val="bg1"/>
                </a:solidFill>
              </a:rPr>
            </a:br>
            <a:r>
              <a:rPr lang="it-IT" sz="1800" b="1" dirty="0" smtClean="0">
                <a:solidFill>
                  <a:schemeClr val="bg1"/>
                </a:solidFill>
              </a:rPr>
              <a:t>COSTS </a:t>
            </a:r>
            <a:r>
              <a:rPr lang="it-IT" sz="1800" b="1" dirty="0">
                <a:solidFill>
                  <a:schemeClr val="bg1"/>
                </a:solidFill>
              </a:rPr>
              <a:t>OPTIMIZATION</a:t>
            </a:r>
            <a:endParaRPr lang="en-US" sz="1800" b="1" dirty="0">
              <a:solidFill>
                <a:schemeClr val="bg1"/>
              </a:solidFill>
            </a:endParaRPr>
          </a:p>
        </p:txBody>
      </p:sp>
      <p:sp>
        <p:nvSpPr>
          <p:cNvPr id="6" name="Rectangle 5"/>
          <p:cNvSpPr/>
          <p:nvPr/>
        </p:nvSpPr>
        <p:spPr>
          <a:xfrm>
            <a:off x="5959388" y="2025637"/>
            <a:ext cx="2613364" cy="923330"/>
          </a:xfrm>
          <a:prstGeom prst="rect">
            <a:avLst/>
          </a:prstGeom>
        </p:spPr>
        <p:txBody>
          <a:bodyPr wrap="square">
            <a:spAutoFit/>
          </a:bodyPr>
          <a:lstStyle/>
          <a:p>
            <a:r>
              <a:rPr lang="en-US" sz="1800" b="1" dirty="0">
                <a:solidFill>
                  <a:schemeClr val="bg1"/>
                </a:solidFill>
              </a:rPr>
              <a:t>ENABLING TRANSFORMATION</a:t>
            </a:r>
            <a:br>
              <a:rPr lang="en-US" sz="1800" b="1" dirty="0">
                <a:solidFill>
                  <a:schemeClr val="bg1"/>
                </a:solidFill>
              </a:rPr>
            </a:br>
            <a:r>
              <a:rPr lang="en-US" sz="1800" b="1" dirty="0">
                <a:solidFill>
                  <a:schemeClr val="bg1"/>
                </a:solidFill>
              </a:rPr>
              <a:t>JOURNEY</a:t>
            </a:r>
          </a:p>
        </p:txBody>
      </p:sp>
    </p:spTree>
    <p:extLst>
      <p:ext uri="{BB962C8B-B14F-4D97-AF65-F5344CB8AC3E}">
        <p14:creationId xmlns:p14="http://schemas.microsoft.com/office/powerpoint/2010/main" val="1906336641"/>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1" hidden="1"/>
          <p:cNvGraphicFramePr>
            <a:graphicFrameLocks noChangeAspect="1"/>
          </p:cNvGraphicFramePr>
          <p:nvPr>
            <p:custDataLst>
              <p:tags r:id="rId2"/>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181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7" name="Rectangle 2"/>
          <p:cNvSpPr txBox="1">
            <a:spLocks noChangeArrowheads="1"/>
          </p:cNvSpPr>
          <p:nvPr/>
        </p:nvSpPr>
        <p:spPr>
          <a:xfrm>
            <a:off x="126207" y="366713"/>
            <a:ext cx="7274719" cy="1085850"/>
          </a:xfrm>
          <a:prstGeom prst="rect">
            <a:avLst/>
          </a:prstGeom>
        </p:spPr>
        <p:txBody>
          <a:bodyPr/>
          <a:lstStyle>
            <a:lvl1pPr algn="l" rtl="0" eaLnBrk="0" fontAlgn="base" hangingPunct="0">
              <a:lnSpc>
                <a:spcPct val="75000"/>
              </a:lnSpc>
              <a:spcBef>
                <a:spcPct val="0"/>
              </a:spcBef>
              <a:spcAft>
                <a:spcPct val="0"/>
              </a:spcAft>
              <a:defRPr sz="4400">
                <a:solidFill>
                  <a:schemeClr val="tx1"/>
                </a:solidFill>
                <a:latin typeface="Ericsson Capital TT"/>
                <a:ea typeface="+mj-ea"/>
                <a:cs typeface="+mj-cs"/>
              </a:defRPr>
            </a:lvl1pPr>
            <a:lvl2pPr algn="l" rtl="0" eaLnBrk="0" fontAlgn="base" hangingPunct="0">
              <a:lnSpc>
                <a:spcPct val="75000"/>
              </a:lnSpc>
              <a:spcBef>
                <a:spcPct val="0"/>
              </a:spcBef>
              <a:spcAft>
                <a:spcPct val="0"/>
              </a:spcAft>
              <a:defRPr sz="4400">
                <a:solidFill>
                  <a:schemeClr val="tx1"/>
                </a:solidFill>
                <a:latin typeface="Ericsson Capital TT" pitchFamily="2" charset="0"/>
              </a:defRPr>
            </a:lvl2pPr>
            <a:lvl3pPr algn="l" rtl="0" eaLnBrk="0" fontAlgn="base" hangingPunct="0">
              <a:lnSpc>
                <a:spcPct val="75000"/>
              </a:lnSpc>
              <a:spcBef>
                <a:spcPct val="0"/>
              </a:spcBef>
              <a:spcAft>
                <a:spcPct val="0"/>
              </a:spcAft>
              <a:defRPr sz="4400">
                <a:solidFill>
                  <a:schemeClr val="tx1"/>
                </a:solidFill>
                <a:latin typeface="Ericsson Capital TT" pitchFamily="2" charset="0"/>
              </a:defRPr>
            </a:lvl3pPr>
            <a:lvl4pPr algn="l" rtl="0" eaLnBrk="0" fontAlgn="base" hangingPunct="0">
              <a:lnSpc>
                <a:spcPct val="75000"/>
              </a:lnSpc>
              <a:spcBef>
                <a:spcPct val="0"/>
              </a:spcBef>
              <a:spcAft>
                <a:spcPct val="0"/>
              </a:spcAft>
              <a:defRPr sz="4400">
                <a:solidFill>
                  <a:schemeClr val="tx1"/>
                </a:solidFill>
                <a:latin typeface="Ericsson Capital TT" pitchFamily="2" charset="0"/>
              </a:defRPr>
            </a:lvl4pPr>
            <a:lvl5pPr algn="l" rtl="0" eaLnBrk="0" fontAlgn="base" hangingPunct="0">
              <a:lnSpc>
                <a:spcPct val="75000"/>
              </a:lnSpc>
              <a:spcBef>
                <a:spcPct val="0"/>
              </a:spcBef>
              <a:spcAft>
                <a:spcPct val="0"/>
              </a:spcAft>
              <a:defRPr sz="44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pPr eaLnBrk="1" hangingPunct="1">
              <a:defRPr/>
            </a:pPr>
            <a:endParaRPr lang="en-US" sz="3800" dirty="0">
              <a:solidFill>
                <a:srgbClr val="00B0F0"/>
              </a:solidFill>
              <a:latin typeface="+mj-lt"/>
              <a:ea typeface="ＭＳ Ｐゴシック" pitchFamily="34" charset="-128"/>
              <a:cs typeface="Arial" charset="0"/>
            </a:endParaRPr>
          </a:p>
        </p:txBody>
      </p:sp>
      <p:sp>
        <p:nvSpPr>
          <p:cNvPr id="36870" name="Content Placeholder 2"/>
          <p:cNvSpPr>
            <a:spLocks noGrp="1"/>
          </p:cNvSpPr>
          <p:nvPr>
            <p:ph idx="1"/>
          </p:nvPr>
        </p:nvSpPr>
        <p:spPr>
          <a:xfrm>
            <a:off x="396478" y="1800226"/>
            <a:ext cx="8352234" cy="3851275"/>
          </a:xfrm>
        </p:spPr>
        <p:txBody>
          <a:bodyPr/>
          <a:lstStyle/>
          <a:p>
            <a:pPr>
              <a:buFont typeface="Arial" charset="0"/>
              <a:buChar char="›"/>
              <a:defRPr/>
            </a:pPr>
            <a:r>
              <a:rPr lang="en-US" sz="2000" dirty="0" smtClean="0"/>
              <a:t>Multi-service &amp; multi-channel</a:t>
            </a:r>
          </a:p>
          <a:p>
            <a:pPr>
              <a:buFont typeface="Arial" charset="0"/>
              <a:buChar char="›"/>
              <a:defRPr/>
            </a:pPr>
            <a:r>
              <a:rPr lang="en-US" sz="2000" dirty="0" smtClean="0"/>
              <a:t>Real-time processes</a:t>
            </a:r>
          </a:p>
          <a:p>
            <a:pPr>
              <a:buFont typeface="Arial" charset="0"/>
              <a:buChar char="›"/>
              <a:defRPr/>
            </a:pPr>
            <a:r>
              <a:rPr lang="en-US" sz="2000" dirty="0" smtClean="0"/>
              <a:t>Catalog and network driven</a:t>
            </a:r>
          </a:p>
          <a:p>
            <a:pPr>
              <a:buFont typeface="Arial" charset="0"/>
              <a:buChar char="›"/>
              <a:defRPr/>
            </a:pPr>
            <a:r>
              <a:rPr lang="en-US" sz="2000" dirty="0" smtClean="0"/>
              <a:t>Single architecture</a:t>
            </a:r>
          </a:p>
          <a:p>
            <a:pPr>
              <a:buFont typeface="Arial" charset="0"/>
              <a:buChar char="›"/>
              <a:defRPr/>
            </a:pPr>
            <a:endParaRPr lang="en-US" sz="2000" dirty="0" smtClean="0"/>
          </a:p>
          <a:p>
            <a:pPr lvl="2">
              <a:defRPr/>
            </a:pPr>
            <a:r>
              <a:rPr lang="en-US" dirty="0" smtClean="0"/>
              <a:t>Time-to-market</a:t>
            </a:r>
          </a:p>
          <a:p>
            <a:pPr lvl="2">
              <a:defRPr/>
            </a:pPr>
            <a:r>
              <a:rPr lang="en-US" dirty="0" smtClean="0"/>
              <a:t>Total cost of ownership</a:t>
            </a:r>
          </a:p>
          <a:p>
            <a:pPr lvl="2">
              <a:defRPr/>
            </a:pPr>
            <a:r>
              <a:rPr lang="en-US" dirty="0" smtClean="0"/>
              <a:t>User experience</a:t>
            </a:r>
          </a:p>
          <a:p>
            <a:pPr lvl="2">
              <a:defRPr/>
            </a:pPr>
            <a:r>
              <a:rPr lang="en-US" dirty="0" smtClean="0"/>
              <a:t>Innovation</a:t>
            </a:r>
          </a:p>
          <a:p>
            <a:pPr lvl="2">
              <a:defRPr/>
            </a:pPr>
            <a:r>
              <a:rPr lang="en-US" dirty="0" smtClean="0"/>
              <a:t>Customer retention</a:t>
            </a:r>
          </a:p>
          <a:p>
            <a:pPr lvl="2">
              <a:defRPr/>
            </a:pPr>
            <a:r>
              <a:rPr lang="en-US" dirty="0" smtClean="0"/>
              <a:t>Market share</a:t>
            </a:r>
          </a:p>
          <a:p>
            <a:pPr marL="0" indent="0">
              <a:buFont typeface="Arial" charset="0"/>
              <a:buNone/>
              <a:defRPr/>
            </a:pPr>
            <a:r>
              <a:rPr lang="en-US" sz="2000" dirty="0" smtClean="0"/>
              <a:t/>
            </a:r>
            <a:br>
              <a:rPr lang="en-US" sz="2000" dirty="0" smtClean="0"/>
            </a:br>
            <a:r>
              <a:rPr lang="en-US" sz="2000" dirty="0" smtClean="0"/>
              <a:t/>
            </a:r>
            <a:br>
              <a:rPr lang="en-US" sz="2000" dirty="0" smtClean="0"/>
            </a:br>
            <a:r>
              <a:rPr lang="en-US" sz="2000" dirty="0" smtClean="0"/>
              <a:t/>
            </a:r>
            <a:br>
              <a:rPr lang="en-US" sz="2000" dirty="0" smtClean="0"/>
            </a:br>
            <a:r>
              <a:rPr lang="en-US" sz="2000" dirty="0" smtClean="0"/>
              <a:t/>
            </a:r>
            <a:br>
              <a:rPr lang="en-US" sz="2000" dirty="0" smtClean="0"/>
            </a:br>
            <a:endParaRPr lang="en-US" sz="2000" dirty="0" smtClean="0"/>
          </a:p>
          <a:p>
            <a:pPr>
              <a:buFont typeface="Arial" charset="0"/>
              <a:buChar char="›"/>
              <a:defRPr/>
            </a:pPr>
            <a:endParaRPr lang="en-US" sz="2000" dirty="0" smtClean="0"/>
          </a:p>
          <a:p>
            <a:pPr>
              <a:buFont typeface="Arial" charset="0"/>
              <a:buChar char="›"/>
              <a:defRPr/>
            </a:pPr>
            <a:endParaRPr lang="en-US" sz="2000" dirty="0" smtClean="0"/>
          </a:p>
          <a:p>
            <a:pPr>
              <a:buFont typeface="Arial" charset="0"/>
              <a:buChar char="›"/>
              <a:defRPr/>
            </a:pPr>
            <a:endParaRPr lang="en-US" sz="2000" dirty="0" smtClean="0"/>
          </a:p>
        </p:txBody>
      </p:sp>
      <p:sp>
        <p:nvSpPr>
          <p:cNvPr id="8197" name="Title 2"/>
          <p:cNvSpPr>
            <a:spLocks noGrp="1"/>
          </p:cNvSpPr>
          <p:nvPr>
            <p:ph type="title"/>
          </p:nvPr>
        </p:nvSpPr>
        <p:spPr>
          <a:xfrm>
            <a:off x="394097" y="239713"/>
            <a:ext cx="7816453" cy="1085850"/>
          </a:xfrm>
        </p:spPr>
        <p:txBody>
          <a:bodyPr/>
          <a:lstStyle/>
          <a:p>
            <a:r>
              <a:rPr lang="en-US" dirty="0" smtClean="0">
                <a:latin typeface="Ericsson Capital TT" pitchFamily="2" charset="0"/>
              </a:rPr>
              <a:t>Ericsson SERVICE INNOVATION  framework</a:t>
            </a:r>
          </a:p>
        </p:txBody>
      </p:sp>
      <p:sp>
        <p:nvSpPr>
          <p:cNvPr id="8204" name="Can 43"/>
          <p:cNvSpPr>
            <a:spLocks noChangeArrowheads="1"/>
          </p:cNvSpPr>
          <p:nvPr/>
        </p:nvSpPr>
        <p:spPr bwMode="auto">
          <a:xfrm>
            <a:off x="4939904" y="3416300"/>
            <a:ext cx="3088481" cy="857250"/>
          </a:xfrm>
          <a:prstGeom prst="can">
            <a:avLst>
              <a:gd name="adj" fmla="val 34199"/>
            </a:avLst>
          </a:prstGeom>
          <a:solidFill>
            <a:srgbClr val="00A9D4"/>
          </a:solidFill>
          <a:ln w="9525">
            <a:solidFill>
              <a:schemeClr val="bg1"/>
            </a:solidFill>
            <a:round/>
            <a:headEnd/>
            <a:tailEnd/>
          </a:ln>
        </p:spPr>
        <p:txBody>
          <a:bodyPr lIns="44447" tIns="22223" rIns="44447" bIns="91440" anchor="ctr"/>
          <a:lstStyle/>
          <a:p>
            <a:pPr algn="ctr">
              <a:spcBef>
                <a:spcPct val="50000"/>
              </a:spcBef>
            </a:pPr>
            <a:endParaRPr lang="en-US" sz="2800"/>
          </a:p>
        </p:txBody>
      </p:sp>
      <p:sp>
        <p:nvSpPr>
          <p:cNvPr id="8205" name="Rectangle 4"/>
          <p:cNvSpPr>
            <a:spLocks noChangeArrowheads="1"/>
          </p:cNvSpPr>
          <p:nvPr/>
        </p:nvSpPr>
        <p:spPr bwMode="auto">
          <a:xfrm>
            <a:off x="5030392" y="3813176"/>
            <a:ext cx="2917031"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0000"/>
              </a:lnSpc>
              <a:spcBef>
                <a:spcPct val="50000"/>
              </a:spcBef>
            </a:pPr>
            <a:r>
              <a:rPr lang="en-US" sz="1800" dirty="0">
                <a:solidFill>
                  <a:schemeClr val="bg1"/>
                </a:solidFill>
              </a:rPr>
              <a:t>Catalog-Driven </a:t>
            </a:r>
            <a:r>
              <a:rPr lang="en-US" sz="1800" dirty="0" smtClean="0">
                <a:solidFill>
                  <a:schemeClr val="bg1"/>
                </a:solidFill>
              </a:rPr>
              <a:t>Processes</a:t>
            </a:r>
            <a:endParaRPr lang="en-US" sz="1800" dirty="0">
              <a:solidFill>
                <a:schemeClr val="bg1"/>
              </a:solidFill>
            </a:endParaRPr>
          </a:p>
        </p:txBody>
      </p:sp>
      <p:sp>
        <p:nvSpPr>
          <p:cNvPr id="8211" name="Rounded Rectangle 25"/>
          <p:cNvSpPr>
            <a:spLocks noChangeArrowheads="1"/>
          </p:cNvSpPr>
          <p:nvPr/>
        </p:nvSpPr>
        <p:spPr bwMode="auto">
          <a:xfrm>
            <a:off x="4301729" y="5788026"/>
            <a:ext cx="2126456" cy="473075"/>
          </a:xfrm>
          <a:prstGeom prst="roundRect">
            <a:avLst>
              <a:gd name="adj" fmla="val 9060"/>
            </a:avLst>
          </a:pr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lIns="44447" tIns="0" rIns="44447" bIns="0" anchor="ctr"/>
          <a:lstStyle/>
          <a:p>
            <a:pPr algn="ctr">
              <a:spcBef>
                <a:spcPct val="50000"/>
              </a:spcBef>
            </a:pPr>
            <a:r>
              <a:rPr lang="en-US" sz="1200" dirty="0">
                <a:solidFill>
                  <a:schemeClr val="bg1"/>
                </a:solidFill>
              </a:rPr>
              <a:t>Network </a:t>
            </a:r>
            <a:r>
              <a:rPr lang="en-US" sz="1200" dirty="0" smtClean="0">
                <a:solidFill>
                  <a:schemeClr val="bg1"/>
                </a:solidFill>
              </a:rPr>
              <a:t>&amp;</a:t>
            </a:r>
            <a:br>
              <a:rPr lang="en-US" sz="1200" dirty="0" smtClean="0">
                <a:solidFill>
                  <a:schemeClr val="bg1"/>
                </a:solidFill>
              </a:rPr>
            </a:br>
            <a:r>
              <a:rPr lang="en-US" sz="1200" dirty="0" smtClean="0">
                <a:solidFill>
                  <a:schemeClr val="bg1"/>
                </a:solidFill>
              </a:rPr>
              <a:t>Services</a:t>
            </a:r>
            <a:endParaRPr lang="en-US" sz="1200" dirty="0">
              <a:solidFill>
                <a:schemeClr val="bg1"/>
              </a:solidFill>
            </a:endParaRPr>
          </a:p>
        </p:txBody>
      </p:sp>
      <p:cxnSp>
        <p:nvCxnSpPr>
          <p:cNvPr id="8198" name="Straight Connector 31"/>
          <p:cNvCxnSpPr>
            <a:cxnSpLocks noChangeShapeType="1"/>
          </p:cNvCxnSpPr>
          <p:nvPr/>
        </p:nvCxnSpPr>
        <p:spPr bwMode="auto">
          <a:xfrm>
            <a:off x="6463231" y="2427288"/>
            <a:ext cx="1714432" cy="0"/>
          </a:xfrm>
          <a:prstGeom prst="line">
            <a:avLst/>
          </a:prstGeom>
          <a:noFill/>
          <a:ln w="38100">
            <a:solidFill>
              <a:srgbClr val="00B0F0"/>
            </a:solidFill>
            <a:round/>
            <a:headEnd/>
            <a:tailEnd/>
          </a:ln>
          <a:extLst>
            <a:ext uri="{909E8E84-426E-40DD-AFC4-6F175D3DCCD1}">
              <a14:hiddenFill xmlns:a14="http://schemas.microsoft.com/office/drawing/2010/main">
                <a:noFill/>
              </a14:hiddenFill>
            </a:ext>
          </a:extLst>
        </p:spPr>
      </p:cxnSp>
      <p:cxnSp>
        <p:nvCxnSpPr>
          <p:cNvPr id="8199" name="Straight Connector 32"/>
          <p:cNvCxnSpPr>
            <a:cxnSpLocks noChangeShapeType="1"/>
          </p:cNvCxnSpPr>
          <p:nvPr/>
        </p:nvCxnSpPr>
        <p:spPr bwMode="auto">
          <a:xfrm>
            <a:off x="4811890" y="2247900"/>
            <a:ext cx="0" cy="192088"/>
          </a:xfrm>
          <a:prstGeom prst="line">
            <a:avLst/>
          </a:prstGeom>
          <a:noFill/>
          <a:ln w="38100">
            <a:solidFill>
              <a:srgbClr val="00A9D4"/>
            </a:solidFill>
            <a:round/>
            <a:headEnd/>
            <a:tailEnd/>
          </a:ln>
          <a:extLst>
            <a:ext uri="{909E8E84-426E-40DD-AFC4-6F175D3DCCD1}">
              <a14:hiddenFill xmlns:a14="http://schemas.microsoft.com/office/drawing/2010/main">
                <a:noFill/>
              </a14:hiddenFill>
            </a:ext>
          </a:extLst>
        </p:spPr>
      </p:cxnSp>
      <p:cxnSp>
        <p:nvCxnSpPr>
          <p:cNvPr id="8200" name="Straight Connector 35"/>
          <p:cNvCxnSpPr>
            <a:cxnSpLocks noChangeShapeType="1"/>
          </p:cNvCxnSpPr>
          <p:nvPr/>
        </p:nvCxnSpPr>
        <p:spPr bwMode="auto">
          <a:xfrm>
            <a:off x="5629332" y="2247900"/>
            <a:ext cx="0" cy="192088"/>
          </a:xfrm>
          <a:prstGeom prst="line">
            <a:avLst/>
          </a:prstGeom>
          <a:noFill/>
          <a:ln w="38100">
            <a:solidFill>
              <a:srgbClr val="00A9D4"/>
            </a:solidFill>
            <a:round/>
            <a:headEnd/>
            <a:tailEnd/>
          </a:ln>
          <a:extLst>
            <a:ext uri="{909E8E84-426E-40DD-AFC4-6F175D3DCCD1}">
              <a14:hiddenFill xmlns:a14="http://schemas.microsoft.com/office/drawing/2010/main">
                <a:noFill/>
              </a14:hiddenFill>
            </a:ext>
          </a:extLst>
        </p:spPr>
      </p:cxnSp>
      <p:cxnSp>
        <p:nvCxnSpPr>
          <p:cNvPr id="8201" name="Straight Connector 36"/>
          <p:cNvCxnSpPr>
            <a:cxnSpLocks noChangeShapeType="1"/>
          </p:cNvCxnSpPr>
          <p:nvPr/>
        </p:nvCxnSpPr>
        <p:spPr bwMode="auto">
          <a:xfrm>
            <a:off x="6476947" y="2247900"/>
            <a:ext cx="0" cy="192088"/>
          </a:xfrm>
          <a:prstGeom prst="line">
            <a:avLst/>
          </a:prstGeom>
          <a:noFill/>
          <a:ln w="38100">
            <a:solidFill>
              <a:srgbClr val="00B0F0"/>
            </a:solidFill>
            <a:round/>
            <a:headEnd/>
            <a:tailEnd/>
          </a:ln>
          <a:extLst>
            <a:ext uri="{909E8E84-426E-40DD-AFC4-6F175D3DCCD1}">
              <a14:hiddenFill xmlns:a14="http://schemas.microsoft.com/office/drawing/2010/main">
                <a:noFill/>
              </a14:hiddenFill>
            </a:ext>
          </a:extLst>
        </p:spPr>
      </p:cxnSp>
      <p:cxnSp>
        <p:nvCxnSpPr>
          <p:cNvPr id="8202" name="Straight Connector 37"/>
          <p:cNvCxnSpPr>
            <a:cxnSpLocks noChangeShapeType="1"/>
          </p:cNvCxnSpPr>
          <p:nvPr/>
        </p:nvCxnSpPr>
        <p:spPr bwMode="auto">
          <a:xfrm>
            <a:off x="7316332" y="2247900"/>
            <a:ext cx="0" cy="192088"/>
          </a:xfrm>
          <a:prstGeom prst="line">
            <a:avLst/>
          </a:prstGeom>
          <a:noFill/>
          <a:ln w="38100">
            <a:solidFill>
              <a:srgbClr val="00B0F0"/>
            </a:solidFill>
            <a:round/>
            <a:headEnd/>
            <a:tailEnd/>
          </a:ln>
          <a:extLst>
            <a:ext uri="{909E8E84-426E-40DD-AFC4-6F175D3DCCD1}">
              <a14:hiddenFill xmlns:a14="http://schemas.microsoft.com/office/drawing/2010/main">
                <a:noFill/>
              </a14:hiddenFill>
            </a:ext>
          </a:extLst>
        </p:spPr>
      </p:cxnSp>
      <p:cxnSp>
        <p:nvCxnSpPr>
          <p:cNvPr id="8203" name="Straight Connector 38"/>
          <p:cNvCxnSpPr>
            <a:cxnSpLocks noChangeShapeType="1"/>
          </p:cNvCxnSpPr>
          <p:nvPr/>
        </p:nvCxnSpPr>
        <p:spPr bwMode="auto">
          <a:xfrm>
            <a:off x="8161204" y="2247900"/>
            <a:ext cx="0" cy="192088"/>
          </a:xfrm>
          <a:prstGeom prst="line">
            <a:avLst/>
          </a:prstGeom>
          <a:noFill/>
          <a:ln w="38100">
            <a:solidFill>
              <a:srgbClr val="00B0F0"/>
            </a:solidFill>
            <a:round/>
            <a:headEnd/>
            <a:tailEnd/>
          </a:ln>
          <a:extLst>
            <a:ext uri="{909E8E84-426E-40DD-AFC4-6F175D3DCCD1}">
              <a14:hiddenFill xmlns:a14="http://schemas.microsoft.com/office/drawing/2010/main">
                <a:noFill/>
              </a14:hiddenFill>
            </a:ext>
          </a:extLst>
        </p:spPr>
      </p:cxnSp>
      <p:sp>
        <p:nvSpPr>
          <p:cNvPr id="8206" name="TextBox 125"/>
          <p:cNvSpPr txBox="1">
            <a:spLocks noChangeArrowheads="1"/>
          </p:cNvSpPr>
          <p:nvPr/>
        </p:nvSpPr>
        <p:spPr bwMode="auto">
          <a:xfrm>
            <a:off x="4301599" y="1976439"/>
            <a:ext cx="10178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pPr>
            <a:r>
              <a:rPr lang="en-US" sz="1200">
                <a:solidFill>
                  <a:srgbClr val="00A9D4"/>
                </a:solidFill>
                <a:cs typeface="Arial" pitchFamily="34" charset="0"/>
              </a:rPr>
              <a:t>Enterprise</a:t>
            </a:r>
          </a:p>
        </p:txBody>
      </p:sp>
      <p:sp>
        <p:nvSpPr>
          <p:cNvPr id="8207" name="TextBox 126"/>
          <p:cNvSpPr txBox="1">
            <a:spLocks noChangeArrowheads="1"/>
          </p:cNvSpPr>
          <p:nvPr/>
        </p:nvSpPr>
        <p:spPr bwMode="auto">
          <a:xfrm>
            <a:off x="5179449" y="1974851"/>
            <a:ext cx="9107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pPr>
            <a:r>
              <a:rPr lang="en-US" sz="1200">
                <a:solidFill>
                  <a:srgbClr val="00A9D4"/>
                </a:solidFill>
                <a:cs typeface="Arial" pitchFamily="34" charset="0"/>
              </a:rPr>
              <a:t>Operator</a:t>
            </a:r>
          </a:p>
        </p:txBody>
      </p:sp>
      <p:sp>
        <p:nvSpPr>
          <p:cNvPr id="8208" name="TextBox 127"/>
          <p:cNvSpPr txBox="1">
            <a:spLocks noChangeArrowheads="1"/>
          </p:cNvSpPr>
          <p:nvPr/>
        </p:nvSpPr>
        <p:spPr bwMode="auto">
          <a:xfrm>
            <a:off x="5978070" y="1974851"/>
            <a:ext cx="11157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pPr>
            <a:r>
              <a:rPr lang="en-US" sz="1200">
                <a:solidFill>
                  <a:srgbClr val="00A9D4"/>
                </a:solidFill>
                <a:cs typeface="Arial" pitchFamily="34" charset="0"/>
              </a:rPr>
              <a:t>Consumers</a:t>
            </a:r>
          </a:p>
        </p:txBody>
      </p:sp>
      <p:sp>
        <p:nvSpPr>
          <p:cNvPr id="8209" name="TextBox 128"/>
          <p:cNvSpPr txBox="1">
            <a:spLocks noChangeArrowheads="1"/>
          </p:cNvSpPr>
          <p:nvPr/>
        </p:nvSpPr>
        <p:spPr bwMode="auto">
          <a:xfrm>
            <a:off x="6769505" y="1974851"/>
            <a:ext cx="110462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pPr>
            <a:r>
              <a:rPr lang="en-US" sz="1200">
                <a:solidFill>
                  <a:srgbClr val="00A9D4"/>
                </a:solidFill>
                <a:cs typeface="Arial" pitchFamily="34" charset="0"/>
              </a:rPr>
              <a:t>Developers</a:t>
            </a:r>
          </a:p>
        </p:txBody>
      </p:sp>
      <p:sp>
        <p:nvSpPr>
          <p:cNvPr id="8210" name="TextBox 129"/>
          <p:cNvSpPr txBox="1">
            <a:spLocks noChangeArrowheads="1"/>
          </p:cNvSpPr>
          <p:nvPr/>
        </p:nvSpPr>
        <p:spPr bwMode="auto">
          <a:xfrm>
            <a:off x="7715123" y="1976439"/>
            <a:ext cx="88119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pPr>
            <a:r>
              <a:rPr lang="en-US" sz="1200">
                <a:solidFill>
                  <a:srgbClr val="00A9D4"/>
                </a:solidFill>
                <a:cs typeface="Arial" pitchFamily="34" charset="0"/>
              </a:rPr>
              <a:t>Partners</a:t>
            </a:r>
          </a:p>
        </p:txBody>
      </p:sp>
      <p:sp>
        <p:nvSpPr>
          <p:cNvPr id="8212" name="Freeform 3"/>
          <p:cNvSpPr>
            <a:spLocks noChangeAspect="1" noEditPoints="1"/>
          </p:cNvSpPr>
          <p:nvPr/>
        </p:nvSpPr>
        <p:spPr bwMode="auto">
          <a:xfrm>
            <a:off x="4650048" y="1450975"/>
            <a:ext cx="337401" cy="533400"/>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2"/>
              <a:gd name="T160" fmla="*/ 0 h 412"/>
              <a:gd name="T161" fmla="*/ 302 w 302"/>
              <a:gd name="T162" fmla="*/ 412 h 4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213" name="Freeform 3"/>
          <p:cNvSpPr>
            <a:spLocks noChangeAspect="1" noEditPoints="1"/>
          </p:cNvSpPr>
          <p:nvPr/>
        </p:nvSpPr>
        <p:spPr bwMode="auto">
          <a:xfrm>
            <a:off x="7072198" y="1614489"/>
            <a:ext cx="430665" cy="339725"/>
          </a:xfrm>
          <a:custGeom>
            <a:avLst/>
            <a:gdLst>
              <a:gd name="T0" fmla="*/ 2147483647 w 383"/>
              <a:gd name="T1" fmla="*/ 2147483647 h 262"/>
              <a:gd name="T2" fmla="*/ 2147483647 w 383"/>
              <a:gd name="T3" fmla="*/ 2147483647 h 262"/>
              <a:gd name="T4" fmla="*/ 2147483647 w 383"/>
              <a:gd name="T5" fmla="*/ 2147483647 h 262"/>
              <a:gd name="T6" fmla="*/ 2147483647 w 383"/>
              <a:gd name="T7" fmla="*/ 2147483647 h 262"/>
              <a:gd name="T8" fmla="*/ 2147483647 w 383"/>
              <a:gd name="T9" fmla="*/ 2147483647 h 262"/>
              <a:gd name="T10" fmla="*/ 2147483647 w 383"/>
              <a:gd name="T11" fmla="*/ 2147483647 h 262"/>
              <a:gd name="T12" fmla="*/ 2147483647 w 383"/>
              <a:gd name="T13" fmla="*/ 2147483647 h 262"/>
              <a:gd name="T14" fmla="*/ 2147483647 w 383"/>
              <a:gd name="T15" fmla="*/ 2147483647 h 262"/>
              <a:gd name="T16" fmla="*/ 2147483647 w 383"/>
              <a:gd name="T17" fmla="*/ 2147483647 h 262"/>
              <a:gd name="T18" fmla="*/ 2147483647 w 383"/>
              <a:gd name="T19" fmla="*/ 2147483647 h 262"/>
              <a:gd name="T20" fmla="*/ 2147483647 w 383"/>
              <a:gd name="T21" fmla="*/ 2147483647 h 262"/>
              <a:gd name="T22" fmla="*/ 2147483647 w 383"/>
              <a:gd name="T23" fmla="*/ 2147483647 h 262"/>
              <a:gd name="T24" fmla="*/ 2147483647 w 383"/>
              <a:gd name="T25" fmla="*/ 2147483647 h 262"/>
              <a:gd name="T26" fmla="*/ 2147483647 w 383"/>
              <a:gd name="T27" fmla="*/ 2147483647 h 262"/>
              <a:gd name="T28" fmla="*/ 2147483647 w 383"/>
              <a:gd name="T29" fmla="*/ 2147483647 h 262"/>
              <a:gd name="T30" fmla="*/ 2147483647 w 383"/>
              <a:gd name="T31" fmla="*/ 2147483647 h 262"/>
              <a:gd name="T32" fmla="*/ 2147483647 w 383"/>
              <a:gd name="T33" fmla="*/ 2147483647 h 262"/>
              <a:gd name="T34" fmla="*/ 2147483647 w 383"/>
              <a:gd name="T35" fmla="*/ 2147483647 h 262"/>
              <a:gd name="T36" fmla="*/ 2147483647 w 383"/>
              <a:gd name="T37" fmla="*/ 2147483647 h 262"/>
              <a:gd name="T38" fmla="*/ 2147483647 w 383"/>
              <a:gd name="T39" fmla="*/ 2147483647 h 262"/>
              <a:gd name="T40" fmla="*/ 2147483647 w 383"/>
              <a:gd name="T41" fmla="*/ 2147483647 h 262"/>
              <a:gd name="T42" fmla="*/ 2147483647 w 383"/>
              <a:gd name="T43" fmla="*/ 2147483647 h 262"/>
              <a:gd name="T44" fmla="*/ 2147483647 w 383"/>
              <a:gd name="T45" fmla="*/ 2147483647 h 262"/>
              <a:gd name="T46" fmla="*/ 2147483647 w 383"/>
              <a:gd name="T47" fmla="*/ 2147483647 h 262"/>
              <a:gd name="T48" fmla="*/ 2147483647 w 383"/>
              <a:gd name="T49" fmla="*/ 2147483647 h 262"/>
              <a:gd name="T50" fmla="*/ 2147483647 w 383"/>
              <a:gd name="T51" fmla="*/ 2147483647 h 262"/>
              <a:gd name="T52" fmla="*/ 2147483647 w 383"/>
              <a:gd name="T53" fmla="*/ 2147483647 h 262"/>
              <a:gd name="T54" fmla="*/ 2147483647 w 383"/>
              <a:gd name="T55" fmla="*/ 2147483647 h 262"/>
              <a:gd name="T56" fmla="*/ 2147483647 w 383"/>
              <a:gd name="T57" fmla="*/ 2147483647 h 262"/>
              <a:gd name="T58" fmla="*/ 2147483647 w 383"/>
              <a:gd name="T59" fmla="*/ 2147483647 h 262"/>
              <a:gd name="T60" fmla="*/ 2147483647 w 383"/>
              <a:gd name="T61" fmla="*/ 2147483647 h 262"/>
              <a:gd name="T62" fmla="*/ 2147483647 w 383"/>
              <a:gd name="T63" fmla="*/ 2147483647 h 262"/>
              <a:gd name="T64" fmla="*/ 2147483647 w 383"/>
              <a:gd name="T65" fmla="*/ 2147483647 h 262"/>
              <a:gd name="T66" fmla="*/ 2147483647 w 383"/>
              <a:gd name="T67" fmla="*/ 2147483647 h 262"/>
              <a:gd name="T68" fmla="*/ 2147483647 w 383"/>
              <a:gd name="T69" fmla="*/ 2147483647 h 262"/>
              <a:gd name="T70" fmla="*/ 2147483647 w 383"/>
              <a:gd name="T71" fmla="*/ 2147483647 h 262"/>
              <a:gd name="T72" fmla="*/ 2147483647 w 383"/>
              <a:gd name="T73" fmla="*/ 2147483647 h 262"/>
              <a:gd name="T74" fmla="*/ 2147483647 w 383"/>
              <a:gd name="T75" fmla="*/ 2147483647 h 262"/>
              <a:gd name="T76" fmla="*/ 2147483647 w 383"/>
              <a:gd name="T77" fmla="*/ 2147483647 h 262"/>
              <a:gd name="T78" fmla="*/ 2147483647 w 383"/>
              <a:gd name="T79" fmla="*/ 2147483647 h 262"/>
              <a:gd name="T80" fmla="*/ 2147483647 w 383"/>
              <a:gd name="T81" fmla="*/ 2147483647 h 262"/>
              <a:gd name="T82" fmla="*/ 2147483647 w 383"/>
              <a:gd name="T83" fmla="*/ 2147483647 h 262"/>
              <a:gd name="T84" fmla="*/ 2147483647 w 383"/>
              <a:gd name="T85" fmla="*/ 2147483647 h 262"/>
              <a:gd name="T86" fmla="*/ 2147483647 w 383"/>
              <a:gd name="T87" fmla="*/ 2147483647 h 2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83"/>
              <a:gd name="T133" fmla="*/ 0 h 262"/>
              <a:gd name="T134" fmla="*/ 383 w 383"/>
              <a:gd name="T135" fmla="*/ 262 h 2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83" h="262">
                <a:moveTo>
                  <a:pt x="373" y="190"/>
                </a:moveTo>
                <a:cubicBezTo>
                  <a:pt x="361" y="180"/>
                  <a:pt x="345" y="172"/>
                  <a:pt x="335" y="169"/>
                </a:cubicBezTo>
                <a:cubicBezTo>
                  <a:pt x="335" y="168"/>
                  <a:pt x="335" y="167"/>
                  <a:pt x="335" y="165"/>
                </a:cubicBezTo>
                <a:cubicBezTo>
                  <a:pt x="335" y="165"/>
                  <a:pt x="335" y="164"/>
                  <a:pt x="335" y="163"/>
                </a:cubicBezTo>
                <a:cubicBezTo>
                  <a:pt x="335" y="163"/>
                  <a:pt x="335" y="162"/>
                  <a:pt x="335" y="161"/>
                </a:cubicBezTo>
                <a:cubicBezTo>
                  <a:pt x="335" y="139"/>
                  <a:pt x="334" y="100"/>
                  <a:pt x="328" y="80"/>
                </a:cubicBezTo>
                <a:cubicBezTo>
                  <a:pt x="327" y="76"/>
                  <a:pt x="323" y="74"/>
                  <a:pt x="319" y="75"/>
                </a:cubicBezTo>
                <a:cubicBezTo>
                  <a:pt x="314" y="76"/>
                  <a:pt x="312" y="80"/>
                  <a:pt x="313" y="84"/>
                </a:cubicBezTo>
                <a:cubicBezTo>
                  <a:pt x="314" y="89"/>
                  <a:pt x="315" y="96"/>
                  <a:pt x="316" y="103"/>
                </a:cubicBezTo>
                <a:cubicBezTo>
                  <a:pt x="296" y="67"/>
                  <a:pt x="258" y="29"/>
                  <a:pt x="181" y="29"/>
                </a:cubicBezTo>
                <a:cubicBezTo>
                  <a:pt x="177" y="29"/>
                  <a:pt x="174" y="29"/>
                  <a:pt x="170" y="29"/>
                </a:cubicBezTo>
                <a:cubicBezTo>
                  <a:pt x="83" y="33"/>
                  <a:pt x="62" y="119"/>
                  <a:pt x="55" y="148"/>
                </a:cubicBezTo>
                <a:cubicBezTo>
                  <a:pt x="54" y="152"/>
                  <a:pt x="57" y="156"/>
                  <a:pt x="61" y="157"/>
                </a:cubicBezTo>
                <a:cubicBezTo>
                  <a:pt x="65" y="158"/>
                  <a:pt x="70" y="156"/>
                  <a:pt x="71" y="151"/>
                </a:cubicBezTo>
                <a:cubicBezTo>
                  <a:pt x="82" y="107"/>
                  <a:pt x="104" y="48"/>
                  <a:pt x="171" y="45"/>
                </a:cubicBezTo>
                <a:cubicBezTo>
                  <a:pt x="299" y="40"/>
                  <a:pt x="317" y="142"/>
                  <a:pt x="319" y="161"/>
                </a:cubicBezTo>
                <a:cubicBezTo>
                  <a:pt x="319" y="162"/>
                  <a:pt x="319" y="162"/>
                  <a:pt x="319" y="162"/>
                </a:cubicBezTo>
                <a:cubicBezTo>
                  <a:pt x="319" y="164"/>
                  <a:pt x="319" y="166"/>
                  <a:pt x="319" y="168"/>
                </a:cubicBezTo>
                <a:cubicBezTo>
                  <a:pt x="315" y="170"/>
                  <a:pt x="301" y="177"/>
                  <a:pt x="278" y="185"/>
                </a:cubicBezTo>
                <a:cubicBezTo>
                  <a:pt x="275" y="181"/>
                  <a:pt x="270" y="179"/>
                  <a:pt x="265" y="179"/>
                </a:cubicBezTo>
                <a:cubicBezTo>
                  <a:pt x="264" y="179"/>
                  <a:pt x="263" y="179"/>
                  <a:pt x="261" y="179"/>
                </a:cubicBezTo>
                <a:cubicBezTo>
                  <a:pt x="224" y="189"/>
                  <a:pt x="224" y="189"/>
                  <a:pt x="224" y="189"/>
                </a:cubicBezTo>
                <a:cubicBezTo>
                  <a:pt x="220" y="190"/>
                  <a:pt x="216" y="193"/>
                  <a:pt x="214" y="196"/>
                </a:cubicBezTo>
                <a:cubicBezTo>
                  <a:pt x="214" y="197"/>
                  <a:pt x="213" y="199"/>
                  <a:pt x="213" y="200"/>
                </a:cubicBezTo>
                <a:cubicBezTo>
                  <a:pt x="190" y="203"/>
                  <a:pt x="167" y="205"/>
                  <a:pt x="145" y="204"/>
                </a:cubicBezTo>
                <a:cubicBezTo>
                  <a:pt x="143" y="198"/>
                  <a:pt x="137" y="192"/>
                  <a:pt x="130" y="191"/>
                </a:cubicBezTo>
                <a:cubicBezTo>
                  <a:pt x="89" y="188"/>
                  <a:pt x="89" y="188"/>
                  <a:pt x="89" y="188"/>
                </a:cubicBezTo>
                <a:cubicBezTo>
                  <a:pt x="82" y="187"/>
                  <a:pt x="77" y="190"/>
                  <a:pt x="73" y="195"/>
                </a:cubicBezTo>
                <a:cubicBezTo>
                  <a:pt x="60" y="192"/>
                  <a:pt x="47" y="189"/>
                  <a:pt x="34" y="184"/>
                </a:cubicBezTo>
                <a:cubicBezTo>
                  <a:pt x="36" y="155"/>
                  <a:pt x="50" y="23"/>
                  <a:pt x="166" y="18"/>
                </a:cubicBezTo>
                <a:cubicBezTo>
                  <a:pt x="207" y="16"/>
                  <a:pt x="248" y="21"/>
                  <a:pt x="288" y="32"/>
                </a:cubicBezTo>
                <a:cubicBezTo>
                  <a:pt x="290" y="32"/>
                  <a:pt x="290" y="32"/>
                  <a:pt x="290" y="32"/>
                </a:cubicBezTo>
                <a:cubicBezTo>
                  <a:pt x="298" y="35"/>
                  <a:pt x="304" y="43"/>
                  <a:pt x="308" y="59"/>
                </a:cubicBezTo>
                <a:cubicBezTo>
                  <a:pt x="309" y="63"/>
                  <a:pt x="314" y="65"/>
                  <a:pt x="318" y="64"/>
                </a:cubicBezTo>
                <a:cubicBezTo>
                  <a:pt x="322" y="63"/>
                  <a:pt x="325" y="59"/>
                  <a:pt x="324" y="55"/>
                </a:cubicBezTo>
                <a:cubicBezTo>
                  <a:pt x="318" y="34"/>
                  <a:pt x="309" y="21"/>
                  <a:pt x="294" y="17"/>
                </a:cubicBezTo>
                <a:cubicBezTo>
                  <a:pt x="293" y="16"/>
                  <a:pt x="293" y="16"/>
                  <a:pt x="293" y="16"/>
                </a:cubicBezTo>
                <a:cubicBezTo>
                  <a:pt x="251" y="5"/>
                  <a:pt x="208" y="0"/>
                  <a:pt x="166" y="2"/>
                </a:cubicBezTo>
                <a:cubicBezTo>
                  <a:pt x="31" y="7"/>
                  <a:pt x="19" y="163"/>
                  <a:pt x="18" y="186"/>
                </a:cubicBezTo>
                <a:cubicBezTo>
                  <a:pt x="7" y="200"/>
                  <a:pt x="7" y="200"/>
                  <a:pt x="7" y="200"/>
                </a:cubicBezTo>
                <a:cubicBezTo>
                  <a:pt x="2" y="207"/>
                  <a:pt x="0" y="214"/>
                  <a:pt x="3" y="221"/>
                </a:cubicBezTo>
                <a:cubicBezTo>
                  <a:pt x="9" y="237"/>
                  <a:pt x="33" y="246"/>
                  <a:pt x="54" y="249"/>
                </a:cubicBezTo>
                <a:cubicBezTo>
                  <a:pt x="72" y="252"/>
                  <a:pt x="86" y="253"/>
                  <a:pt x="100" y="253"/>
                </a:cubicBezTo>
                <a:cubicBezTo>
                  <a:pt x="111" y="254"/>
                  <a:pt x="121" y="254"/>
                  <a:pt x="131" y="256"/>
                </a:cubicBezTo>
                <a:cubicBezTo>
                  <a:pt x="137" y="257"/>
                  <a:pt x="137" y="257"/>
                  <a:pt x="137" y="257"/>
                </a:cubicBezTo>
                <a:cubicBezTo>
                  <a:pt x="155" y="259"/>
                  <a:pt x="182" y="262"/>
                  <a:pt x="224" y="262"/>
                </a:cubicBezTo>
                <a:cubicBezTo>
                  <a:pt x="234" y="262"/>
                  <a:pt x="246" y="262"/>
                  <a:pt x="258" y="262"/>
                </a:cubicBezTo>
                <a:cubicBezTo>
                  <a:pt x="354" y="258"/>
                  <a:pt x="375" y="229"/>
                  <a:pt x="379" y="216"/>
                </a:cubicBezTo>
                <a:cubicBezTo>
                  <a:pt x="383" y="207"/>
                  <a:pt x="380" y="197"/>
                  <a:pt x="373" y="190"/>
                </a:cubicBezTo>
                <a:close/>
                <a:moveTo>
                  <a:pt x="265" y="193"/>
                </a:moveTo>
                <a:cubicBezTo>
                  <a:pt x="268" y="202"/>
                  <a:pt x="268" y="202"/>
                  <a:pt x="268" y="202"/>
                </a:cubicBezTo>
                <a:cubicBezTo>
                  <a:pt x="231" y="212"/>
                  <a:pt x="231" y="212"/>
                  <a:pt x="231" y="212"/>
                </a:cubicBezTo>
                <a:cubicBezTo>
                  <a:pt x="230" y="212"/>
                  <a:pt x="228" y="203"/>
                  <a:pt x="228" y="203"/>
                </a:cubicBezTo>
                <a:lnTo>
                  <a:pt x="265" y="193"/>
                </a:lnTo>
                <a:close/>
                <a:moveTo>
                  <a:pt x="87" y="203"/>
                </a:moveTo>
                <a:cubicBezTo>
                  <a:pt x="87" y="203"/>
                  <a:pt x="87" y="202"/>
                  <a:pt x="88" y="202"/>
                </a:cubicBezTo>
                <a:cubicBezTo>
                  <a:pt x="88" y="202"/>
                  <a:pt x="88" y="202"/>
                  <a:pt x="88" y="202"/>
                </a:cubicBezTo>
                <a:cubicBezTo>
                  <a:pt x="129" y="206"/>
                  <a:pt x="129" y="206"/>
                  <a:pt x="129" y="206"/>
                </a:cubicBezTo>
                <a:cubicBezTo>
                  <a:pt x="129" y="206"/>
                  <a:pt x="129" y="206"/>
                  <a:pt x="129" y="207"/>
                </a:cubicBezTo>
                <a:cubicBezTo>
                  <a:pt x="129" y="214"/>
                  <a:pt x="129" y="214"/>
                  <a:pt x="129" y="214"/>
                </a:cubicBezTo>
                <a:cubicBezTo>
                  <a:pt x="129" y="215"/>
                  <a:pt x="128" y="215"/>
                  <a:pt x="128" y="215"/>
                </a:cubicBezTo>
                <a:cubicBezTo>
                  <a:pt x="87" y="211"/>
                  <a:pt x="87" y="211"/>
                  <a:pt x="87" y="211"/>
                </a:cubicBezTo>
                <a:cubicBezTo>
                  <a:pt x="87" y="211"/>
                  <a:pt x="87" y="211"/>
                  <a:pt x="87" y="211"/>
                </a:cubicBezTo>
                <a:cubicBezTo>
                  <a:pt x="86" y="211"/>
                  <a:pt x="86" y="211"/>
                  <a:pt x="86" y="210"/>
                </a:cubicBezTo>
                <a:lnTo>
                  <a:pt x="87" y="203"/>
                </a:lnTo>
                <a:close/>
                <a:moveTo>
                  <a:pt x="364" y="211"/>
                </a:moveTo>
                <a:cubicBezTo>
                  <a:pt x="359" y="225"/>
                  <a:pt x="328" y="243"/>
                  <a:pt x="258" y="246"/>
                </a:cubicBezTo>
                <a:cubicBezTo>
                  <a:pt x="197" y="248"/>
                  <a:pt x="162" y="244"/>
                  <a:pt x="139" y="241"/>
                </a:cubicBezTo>
                <a:cubicBezTo>
                  <a:pt x="133" y="240"/>
                  <a:pt x="133" y="240"/>
                  <a:pt x="133" y="240"/>
                </a:cubicBezTo>
                <a:cubicBezTo>
                  <a:pt x="122" y="238"/>
                  <a:pt x="112" y="238"/>
                  <a:pt x="101" y="237"/>
                </a:cubicBezTo>
                <a:cubicBezTo>
                  <a:pt x="88" y="237"/>
                  <a:pt x="74" y="236"/>
                  <a:pt x="57" y="233"/>
                </a:cubicBezTo>
                <a:cubicBezTo>
                  <a:pt x="35" y="230"/>
                  <a:pt x="20" y="222"/>
                  <a:pt x="18" y="215"/>
                </a:cubicBezTo>
                <a:cubicBezTo>
                  <a:pt x="18" y="215"/>
                  <a:pt x="17" y="213"/>
                  <a:pt x="19" y="210"/>
                </a:cubicBezTo>
                <a:cubicBezTo>
                  <a:pt x="28" y="199"/>
                  <a:pt x="28" y="199"/>
                  <a:pt x="28" y="199"/>
                </a:cubicBezTo>
                <a:cubicBezTo>
                  <a:pt x="42" y="204"/>
                  <a:pt x="56" y="208"/>
                  <a:pt x="70" y="211"/>
                </a:cubicBezTo>
                <a:cubicBezTo>
                  <a:pt x="71" y="214"/>
                  <a:pt x="72" y="218"/>
                  <a:pt x="74" y="220"/>
                </a:cubicBezTo>
                <a:cubicBezTo>
                  <a:pt x="77" y="224"/>
                  <a:pt x="81" y="226"/>
                  <a:pt x="86" y="226"/>
                </a:cubicBezTo>
                <a:cubicBezTo>
                  <a:pt x="127" y="230"/>
                  <a:pt x="127" y="230"/>
                  <a:pt x="127" y="230"/>
                </a:cubicBezTo>
                <a:cubicBezTo>
                  <a:pt x="127" y="230"/>
                  <a:pt x="128" y="230"/>
                  <a:pt x="128" y="230"/>
                </a:cubicBezTo>
                <a:cubicBezTo>
                  <a:pt x="135" y="230"/>
                  <a:pt x="140" y="226"/>
                  <a:pt x="143" y="220"/>
                </a:cubicBezTo>
                <a:cubicBezTo>
                  <a:pt x="146" y="220"/>
                  <a:pt x="149" y="221"/>
                  <a:pt x="152" y="221"/>
                </a:cubicBezTo>
                <a:cubicBezTo>
                  <a:pt x="172" y="221"/>
                  <a:pt x="194" y="219"/>
                  <a:pt x="215" y="216"/>
                </a:cubicBezTo>
                <a:cubicBezTo>
                  <a:pt x="217" y="221"/>
                  <a:pt x="223" y="225"/>
                  <a:pt x="229" y="225"/>
                </a:cubicBezTo>
                <a:cubicBezTo>
                  <a:pt x="231" y="225"/>
                  <a:pt x="232" y="225"/>
                  <a:pt x="234" y="225"/>
                </a:cubicBezTo>
                <a:cubicBezTo>
                  <a:pt x="271" y="215"/>
                  <a:pt x="271" y="215"/>
                  <a:pt x="271" y="215"/>
                </a:cubicBezTo>
                <a:cubicBezTo>
                  <a:pt x="278" y="213"/>
                  <a:pt x="282" y="207"/>
                  <a:pt x="283" y="200"/>
                </a:cubicBezTo>
                <a:cubicBezTo>
                  <a:pt x="305" y="193"/>
                  <a:pt x="319" y="186"/>
                  <a:pt x="326" y="182"/>
                </a:cubicBezTo>
                <a:cubicBezTo>
                  <a:pt x="333" y="185"/>
                  <a:pt x="351" y="191"/>
                  <a:pt x="363" y="202"/>
                </a:cubicBezTo>
                <a:cubicBezTo>
                  <a:pt x="365" y="204"/>
                  <a:pt x="365" y="207"/>
                  <a:pt x="364" y="211"/>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214" name="Freeform 3"/>
          <p:cNvSpPr>
            <a:spLocks noChangeAspect="1" noEditPoints="1"/>
          </p:cNvSpPr>
          <p:nvPr/>
        </p:nvSpPr>
        <p:spPr bwMode="auto">
          <a:xfrm>
            <a:off x="7823804" y="1597025"/>
            <a:ext cx="543133" cy="374650"/>
          </a:xfrm>
          <a:custGeom>
            <a:avLst/>
            <a:gdLst>
              <a:gd name="T0" fmla="*/ 2147483647 w 486"/>
              <a:gd name="T1" fmla="*/ 2147483647 h 290"/>
              <a:gd name="T2" fmla="*/ 2147483647 w 486"/>
              <a:gd name="T3" fmla="*/ 2147483647 h 290"/>
              <a:gd name="T4" fmla="*/ 2147483647 w 486"/>
              <a:gd name="T5" fmla="*/ 2147483647 h 290"/>
              <a:gd name="T6" fmla="*/ 2147483647 w 486"/>
              <a:gd name="T7" fmla="*/ 2147483647 h 290"/>
              <a:gd name="T8" fmla="*/ 2147483647 w 486"/>
              <a:gd name="T9" fmla="*/ 2147483647 h 290"/>
              <a:gd name="T10" fmla="*/ 2147483647 w 486"/>
              <a:gd name="T11" fmla="*/ 2147483647 h 290"/>
              <a:gd name="T12" fmla="*/ 2147483647 w 486"/>
              <a:gd name="T13" fmla="*/ 2147483647 h 290"/>
              <a:gd name="T14" fmla="*/ 2147483647 w 486"/>
              <a:gd name="T15" fmla="*/ 2147483647 h 290"/>
              <a:gd name="T16" fmla="*/ 2147483647 w 486"/>
              <a:gd name="T17" fmla="*/ 2147483647 h 290"/>
              <a:gd name="T18" fmla="*/ 2147483647 w 486"/>
              <a:gd name="T19" fmla="*/ 2147483647 h 290"/>
              <a:gd name="T20" fmla="*/ 2147483647 w 486"/>
              <a:gd name="T21" fmla="*/ 2147483647 h 290"/>
              <a:gd name="T22" fmla="*/ 2147483647 w 486"/>
              <a:gd name="T23" fmla="*/ 2147483647 h 290"/>
              <a:gd name="T24" fmla="*/ 2147483647 w 486"/>
              <a:gd name="T25" fmla="*/ 2147483647 h 290"/>
              <a:gd name="T26" fmla="*/ 2147483647 w 486"/>
              <a:gd name="T27" fmla="*/ 2147483647 h 290"/>
              <a:gd name="T28" fmla="*/ 2147483647 w 486"/>
              <a:gd name="T29" fmla="*/ 2147483647 h 290"/>
              <a:gd name="T30" fmla="*/ 2147483647 w 486"/>
              <a:gd name="T31" fmla="*/ 2147483647 h 290"/>
              <a:gd name="T32" fmla="*/ 2147483647 w 486"/>
              <a:gd name="T33" fmla="*/ 2147483647 h 290"/>
              <a:gd name="T34" fmla="*/ 2147483647 w 486"/>
              <a:gd name="T35" fmla="*/ 2147483647 h 290"/>
              <a:gd name="T36" fmla="*/ 2147483647 w 486"/>
              <a:gd name="T37" fmla="*/ 2147483647 h 290"/>
              <a:gd name="T38" fmla="*/ 2147483647 w 486"/>
              <a:gd name="T39" fmla="*/ 2147483647 h 290"/>
              <a:gd name="T40" fmla="*/ 2147483647 w 486"/>
              <a:gd name="T41" fmla="*/ 2147483647 h 290"/>
              <a:gd name="T42" fmla="*/ 2147483647 w 486"/>
              <a:gd name="T43" fmla="*/ 2147483647 h 290"/>
              <a:gd name="T44" fmla="*/ 2147483647 w 486"/>
              <a:gd name="T45" fmla="*/ 2147483647 h 290"/>
              <a:gd name="T46" fmla="*/ 2147483647 w 486"/>
              <a:gd name="T47" fmla="*/ 2147483647 h 290"/>
              <a:gd name="T48" fmla="*/ 2147483647 w 486"/>
              <a:gd name="T49" fmla="*/ 2147483647 h 290"/>
              <a:gd name="T50" fmla="*/ 2147483647 w 486"/>
              <a:gd name="T51" fmla="*/ 2147483647 h 290"/>
              <a:gd name="T52" fmla="*/ 2147483647 w 486"/>
              <a:gd name="T53" fmla="*/ 2147483647 h 290"/>
              <a:gd name="T54" fmla="*/ 2147483647 w 486"/>
              <a:gd name="T55" fmla="*/ 2147483647 h 290"/>
              <a:gd name="T56" fmla="*/ 2147483647 w 486"/>
              <a:gd name="T57" fmla="*/ 2147483647 h 290"/>
              <a:gd name="T58" fmla="*/ 2147483647 w 486"/>
              <a:gd name="T59" fmla="*/ 2147483647 h 290"/>
              <a:gd name="T60" fmla="*/ 2147483647 w 486"/>
              <a:gd name="T61" fmla="*/ 2147483647 h 290"/>
              <a:gd name="T62" fmla="*/ 2147483647 w 486"/>
              <a:gd name="T63" fmla="*/ 2147483647 h 290"/>
              <a:gd name="T64" fmla="*/ 2147483647 w 486"/>
              <a:gd name="T65" fmla="*/ 2147483647 h 290"/>
              <a:gd name="T66" fmla="*/ 2147483647 w 486"/>
              <a:gd name="T67" fmla="*/ 2147483647 h 290"/>
              <a:gd name="T68" fmla="*/ 2147483647 w 486"/>
              <a:gd name="T69" fmla="*/ 2147483647 h 290"/>
              <a:gd name="T70" fmla="*/ 2147483647 w 486"/>
              <a:gd name="T71" fmla="*/ 2147483647 h 290"/>
              <a:gd name="T72" fmla="*/ 2147483647 w 486"/>
              <a:gd name="T73" fmla="*/ 2147483647 h 290"/>
              <a:gd name="T74" fmla="*/ 2147483647 w 486"/>
              <a:gd name="T75" fmla="*/ 2147483647 h 290"/>
              <a:gd name="T76" fmla="*/ 2147483647 w 486"/>
              <a:gd name="T77" fmla="*/ 2147483647 h 290"/>
              <a:gd name="T78" fmla="*/ 2147483647 w 486"/>
              <a:gd name="T79" fmla="*/ 2147483647 h 290"/>
              <a:gd name="T80" fmla="*/ 2147483647 w 486"/>
              <a:gd name="T81" fmla="*/ 2147483647 h 290"/>
              <a:gd name="T82" fmla="*/ 2147483647 w 486"/>
              <a:gd name="T83" fmla="*/ 2147483647 h 290"/>
              <a:gd name="T84" fmla="*/ 2147483647 w 486"/>
              <a:gd name="T85" fmla="*/ 2147483647 h 290"/>
              <a:gd name="T86" fmla="*/ 2147483647 w 486"/>
              <a:gd name="T87" fmla="*/ 2147483647 h 290"/>
              <a:gd name="T88" fmla="*/ 2147483647 w 486"/>
              <a:gd name="T89" fmla="*/ 2147483647 h 290"/>
              <a:gd name="T90" fmla="*/ 2147483647 w 486"/>
              <a:gd name="T91" fmla="*/ 2147483647 h 290"/>
              <a:gd name="T92" fmla="*/ 2147483647 w 486"/>
              <a:gd name="T93" fmla="*/ 2147483647 h 290"/>
              <a:gd name="T94" fmla="*/ 2147483647 w 486"/>
              <a:gd name="T95" fmla="*/ 2147483647 h 290"/>
              <a:gd name="T96" fmla="*/ 2147483647 w 486"/>
              <a:gd name="T97" fmla="*/ 2147483647 h 290"/>
              <a:gd name="T98" fmla="*/ 2147483647 w 486"/>
              <a:gd name="T99" fmla="*/ 2147483647 h 290"/>
              <a:gd name="T100" fmla="*/ 2147483647 w 486"/>
              <a:gd name="T101" fmla="*/ 2147483647 h 290"/>
              <a:gd name="T102" fmla="*/ 2147483647 w 486"/>
              <a:gd name="T103" fmla="*/ 2147483647 h 2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6"/>
              <a:gd name="T157" fmla="*/ 0 h 290"/>
              <a:gd name="T158" fmla="*/ 486 w 486"/>
              <a:gd name="T159" fmla="*/ 290 h 29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6" h="290">
                <a:moveTo>
                  <a:pt x="408" y="62"/>
                </a:moveTo>
                <a:cubicBezTo>
                  <a:pt x="414" y="65"/>
                  <a:pt x="421" y="66"/>
                  <a:pt x="426" y="66"/>
                </a:cubicBezTo>
                <a:cubicBezTo>
                  <a:pt x="478" y="66"/>
                  <a:pt x="478" y="66"/>
                  <a:pt x="478" y="66"/>
                </a:cubicBezTo>
                <a:cubicBezTo>
                  <a:pt x="483" y="66"/>
                  <a:pt x="486" y="63"/>
                  <a:pt x="486" y="58"/>
                </a:cubicBezTo>
                <a:cubicBezTo>
                  <a:pt x="486" y="54"/>
                  <a:pt x="483" y="50"/>
                  <a:pt x="478" y="50"/>
                </a:cubicBezTo>
                <a:cubicBezTo>
                  <a:pt x="426" y="50"/>
                  <a:pt x="426" y="50"/>
                  <a:pt x="426" y="50"/>
                </a:cubicBezTo>
                <a:cubicBezTo>
                  <a:pt x="424" y="50"/>
                  <a:pt x="418" y="49"/>
                  <a:pt x="413" y="47"/>
                </a:cubicBezTo>
                <a:cubicBezTo>
                  <a:pt x="409" y="46"/>
                  <a:pt x="405" y="48"/>
                  <a:pt x="403" y="52"/>
                </a:cubicBezTo>
                <a:cubicBezTo>
                  <a:pt x="402" y="56"/>
                  <a:pt x="404" y="61"/>
                  <a:pt x="408" y="62"/>
                </a:cubicBezTo>
                <a:close/>
                <a:moveTo>
                  <a:pt x="478" y="189"/>
                </a:moveTo>
                <a:cubicBezTo>
                  <a:pt x="424" y="189"/>
                  <a:pt x="424" y="189"/>
                  <a:pt x="424" y="189"/>
                </a:cubicBezTo>
                <a:cubicBezTo>
                  <a:pt x="408" y="173"/>
                  <a:pt x="344" y="106"/>
                  <a:pt x="327" y="91"/>
                </a:cubicBezTo>
                <a:cubicBezTo>
                  <a:pt x="311" y="76"/>
                  <a:pt x="276" y="71"/>
                  <a:pt x="245" y="66"/>
                </a:cubicBezTo>
                <a:cubicBezTo>
                  <a:pt x="235" y="64"/>
                  <a:pt x="225" y="62"/>
                  <a:pt x="218" y="61"/>
                </a:cubicBezTo>
                <a:cubicBezTo>
                  <a:pt x="196" y="56"/>
                  <a:pt x="184" y="68"/>
                  <a:pt x="178" y="74"/>
                </a:cubicBezTo>
                <a:cubicBezTo>
                  <a:pt x="177" y="75"/>
                  <a:pt x="176" y="76"/>
                  <a:pt x="176" y="76"/>
                </a:cubicBezTo>
                <a:cubicBezTo>
                  <a:pt x="175" y="77"/>
                  <a:pt x="174" y="77"/>
                  <a:pt x="174" y="78"/>
                </a:cubicBezTo>
                <a:cubicBezTo>
                  <a:pt x="167" y="83"/>
                  <a:pt x="151" y="98"/>
                  <a:pt x="130" y="99"/>
                </a:cubicBezTo>
                <a:cubicBezTo>
                  <a:pt x="126" y="100"/>
                  <a:pt x="118" y="99"/>
                  <a:pt x="117" y="95"/>
                </a:cubicBezTo>
                <a:cubicBezTo>
                  <a:pt x="115" y="92"/>
                  <a:pt x="117" y="88"/>
                  <a:pt x="117" y="87"/>
                </a:cubicBezTo>
                <a:cubicBezTo>
                  <a:pt x="119" y="86"/>
                  <a:pt x="125" y="82"/>
                  <a:pt x="131" y="78"/>
                </a:cubicBezTo>
                <a:cubicBezTo>
                  <a:pt x="140" y="71"/>
                  <a:pt x="154" y="62"/>
                  <a:pt x="164" y="54"/>
                </a:cubicBezTo>
                <a:cubicBezTo>
                  <a:pt x="179" y="42"/>
                  <a:pt x="212" y="23"/>
                  <a:pt x="222" y="19"/>
                </a:cubicBezTo>
                <a:cubicBezTo>
                  <a:pt x="228" y="17"/>
                  <a:pt x="267" y="19"/>
                  <a:pt x="299" y="22"/>
                </a:cubicBezTo>
                <a:cubicBezTo>
                  <a:pt x="313" y="23"/>
                  <a:pt x="329" y="25"/>
                  <a:pt x="332" y="26"/>
                </a:cubicBezTo>
                <a:cubicBezTo>
                  <a:pt x="337" y="28"/>
                  <a:pt x="375" y="46"/>
                  <a:pt x="377" y="47"/>
                </a:cubicBezTo>
                <a:cubicBezTo>
                  <a:pt x="378" y="48"/>
                  <a:pt x="379" y="48"/>
                  <a:pt x="380" y="48"/>
                </a:cubicBezTo>
                <a:cubicBezTo>
                  <a:pt x="385" y="48"/>
                  <a:pt x="388" y="44"/>
                  <a:pt x="388" y="40"/>
                </a:cubicBezTo>
                <a:cubicBezTo>
                  <a:pt x="388" y="37"/>
                  <a:pt x="387" y="35"/>
                  <a:pt x="384" y="33"/>
                </a:cubicBezTo>
                <a:cubicBezTo>
                  <a:pt x="384" y="33"/>
                  <a:pt x="384" y="33"/>
                  <a:pt x="384" y="33"/>
                </a:cubicBezTo>
                <a:cubicBezTo>
                  <a:pt x="384" y="33"/>
                  <a:pt x="384" y="33"/>
                  <a:pt x="384" y="33"/>
                </a:cubicBezTo>
                <a:cubicBezTo>
                  <a:pt x="383" y="33"/>
                  <a:pt x="383" y="33"/>
                  <a:pt x="383" y="33"/>
                </a:cubicBezTo>
                <a:cubicBezTo>
                  <a:pt x="377" y="30"/>
                  <a:pt x="342" y="13"/>
                  <a:pt x="339" y="11"/>
                </a:cubicBezTo>
                <a:cubicBezTo>
                  <a:pt x="337" y="11"/>
                  <a:pt x="333" y="9"/>
                  <a:pt x="301" y="6"/>
                </a:cubicBezTo>
                <a:cubicBezTo>
                  <a:pt x="284" y="4"/>
                  <a:pt x="228" y="0"/>
                  <a:pt x="217" y="4"/>
                </a:cubicBezTo>
                <a:cubicBezTo>
                  <a:pt x="204" y="9"/>
                  <a:pt x="170" y="29"/>
                  <a:pt x="154" y="42"/>
                </a:cubicBezTo>
                <a:cubicBezTo>
                  <a:pt x="151" y="44"/>
                  <a:pt x="148" y="46"/>
                  <a:pt x="145" y="49"/>
                </a:cubicBezTo>
                <a:cubicBezTo>
                  <a:pt x="123" y="49"/>
                  <a:pt x="105" y="56"/>
                  <a:pt x="87" y="63"/>
                </a:cubicBezTo>
                <a:cubicBezTo>
                  <a:pt x="68" y="71"/>
                  <a:pt x="52" y="77"/>
                  <a:pt x="37" y="77"/>
                </a:cubicBezTo>
                <a:cubicBezTo>
                  <a:pt x="8" y="77"/>
                  <a:pt x="8" y="77"/>
                  <a:pt x="8" y="77"/>
                </a:cubicBezTo>
                <a:cubicBezTo>
                  <a:pt x="3" y="77"/>
                  <a:pt x="0" y="81"/>
                  <a:pt x="0" y="85"/>
                </a:cubicBezTo>
                <a:cubicBezTo>
                  <a:pt x="0" y="90"/>
                  <a:pt x="3" y="93"/>
                  <a:pt x="8" y="93"/>
                </a:cubicBezTo>
                <a:cubicBezTo>
                  <a:pt x="37" y="93"/>
                  <a:pt x="37" y="93"/>
                  <a:pt x="37" y="93"/>
                </a:cubicBezTo>
                <a:cubicBezTo>
                  <a:pt x="56" y="93"/>
                  <a:pt x="75" y="85"/>
                  <a:pt x="93" y="78"/>
                </a:cubicBezTo>
                <a:cubicBezTo>
                  <a:pt x="99" y="75"/>
                  <a:pt x="110" y="70"/>
                  <a:pt x="117" y="68"/>
                </a:cubicBezTo>
                <a:cubicBezTo>
                  <a:pt x="112" y="72"/>
                  <a:pt x="108" y="74"/>
                  <a:pt x="107" y="75"/>
                </a:cubicBezTo>
                <a:cubicBezTo>
                  <a:pt x="101" y="80"/>
                  <a:pt x="98" y="92"/>
                  <a:pt x="102" y="101"/>
                </a:cubicBezTo>
                <a:cubicBezTo>
                  <a:pt x="104" y="106"/>
                  <a:pt x="110" y="117"/>
                  <a:pt x="131" y="115"/>
                </a:cubicBezTo>
                <a:cubicBezTo>
                  <a:pt x="158" y="113"/>
                  <a:pt x="177" y="96"/>
                  <a:pt x="184" y="90"/>
                </a:cubicBezTo>
                <a:cubicBezTo>
                  <a:pt x="185" y="89"/>
                  <a:pt x="185" y="89"/>
                  <a:pt x="186" y="88"/>
                </a:cubicBezTo>
                <a:cubicBezTo>
                  <a:pt x="187" y="88"/>
                  <a:pt x="188" y="87"/>
                  <a:pt x="189" y="86"/>
                </a:cubicBezTo>
                <a:cubicBezTo>
                  <a:pt x="194" y="81"/>
                  <a:pt x="201" y="74"/>
                  <a:pt x="214" y="76"/>
                </a:cubicBezTo>
                <a:cubicBezTo>
                  <a:pt x="222" y="78"/>
                  <a:pt x="232" y="80"/>
                  <a:pt x="242" y="81"/>
                </a:cubicBezTo>
                <a:cubicBezTo>
                  <a:pt x="270" y="86"/>
                  <a:pt x="304" y="91"/>
                  <a:pt x="316" y="103"/>
                </a:cubicBezTo>
                <a:cubicBezTo>
                  <a:pt x="332" y="117"/>
                  <a:pt x="395" y="182"/>
                  <a:pt x="412" y="200"/>
                </a:cubicBezTo>
                <a:cubicBezTo>
                  <a:pt x="412" y="200"/>
                  <a:pt x="412" y="200"/>
                  <a:pt x="412" y="200"/>
                </a:cubicBezTo>
                <a:cubicBezTo>
                  <a:pt x="414" y="202"/>
                  <a:pt x="416" y="204"/>
                  <a:pt x="416" y="204"/>
                </a:cubicBezTo>
                <a:cubicBezTo>
                  <a:pt x="418" y="206"/>
                  <a:pt x="420" y="210"/>
                  <a:pt x="420" y="212"/>
                </a:cubicBezTo>
                <a:cubicBezTo>
                  <a:pt x="420" y="215"/>
                  <a:pt x="419" y="218"/>
                  <a:pt x="417" y="220"/>
                </a:cubicBezTo>
                <a:cubicBezTo>
                  <a:pt x="415" y="222"/>
                  <a:pt x="412" y="223"/>
                  <a:pt x="410" y="223"/>
                </a:cubicBezTo>
                <a:cubicBezTo>
                  <a:pt x="407" y="223"/>
                  <a:pt x="404" y="222"/>
                  <a:pt x="402" y="220"/>
                </a:cubicBezTo>
                <a:cubicBezTo>
                  <a:pt x="360" y="178"/>
                  <a:pt x="360" y="178"/>
                  <a:pt x="360" y="178"/>
                </a:cubicBezTo>
                <a:cubicBezTo>
                  <a:pt x="357" y="175"/>
                  <a:pt x="352" y="175"/>
                  <a:pt x="349" y="178"/>
                </a:cubicBezTo>
                <a:cubicBezTo>
                  <a:pt x="347" y="179"/>
                  <a:pt x="347" y="182"/>
                  <a:pt x="347" y="184"/>
                </a:cubicBezTo>
                <a:cubicBezTo>
                  <a:pt x="347" y="186"/>
                  <a:pt x="347" y="188"/>
                  <a:pt x="349" y="189"/>
                </a:cubicBezTo>
                <a:cubicBezTo>
                  <a:pt x="387" y="227"/>
                  <a:pt x="387" y="227"/>
                  <a:pt x="387" y="227"/>
                </a:cubicBezTo>
                <a:cubicBezTo>
                  <a:pt x="389" y="229"/>
                  <a:pt x="390" y="232"/>
                  <a:pt x="390" y="235"/>
                </a:cubicBezTo>
                <a:cubicBezTo>
                  <a:pt x="390" y="237"/>
                  <a:pt x="389" y="240"/>
                  <a:pt x="387" y="242"/>
                </a:cubicBezTo>
                <a:cubicBezTo>
                  <a:pt x="385" y="244"/>
                  <a:pt x="382" y="245"/>
                  <a:pt x="379" y="245"/>
                </a:cubicBezTo>
                <a:cubicBezTo>
                  <a:pt x="377" y="245"/>
                  <a:pt x="374" y="244"/>
                  <a:pt x="372" y="242"/>
                </a:cubicBezTo>
                <a:cubicBezTo>
                  <a:pt x="327" y="197"/>
                  <a:pt x="327" y="197"/>
                  <a:pt x="327" y="197"/>
                </a:cubicBezTo>
                <a:cubicBezTo>
                  <a:pt x="324" y="194"/>
                  <a:pt x="319" y="194"/>
                  <a:pt x="316" y="197"/>
                </a:cubicBezTo>
                <a:cubicBezTo>
                  <a:pt x="315" y="199"/>
                  <a:pt x="314" y="201"/>
                  <a:pt x="314" y="203"/>
                </a:cubicBezTo>
                <a:cubicBezTo>
                  <a:pt x="314" y="205"/>
                  <a:pt x="315" y="207"/>
                  <a:pt x="316" y="209"/>
                </a:cubicBezTo>
                <a:cubicBezTo>
                  <a:pt x="353" y="246"/>
                  <a:pt x="353" y="246"/>
                  <a:pt x="353" y="246"/>
                </a:cubicBezTo>
                <a:cubicBezTo>
                  <a:pt x="355" y="248"/>
                  <a:pt x="356" y="251"/>
                  <a:pt x="356" y="253"/>
                </a:cubicBezTo>
                <a:cubicBezTo>
                  <a:pt x="356" y="256"/>
                  <a:pt x="355" y="259"/>
                  <a:pt x="353" y="261"/>
                </a:cubicBezTo>
                <a:cubicBezTo>
                  <a:pt x="351" y="263"/>
                  <a:pt x="348" y="264"/>
                  <a:pt x="346" y="264"/>
                </a:cubicBezTo>
                <a:cubicBezTo>
                  <a:pt x="343" y="264"/>
                  <a:pt x="340" y="263"/>
                  <a:pt x="338" y="261"/>
                </a:cubicBezTo>
                <a:cubicBezTo>
                  <a:pt x="305" y="227"/>
                  <a:pt x="305" y="227"/>
                  <a:pt x="305" y="227"/>
                </a:cubicBezTo>
                <a:cubicBezTo>
                  <a:pt x="301" y="224"/>
                  <a:pt x="296" y="224"/>
                  <a:pt x="293" y="227"/>
                </a:cubicBezTo>
                <a:cubicBezTo>
                  <a:pt x="292" y="229"/>
                  <a:pt x="291" y="231"/>
                  <a:pt x="291" y="233"/>
                </a:cubicBezTo>
                <a:cubicBezTo>
                  <a:pt x="291" y="235"/>
                  <a:pt x="292" y="237"/>
                  <a:pt x="293" y="238"/>
                </a:cubicBezTo>
                <a:cubicBezTo>
                  <a:pt x="313" y="258"/>
                  <a:pt x="313" y="258"/>
                  <a:pt x="313" y="258"/>
                </a:cubicBezTo>
                <a:cubicBezTo>
                  <a:pt x="314" y="259"/>
                  <a:pt x="314" y="261"/>
                  <a:pt x="314" y="263"/>
                </a:cubicBezTo>
                <a:cubicBezTo>
                  <a:pt x="314" y="266"/>
                  <a:pt x="313" y="269"/>
                  <a:pt x="311" y="271"/>
                </a:cubicBezTo>
                <a:cubicBezTo>
                  <a:pt x="309" y="273"/>
                  <a:pt x="306" y="274"/>
                  <a:pt x="304" y="274"/>
                </a:cubicBezTo>
                <a:cubicBezTo>
                  <a:pt x="301" y="274"/>
                  <a:pt x="298" y="273"/>
                  <a:pt x="296" y="271"/>
                </a:cubicBezTo>
                <a:cubicBezTo>
                  <a:pt x="283" y="258"/>
                  <a:pt x="283" y="258"/>
                  <a:pt x="283" y="258"/>
                </a:cubicBezTo>
                <a:cubicBezTo>
                  <a:pt x="283" y="258"/>
                  <a:pt x="280" y="255"/>
                  <a:pt x="274" y="251"/>
                </a:cubicBezTo>
                <a:cubicBezTo>
                  <a:pt x="278" y="247"/>
                  <a:pt x="278" y="247"/>
                  <a:pt x="278" y="247"/>
                </a:cubicBezTo>
                <a:cubicBezTo>
                  <a:pt x="283" y="242"/>
                  <a:pt x="286" y="235"/>
                  <a:pt x="286" y="228"/>
                </a:cubicBezTo>
                <a:cubicBezTo>
                  <a:pt x="286" y="221"/>
                  <a:pt x="283" y="213"/>
                  <a:pt x="278" y="208"/>
                </a:cubicBezTo>
                <a:cubicBezTo>
                  <a:pt x="272" y="203"/>
                  <a:pt x="265" y="200"/>
                  <a:pt x="258" y="200"/>
                </a:cubicBezTo>
                <a:cubicBezTo>
                  <a:pt x="258" y="200"/>
                  <a:pt x="258" y="200"/>
                  <a:pt x="258" y="200"/>
                </a:cubicBezTo>
                <a:cubicBezTo>
                  <a:pt x="258" y="200"/>
                  <a:pt x="258" y="200"/>
                  <a:pt x="258" y="200"/>
                </a:cubicBezTo>
                <a:cubicBezTo>
                  <a:pt x="258" y="193"/>
                  <a:pt x="255" y="185"/>
                  <a:pt x="249" y="180"/>
                </a:cubicBezTo>
                <a:cubicBezTo>
                  <a:pt x="244" y="175"/>
                  <a:pt x="237" y="172"/>
                  <a:pt x="230" y="172"/>
                </a:cubicBezTo>
                <a:cubicBezTo>
                  <a:pt x="226" y="172"/>
                  <a:pt x="223" y="173"/>
                  <a:pt x="219" y="174"/>
                </a:cubicBezTo>
                <a:cubicBezTo>
                  <a:pt x="218" y="169"/>
                  <a:pt x="216" y="165"/>
                  <a:pt x="212" y="161"/>
                </a:cubicBezTo>
                <a:cubicBezTo>
                  <a:pt x="207" y="156"/>
                  <a:pt x="199" y="153"/>
                  <a:pt x="192" y="153"/>
                </a:cubicBezTo>
                <a:cubicBezTo>
                  <a:pt x="185" y="153"/>
                  <a:pt x="178" y="156"/>
                  <a:pt x="173" y="161"/>
                </a:cubicBezTo>
                <a:cubicBezTo>
                  <a:pt x="142" y="192"/>
                  <a:pt x="142" y="192"/>
                  <a:pt x="142" y="192"/>
                </a:cubicBezTo>
                <a:cubicBezTo>
                  <a:pt x="140" y="188"/>
                  <a:pt x="138" y="185"/>
                  <a:pt x="135" y="182"/>
                </a:cubicBezTo>
                <a:cubicBezTo>
                  <a:pt x="130" y="176"/>
                  <a:pt x="123" y="173"/>
                  <a:pt x="116" y="173"/>
                </a:cubicBezTo>
                <a:cubicBezTo>
                  <a:pt x="108" y="173"/>
                  <a:pt x="101" y="176"/>
                  <a:pt x="96" y="182"/>
                </a:cubicBezTo>
                <a:cubicBezTo>
                  <a:pt x="70" y="208"/>
                  <a:pt x="70" y="208"/>
                  <a:pt x="70" y="208"/>
                </a:cubicBezTo>
                <a:cubicBezTo>
                  <a:pt x="65" y="213"/>
                  <a:pt x="62" y="218"/>
                  <a:pt x="62" y="224"/>
                </a:cubicBezTo>
                <a:cubicBezTo>
                  <a:pt x="8" y="224"/>
                  <a:pt x="8" y="224"/>
                  <a:pt x="8" y="224"/>
                </a:cubicBezTo>
                <a:cubicBezTo>
                  <a:pt x="3" y="224"/>
                  <a:pt x="0" y="228"/>
                  <a:pt x="0" y="232"/>
                </a:cubicBezTo>
                <a:cubicBezTo>
                  <a:pt x="0" y="237"/>
                  <a:pt x="3" y="240"/>
                  <a:pt x="8" y="240"/>
                </a:cubicBezTo>
                <a:cubicBezTo>
                  <a:pt x="64" y="240"/>
                  <a:pt x="64" y="240"/>
                  <a:pt x="64" y="240"/>
                </a:cubicBezTo>
                <a:cubicBezTo>
                  <a:pt x="66" y="243"/>
                  <a:pt x="67" y="245"/>
                  <a:pt x="70" y="247"/>
                </a:cubicBezTo>
                <a:cubicBezTo>
                  <a:pt x="75" y="253"/>
                  <a:pt x="82" y="256"/>
                  <a:pt x="89" y="256"/>
                </a:cubicBezTo>
                <a:cubicBezTo>
                  <a:pt x="89" y="256"/>
                  <a:pt x="89" y="256"/>
                  <a:pt x="89" y="256"/>
                </a:cubicBezTo>
                <a:cubicBezTo>
                  <a:pt x="96" y="256"/>
                  <a:pt x="104" y="253"/>
                  <a:pt x="109" y="247"/>
                </a:cubicBezTo>
                <a:cubicBezTo>
                  <a:pt x="109" y="247"/>
                  <a:pt x="109" y="247"/>
                  <a:pt x="109" y="247"/>
                </a:cubicBezTo>
                <a:cubicBezTo>
                  <a:pt x="111" y="246"/>
                  <a:pt x="111" y="246"/>
                  <a:pt x="111" y="246"/>
                </a:cubicBezTo>
                <a:cubicBezTo>
                  <a:pt x="112" y="249"/>
                  <a:pt x="114" y="253"/>
                  <a:pt x="117" y="256"/>
                </a:cubicBezTo>
                <a:cubicBezTo>
                  <a:pt x="123" y="261"/>
                  <a:pt x="130" y="264"/>
                  <a:pt x="137" y="264"/>
                </a:cubicBezTo>
                <a:cubicBezTo>
                  <a:pt x="137" y="264"/>
                  <a:pt x="137" y="264"/>
                  <a:pt x="137" y="264"/>
                </a:cubicBezTo>
                <a:cubicBezTo>
                  <a:pt x="144" y="264"/>
                  <a:pt x="151" y="261"/>
                  <a:pt x="157" y="256"/>
                </a:cubicBezTo>
                <a:cubicBezTo>
                  <a:pt x="159" y="254"/>
                  <a:pt x="159" y="254"/>
                  <a:pt x="159" y="254"/>
                </a:cubicBezTo>
                <a:cubicBezTo>
                  <a:pt x="160" y="257"/>
                  <a:pt x="162" y="261"/>
                  <a:pt x="165" y="264"/>
                </a:cubicBezTo>
                <a:cubicBezTo>
                  <a:pt x="171" y="269"/>
                  <a:pt x="178" y="272"/>
                  <a:pt x="185" y="272"/>
                </a:cubicBezTo>
                <a:cubicBezTo>
                  <a:pt x="185" y="272"/>
                  <a:pt x="185" y="272"/>
                  <a:pt x="185" y="272"/>
                </a:cubicBezTo>
                <a:cubicBezTo>
                  <a:pt x="192" y="272"/>
                  <a:pt x="199" y="269"/>
                  <a:pt x="205" y="264"/>
                </a:cubicBezTo>
                <a:cubicBezTo>
                  <a:pt x="205" y="264"/>
                  <a:pt x="205" y="264"/>
                  <a:pt x="205" y="264"/>
                </a:cubicBezTo>
                <a:cubicBezTo>
                  <a:pt x="205" y="263"/>
                  <a:pt x="205" y="263"/>
                  <a:pt x="205" y="263"/>
                </a:cubicBezTo>
                <a:cubicBezTo>
                  <a:pt x="207" y="267"/>
                  <a:pt x="209" y="271"/>
                  <a:pt x="212" y="274"/>
                </a:cubicBezTo>
                <a:cubicBezTo>
                  <a:pt x="217" y="279"/>
                  <a:pt x="224" y="282"/>
                  <a:pt x="232" y="282"/>
                </a:cubicBezTo>
                <a:cubicBezTo>
                  <a:pt x="232" y="282"/>
                  <a:pt x="232" y="282"/>
                  <a:pt x="232" y="282"/>
                </a:cubicBezTo>
                <a:cubicBezTo>
                  <a:pt x="239" y="282"/>
                  <a:pt x="246" y="279"/>
                  <a:pt x="251" y="274"/>
                </a:cubicBezTo>
                <a:cubicBezTo>
                  <a:pt x="251" y="274"/>
                  <a:pt x="251" y="274"/>
                  <a:pt x="251" y="274"/>
                </a:cubicBezTo>
                <a:cubicBezTo>
                  <a:pt x="263" y="262"/>
                  <a:pt x="263" y="262"/>
                  <a:pt x="263" y="262"/>
                </a:cubicBezTo>
                <a:cubicBezTo>
                  <a:pt x="266" y="264"/>
                  <a:pt x="268" y="266"/>
                  <a:pt x="269" y="267"/>
                </a:cubicBezTo>
                <a:cubicBezTo>
                  <a:pt x="271" y="269"/>
                  <a:pt x="272" y="270"/>
                  <a:pt x="272" y="270"/>
                </a:cubicBezTo>
                <a:cubicBezTo>
                  <a:pt x="285" y="282"/>
                  <a:pt x="285" y="282"/>
                  <a:pt x="285" y="282"/>
                </a:cubicBezTo>
                <a:cubicBezTo>
                  <a:pt x="290" y="287"/>
                  <a:pt x="297" y="290"/>
                  <a:pt x="304" y="290"/>
                </a:cubicBezTo>
                <a:cubicBezTo>
                  <a:pt x="304" y="290"/>
                  <a:pt x="304" y="290"/>
                  <a:pt x="304" y="290"/>
                </a:cubicBezTo>
                <a:cubicBezTo>
                  <a:pt x="310" y="290"/>
                  <a:pt x="317" y="287"/>
                  <a:pt x="322" y="282"/>
                </a:cubicBezTo>
                <a:cubicBezTo>
                  <a:pt x="325" y="280"/>
                  <a:pt x="327" y="277"/>
                  <a:pt x="328" y="273"/>
                </a:cubicBezTo>
                <a:cubicBezTo>
                  <a:pt x="333" y="278"/>
                  <a:pt x="340" y="280"/>
                  <a:pt x="346" y="280"/>
                </a:cubicBezTo>
                <a:cubicBezTo>
                  <a:pt x="353" y="280"/>
                  <a:pt x="359" y="277"/>
                  <a:pt x="365" y="272"/>
                </a:cubicBezTo>
                <a:cubicBezTo>
                  <a:pt x="368" y="269"/>
                  <a:pt x="370" y="264"/>
                  <a:pt x="371" y="260"/>
                </a:cubicBezTo>
                <a:cubicBezTo>
                  <a:pt x="374" y="261"/>
                  <a:pt x="377" y="261"/>
                  <a:pt x="379" y="261"/>
                </a:cubicBezTo>
                <a:cubicBezTo>
                  <a:pt x="386" y="261"/>
                  <a:pt x="393" y="258"/>
                  <a:pt x="398" y="253"/>
                </a:cubicBezTo>
                <a:cubicBezTo>
                  <a:pt x="402" y="249"/>
                  <a:pt x="405" y="244"/>
                  <a:pt x="406" y="239"/>
                </a:cubicBezTo>
                <a:cubicBezTo>
                  <a:pt x="407" y="239"/>
                  <a:pt x="408" y="239"/>
                  <a:pt x="410" y="239"/>
                </a:cubicBezTo>
                <a:cubicBezTo>
                  <a:pt x="416" y="239"/>
                  <a:pt x="423" y="236"/>
                  <a:pt x="428" y="231"/>
                </a:cubicBezTo>
                <a:cubicBezTo>
                  <a:pt x="434" y="226"/>
                  <a:pt x="436" y="219"/>
                  <a:pt x="436" y="212"/>
                </a:cubicBezTo>
                <a:cubicBezTo>
                  <a:pt x="436" y="210"/>
                  <a:pt x="436" y="208"/>
                  <a:pt x="435" y="205"/>
                </a:cubicBezTo>
                <a:cubicBezTo>
                  <a:pt x="478" y="205"/>
                  <a:pt x="478" y="205"/>
                  <a:pt x="478" y="205"/>
                </a:cubicBezTo>
                <a:cubicBezTo>
                  <a:pt x="483" y="205"/>
                  <a:pt x="486" y="202"/>
                  <a:pt x="486" y="197"/>
                </a:cubicBezTo>
                <a:cubicBezTo>
                  <a:pt x="486" y="193"/>
                  <a:pt x="483" y="189"/>
                  <a:pt x="478" y="189"/>
                </a:cubicBezTo>
                <a:close/>
                <a:moveTo>
                  <a:pt x="98" y="236"/>
                </a:moveTo>
                <a:cubicBezTo>
                  <a:pt x="98" y="236"/>
                  <a:pt x="98" y="236"/>
                  <a:pt x="98" y="236"/>
                </a:cubicBezTo>
                <a:cubicBezTo>
                  <a:pt x="95" y="238"/>
                  <a:pt x="92" y="240"/>
                  <a:pt x="89" y="240"/>
                </a:cubicBezTo>
                <a:cubicBezTo>
                  <a:pt x="86" y="240"/>
                  <a:pt x="83" y="238"/>
                  <a:pt x="81" y="236"/>
                </a:cubicBezTo>
                <a:cubicBezTo>
                  <a:pt x="78" y="234"/>
                  <a:pt x="77" y="231"/>
                  <a:pt x="77" y="228"/>
                </a:cubicBezTo>
                <a:cubicBezTo>
                  <a:pt x="77" y="225"/>
                  <a:pt x="78" y="222"/>
                  <a:pt x="81" y="219"/>
                </a:cubicBezTo>
                <a:cubicBezTo>
                  <a:pt x="107" y="193"/>
                  <a:pt x="107" y="193"/>
                  <a:pt x="107" y="193"/>
                </a:cubicBezTo>
                <a:cubicBezTo>
                  <a:pt x="109" y="191"/>
                  <a:pt x="112" y="189"/>
                  <a:pt x="116" y="189"/>
                </a:cubicBezTo>
                <a:cubicBezTo>
                  <a:pt x="119" y="189"/>
                  <a:pt x="122" y="191"/>
                  <a:pt x="124" y="193"/>
                </a:cubicBezTo>
                <a:cubicBezTo>
                  <a:pt x="126" y="195"/>
                  <a:pt x="127" y="198"/>
                  <a:pt x="127" y="201"/>
                </a:cubicBezTo>
                <a:cubicBezTo>
                  <a:pt x="127" y="204"/>
                  <a:pt x="126" y="207"/>
                  <a:pt x="124" y="210"/>
                </a:cubicBezTo>
                <a:lnTo>
                  <a:pt x="98" y="236"/>
                </a:lnTo>
                <a:close/>
                <a:moveTo>
                  <a:pt x="165" y="225"/>
                </a:moveTo>
                <a:cubicBezTo>
                  <a:pt x="145" y="245"/>
                  <a:pt x="145" y="245"/>
                  <a:pt x="145" y="245"/>
                </a:cubicBezTo>
                <a:cubicBezTo>
                  <a:pt x="143" y="247"/>
                  <a:pt x="140" y="248"/>
                  <a:pt x="137" y="248"/>
                </a:cubicBezTo>
                <a:cubicBezTo>
                  <a:pt x="134" y="248"/>
                  <a:pt x="131" y="247"/>
                  <a:pt x="129" y="245"/>
                </a:cubicBezTo>
                <a:cubicBezTo>
                  <a:pt x="126" y="242"/>
                  <a:pt x="125" y="239"/>
                  <a:pt x="125" y="236"/>
                </a:cubicBezTo>
                <a:cubicBezTo>
                  <a:pt x="125" y="233"/>
                  <a:pt x="126" y="230"/>
                  <a:pt x="129" y="228"/>
                </a:cubicBezTo>
                <a:cubicBezTo>
                  <a:pt x="184" y="172"/>
                  <a:pt x="184" y="172"/>
                  <a:pt x="184" y="172"/>
                </a:cubicBezTo>
                <a:cubicBezTo>
                  <a:pt x="186" y="170"/>
                  <a:pt x="189" y="169"/>
                  <a:pt x="192" y="169"/>
                </a:cubicBezTo>
                <a:cubicBezTo>
                  <a:pt x="195" y="169"/>
                  <a:pt x="198" y="170"/>
                  <a:pt x="201" y="172"/>
                </a:cubicBezTo>
                <a:cubicBezTo>
                  <a:pt x="203" y="175"/>
                  <a:pt x="204" y="178"/>
                  <a:pt x="204" y="181"/>
                </a:cubicBezTo>
                <a:cubicBezTo>
                  <a:pt x="204" y="184"/>
                  <a:pt x="203" y="187"/>
                  <a:pt x="201" y="189"/>
                </a:cubicBezTo>
                <a:cubicBezTo>
                  <a:pt x="165" y="224"/>
                  <a:pt x="165" y="224"/>
                  <a:pt x="165" y="224"/>
                </a:cubicBezTo>
                <a:cubicBezTo>
                  <a:pt x="165" y="224"/>
                  <a:pt x="165" y="225"/>
                  <a:pt x="165" y="225"/>
                </a:cubicBezTo>
                <a:close/>
                <a:moveTo>
                  <a:pt x="212" y="234"/>
                </a:moveTo>
                <a:cubicBezTo>
                  <a:pt x="194" y="253"/>
                  <a:pt x="194" y="253"/>
                  <a:pt x="194" y="253"/>
                </a:cubicBezTo>
                <a:cubicBezTo>
                  <a:pt x="194" y="253"/>
                  <a:pt x="194" y="253"/>
                  <a:pt x="194" y="253"/>
                </a:cubicBezTo>
                <a:cubicBezTo>
                  <a:pt x="191" y="255"/>
                  <a:pt x="188" y="256"/>
                  <a:pt x="185" y="256"/>
                </a:cubicBezTo>
                <a:cubicBezTo>
                  <a:pt x="182" y="256"/>
                  <a:pt x="179" y="255"/>
                  <a:pt x="177" y="253"/>
                </a:cubicBezTo>
                <a:cubicBezTo>
                  <a:pt x="174" y="250"/>
                  <a:pt x="173" y="247"/>
                  <a:pt x="173" y="244"/>
                </a:cubicBezTo>
                <a:cubicBezTo>
                  <a:pt x="173" y="241"/>
                  <a:pt x="174" y="238"/>
                  <a:pt x="177" y="236"/>
                </a:cubicBezTo>
                <a:cubicBezTo>
                  <a:pt x="212" y="201"/>
                  <a:pt x="212" y="201"/>
                  <a:pt x="212" y="201"/>
                </a:cubicBezTo>
                <a:cubicBezTo>
                  <a:pt x="212" y="200"/>
                  <a:pt x="212" y="200"/>
                  <a:pt x="212" y="200"/>
                </a:cubicBezTo>
                <a:cubicBezTo>
                  <a:pt x="221" y="191"/>
                  <a:pt x="221" y="191"/>
                  <a:pt x="221" y="191"/>
                </a:cubicBezTo>
                <a:cubicBezTo>
                  <a:pt x="224" y="189"/>
                  <a:pt x="227" y="188"/>
                  <a:pt x="230" y="188"/>
                </a:cubicBezTo>
                <a:cubicBezTo>
                  <a:pt x="233" y="188"/>
                  <a:pt x="236" y="189"/>
                  <a:pt x="238" y="191"/>
                </a:cubicBezTo>
                <a:cubicBezTo>
                  <a:pt x="240" y="194"/>
                  <a:pt x="242" y="197"/>
                  <a:pt x="242" y="200"/>
                </a:cubicBezTo>
                <a:cubicBezTo>
                  <a:pt x="242" y="203"/>
                  <a:pt x="240" y="206"/>
                  <a:pt x="238" y="208"/>
                </a:cubicBezTo>
                <a:cubicBezTo>
                  <a:pt x="212" y="234"/>
                  <a:pt x="212" y="234"/>
                  <a:pt x="212" y="234"/>
                </a:cubicBezTo>
                <a:cubicBezTo>
                  <a:pt x="212" y="234"/>
                  <a:pt x="212" y="234"/>
                  <a:pt x="212" y="234"/>
                </a:cubicBezTo>
                <a:close/>
                <a:moveTo>
                  <a:pt x="266" y="236"/>
                </a:moveTo>
                <a:cubicBezTo>
                  <a:pt x="240" y="262"/>
                  <a:pt x="240" y="262"/>
                  <a:pt x="240" y="262"/>
                </a:cubicBezTo>
                <a:cubicBezTo>
                  <a:pt x="238" y="265"/>
                  <a:pt x="235" y="266"/>
                  <a:pt x="232" y="266"/>
                </a:cubicBezTo>
                <a:cubicBezTo>
                  <a:pt x="229" y="266"/>
                  <a:pt x="226" y="265"/>
                  <a:pt x="223" y="262"/>
                </a:cubicBezTo>
                <a:cubicBezTo>
                  <a:pt x="221" y="260"/>
                  <a:pt x="220" y="257"/>
                  <a:pt x="220" y="254"/>
                </a:cubicBezTo>
                <a:cubicBezTo>
                  <a:pt x="220" y="251"/>
                  <a:pt x="221" y="248"/>
                  <a:pt x="223" y="246"/>
                </a:cubicBezTo>
                <a:cubicBezTo>
                  <a:pt x="249" y="219"/>
                  <a:pt x="249" y="219"/>
                  <a:pt x="249" y="219"/>
                </a:cubicBezTo>
                <a:cubicBezTo>
                  <a:pt x="249" y="219"/>
                  <a:pt x="249" y="219"/>
                  <a:pt x="249" y="219"/>
                </a:cubicBezTo>
                <a:cubicBezTo>
                  <a:pt x="250" y="219"/>
                  <a:pt x="250" y="219"/>
                  <a:pt x="250" y="219"/>
                </a:cubicBezTo>
                <a:cubicBezTo>
                  <a:pt x="252" y="217"/>
                  <a:pt x="255" y="216"/>
                  <a:pt x="258" y="216"/>
                </a:cubicBezTo>
                <a:cubicBezTo>
                  <a:pt x="261" y="216"/>
                  <a:pt x="264" y="217"/>
                  <a:pt x="266" y="219"/>
                </a:cubicBezTo>
                <a:cubicBezTo>
                  <a:pt x="269" y="222"/>
                  <a:pt x="270" y="225"/>
                  <a:pt x="270" y="228"/>
                </a:cubicBezTo>
                <a:cubicBezTo>
                  <a:pt x="270" y="231"/>
                  <a:pt x="269" y="234"/>
                  <a:pt x="266" y="236"/>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215" name="Freeform 3"/>
          <p:cNvSpPr>
            <a:spLocks noChangeAspect="1" noEditPoints="1"/>
          </p:cNvSpPr>
          <p:nvPr/>
        </p:nvSpPr>
        <p:spPr bwMode="auto">
          <a:xfrm>
            <a:off x="5316618" y="1584326"/>
            <a:ext cx="641884" cy="398463"/>
          </a:xfrm>
          <a:custGeom>
            <a:avLst/>
            <a:gdLst>
              <a:gd name="T0" fmla="*/ 2147483647 w 671"/>
              <a:gd name="T1" fmla="*/ 2147483647 h 360"/>
              <a:gd name="T2" fmla="*/ 2147483647 w 671"/>
              <a:gd name="T3" fmla="*/ 2147483647 h 360"/>
              <a:gd name="T4" fmla="*/ 2147483647 w 671"/>
              <a:gd name="T5" fmla="*/ 2147483647 h 360"/>
              <a:gd name="T6" fmla="*/ 2147483647 w 671"/>
              <a:gd name="T7" fmla="*/ 2147483647 h 360"/>
              <a:gd name="T8" fmla="*/ 2147483647 w 671"/>
              <a:gd name="T9" fmla="*/ 2147483647 h 360"/>
              <a:gd name="T10" fmla="*/ 2147483647 w 671"/>
              <a:gd name="T11" fmla="*/ 2147483647 h 360"/>
              <a:gd name="T12" fmla="*/ 2147483647 w 671"/>
              <a:gd name="T13" fmla="*/ 2147483647 h 360"/>
              <a:gd name="T14" fmla="*/ 2147483647 w 671"/>
              <a:gd name="T15" fmla="*/ 2147483647 h 360"/>
              <a:gd name="T16" fmla="*/ 2147483647 w 671"/>
              <a:gd name="T17" fmla="*/ 2147483647 h 360"/>
              <a:gd name="T18" fmla="*/ 2147483647 w 671"/>
              <a:gd name="T19" fmla="*/ 2147483647 h 360"/>
              <a:gd name="T20" fmla="*/ 2147483647 w 671"/>
              <a:gd name="T21" fmla="*/ 2147483647 h 360"/>
              <a:gd name="T22" fmla="*/ 2147483647 w 671"/>
              <a:gd name="T23" fmla="*/ 2147483647 h 360"/>
              <a:gd name="T24" fmla="*/ 2147483647 w 671"/>
              <a:gd name="T25" fmla="*/ 2147483647 h 360"/>
              <a:gd name="T26" fmla="*/ 2147483647 w 671"/>
              <a:gd name="T27" fmla="*/ 2147483647 h 360"/>
              <a:gd name="T28" fmla="*/ 2147483647 w 671"/>
              <a:gd name="T29" fmla="*/ 2147483647 h 360"/>
              <a:gd name="T30" fmla="*/ 2147483647 w 671"/>
              <a:gd name="T31" fmla="*/ 2147483647 h 360"/>
              <a:gd name="T32" fmla="*/ 2147483647 w 671"/>
              <a:gd name="T33" fmla="*/ 2147483647 h 360"/>
              <a:gd name="T34" fmla="*/ 2147483647 w 671"/>
              <a:gd name="T35" fmla="*/ 2147483647 h 360"/>
              <a:gd name="T36" fmla="*/ 2147483647 w 671"/>
              <a:gd name="T37" fmla="*/ 2147483647 h 360"/>
              <a:gd name="T38" fmla="*/ 2147483647 w 671"/>
              <a:gd name="T39" fmla="*/ 2147483647 h 360"/>
              <a:gd name="T40" fmla="*/ 2147483647 w 671"/>
              <a:gd name="T41" fmla="*/ 2147483647 h 360"/>
              <a:gd name="T42" fmla="*/ 2147483647 w 671"/>
              <a:gd name="T43" fmla="*/ 2147483647 h 360"/>
              <a:gd name="T44" fmla="*/ 2147483647 w 671"/>
              <a:gd name="T45" fmla="*/ 2147483647 h 360"/>
              <a:gd name="T46" fmla="*/ 2147483647 w 671"/>
              <a:gd name="T47" fmla="*/ 2147483647 h 360"/>
              <a:gd name="T48" fmla="*/ 2147483647 w 671"/>
              <a:gd name="T49" fmla="*/ 2147483647 h 360"/>
              <a:gd name="T50" fmla="*/ 2147483647 w 671"/>
              <a:gd name="T51" fmla="*/ 2147483647 h 360"/>
              <a:gd name="T52" fmla="*/ 2147483647 w 671"/>
              <a:gd name="T53" fmla="*/ 2147483647 h 360"/>
              <a:gd name="T54" fmla="*/ 2147483647 w 671"/>
              <a:gd name="T55" fmla="*/ 2147483647 h 360"/>
              <a:gd name="T56" fmla="*/ 2147483647 w 671"/>
              <a:gd name="T57" fmla="*/ 2147483647 h 360"/>
              <a:gd name="T58" fmla="*/ 2147483647 w 671"/>
              <a:gd name="T59" fmla="*/ 2147483647 h 360"/>
              <a:gd name="T60" fmla="*/ 2147483647 w 671"/>
              <a:gd name="T61" fmla="*/ 2147483647 h 360"/>
              <a:gd name="T62" fmla="*/ 2147483647 w 671"/>
              <a:gd name="T63" fmla="*/ 2147483647 h 360"/>
              <a:gd name="T64" fmla="*/ 2147483647 w 671"/>
              <a:gd name="T65" fmla="*/ 2147483647 h 360"/>
              <a:gd name="T66" fmla="*/ 2147483647 w 671"/>
              <a:gd name="T67" fmla="*/ 2147483647 h 360"/>
              <a:gd name="T68" fmla="*/ 2147483647 w 671"/>
              <a:gd name="T69" fmla="*/ 2147483647 h 360"/>
              <a:gd name="T70" fmla="*/ 2147483647 w 671"/>
              <a:gd name="T71" fmla="*/ 2147483647 h 360"/>
              <a:gd name="T72" fmla="*/ 2147483647 w 671"/>
              <a:gd name="T73" fmla="*/ 2147483647 h 360"/>
              <a:gd name="T74" fmla="*/ 2147483647 w 671"/>
              <a:gd name="T75" fmla="*/ 2147483647 h 360"/>
              <a:gd name="T76" fmla="*/ 2147483647 w 671"/>
              <a:gd name="T77" fmla="*/ 2147483647 h 360"/>
              <a:gd name="T78" fmla="*/ 2147483647 w 671"/>
              <a:gd name="T79" fmla="*/ 2147483647 h 360"/>
              <a:gd name="T80" fmla="*/ 2147483647 w 671"/>
              <a:gd name="T81" fmla="*/ 2147483647 h 360"/>
              <a:gd name="T82" fmla="*/ 2147483647 w 671"/>
              <a:gd name="T83" fmla="*/ 2147483647 h 360"/>
              <a:gd name="T84" fmla="*/ 2147483647 w 671"/>
              <a:gd name="T85" fmla="*/ 2147483647 h 360"/>
              <a:gd name="T86" fmla="*/ 2147483647 w 671"/>
              <a:gd name="T87" fmla="*/ 2147483647 h 360"/>
              <a:gd name="T88" fmla="*/ 2147483647 w 671"/>
              <a:gd name="T89" fmla="*/ 2147483647 h 360"/>
              <a:gd name="T90" fmla="*/ 2147483647 w 671"/>
              <a:gd name="T91" fmla="*/ 2147483647 h 360"/>
              <a:gd name="T92" fmla="*/ 2147483647 w 671"/>
              <a:gd name="T93" fmla="*/ 2147483647 h 360"/>
              <a:gd name="T94" fmla="*/ 2147483647 w 671"/>
              <a:gd name="T95" fmla="*/ 2147483647 h 360"/>
              <a:gd name="T96" fmla="*/ 2147483647 w 671"/>
              <a:gd name="T97" fmla="*/ 2147483647 h 360"/>
              <a:gd name="T98" fmla="*/ 2147483647 w 671"/>
              <a:gd name="T99" fmla="*/ 2147483647 h 360"/>
              <a:gd name="T100" fmla="*/ 2147483647 w 671"/>
              <a:gd name="T101" fmla="*/ 2147483647 h 3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1"/>
              <a:gd name="T154" fmla="*/ 0 h 360"/>
              <a:gd name="T155" fmla="*/ 671 w 671"/>
              <a:gd name="T156" fmla="*/ 360 h 3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1" h="360">
                <a:moveTo>
                  <a:pt x="663" y="88"/>
                </a:moveTo>
                <a:cubicBezTo>
                  <a:pt x="667" y="88"/>
                  <a:pt x="671" y="85"/>
                  <a:pt x="671" y="80"/>
                </a:cubicBezTo>
                <a:cubicBezTo>
                  <a:pt x="671" y="68"/>
                  <a:pt x="671" y="68"/>
                  <a:pt x="671" y="68"/>
                </a:cubicBezTo>
                <a:cubicBezTo>
                  <a:pt x="671" y="47"/>
                  <a:pt x="650" y="41"/>
                  <a:pt x="643" y="38"/>
                </a:cubicBezTo>
                <a:cubicBezTo>
                  <a:pt x="635" y="35"/>
                  <a:pt x="547" y="0"/>
                  <a:pt x="339" y="0"/>
                </a:cubicBezTo>
                <a:cubicBezTo>
                  <a:pt x="130" y="0"/>
                  <a:pt x="35" y="35"/>
                  <a:pt x="28" y="38"/>
                </a:cubicBezTo>
                <a:cubicBezTo>
                  <a:pt x="9" y="44"/>
                  <a:pt x="0" y="54"/>
                  <a:pt x="0" y="68"/>
                </a:cubicBezTo>
                <a:cubicBezTo>
                  <a:pt x="0" y="275"/>
                  <a:pt x="0" y="275"/>
                  <a:pt x="0" y="275"/>
                </a:cubicBezTo>
                <a:cubicBezTo>
                  <a:pt x="0" y="293"/>
                  <a:pt x="12" y="306"/>
                  <a:pt x="30" y="306"/>
                </a:cubicBezTo>
                <a:cubicBezTo>
                  <a:pt x="36" y="306"/>
                  <a:pt x="43" y="304"/>
                  <a:pt x="54" y="302"/>
                </a:cubicBezTo>
                <a:cubicBezTo>
                  <a:pt x="59" y="300"/>
                  <a:pt x="65" y="299"/>
                  <a:pt x="72" y="297"/>
                </a:cubicBezTo>
                <a:cubicBezTo>
                  <a:pt x="72" y="341"/>
                  <a:pt x="72" y="341"/>
                  <a:pt x="72" y="341"/>
                </a:cubicBezTo>
                <a:cubicBezTo>
                  <a:pt x="72" y="349"/>
                  <a:pt x="79" y="358"/>
                  <a:pt x="90" y="358"/>
                </a:cubicBezTo>
                <a:cubicBezTo>
                  <a:pt x="208" y="358"/>
                  <a:pt x="208" y="358"/>
                  <a:pt x="208" y="358"/>
                </a:cubicBezTo>
                <a:cubicBezTo>
                  <a:pt x="216" y="358"/>
                  <a:pt x="225" y="352"/>
                  <a:pt x="225" y="341"/>
                </a:cubicBezTo>
                <a:cubicBezTo>
                  <a:pt x="225" y="286"/>
                  <a:pt x="225" y="286"/>
                  <a:pt x="225" y="286"/>
                </a:cubicBezTo>
                <a:cubicBezTo>
                  <a:pt x="225" y="282"/>
                  <a:pt x="225" y="278"/>
                  <a:pt x="224" y="275"/>
                </a:cubicBezTo>
                <a:cubicBezTo>
                  <a:pt x="233" y="274"/>
                  <a:pt x="246" y="273"/>
                  <a:pt x="260" y="272"/>
                </a:cubicBezTo>
                <a:cubicBezTo>
                  <a:pt x="259" y="277"/>
                  <a:pt x="258" y="281"/>
                  <a:pt x="258" y="286"/>
                </a:cubicBezTo>
                <a:cubicBezTo>
                  <a:pt x="258" y="341"/>
                  <a:pt x="258" y="341"/>
                  <a:pt x="258" y="341"/>
                </a:cubicBezTo>
                <a:cubicBezTo>
                  <a:pt x="258" y="349"/>
                  <a:pt x="264" y="358"/>
                  <a:pt x="276" y="358"/>
                </a:cubicBezTo>
                <a:cubicBezTo>
                  <a:pt x="394" y="358"/>
                  <a:pt x="394" y="358"/>
                  <a:pt x="394" y="358"/>
                </a:cubicBezTo>
                <a:cubicBezTo>
                  <a:pt x="402" y="358"/>
                  <a:pt x="411" y="352"/>
                  <a:pt x="411" y="341"/>
                </a:cubicBezTo>
                <a:cubicBezTo>
                  <a:pt x="411" y="286"/>
                  <a:pt x="411" y="286"/>
                  <a:pt x="411" y="286"/>
                </a:cubicBezTo>
                <a:cubicBezTo>
                  <a:pt x="411" y="281"/>
                  <a:pt x="410" y="277"/>
                  <a:pt x="409" y="272"/>
                </a:cubicBezTo>
                <a:cubicBezTo>
                  <a:pt x="424" y="273"/>
                  <a:pt x="437" y="274"/>
                  <a:pt x="446" y="275"/>
                </a:cubicBezTo>
                <a:cubicBezTo>
                  <a:pt x="445" y="279"/>
                  <a:pt x="444" y="283"/>
                  <a:pt x="444" y="288"/>
                </a:cubicBezTo>
                <a:cubicBezTo>
                  <a:pt x="444" y="342"/>
                  <a:pt x="444" y="342"/>
                  <a:pt x="444" y="342"/>
                </a:cubicBezTo>
                <a:cubicBezTo>
                  <a:pt x="444" y="351"/>
                  <a:pt x="450" y="360"/>
                  <a:pt x="462" y="360"/>
                </a:cubicBezTo>
                <a:cubicBezTo>
                  <a:pt x="580" y="360"/>
                  <a:pt x="580" y="360"/>
                  <a:pt x="580" y="360"/>
                </a:cubicBezTo>
                <a:cubicBezTo>
                  <a:pt x="588" y="360"/>
                  <a:pt x="597" y="354"/>
                  <a:pt x="597" y="342"/>
                </a:cubicBezTo>
                <a:cubicBezTo>
                  <a:pt x="597" y="298"/>
                  <a:pt x="597" y="298"/>
                  <a:pt x="597" y="298"/>
                </a:cubicBezTo>
                <a:cubicBezTo>
                  <a:pt x="603" y="299"/>
                  <a:pt x="608" y="300"/>
                  <a:pt x="612" y="301"/>
                </a:cubicBezTo>
                <a:cubicBezTo>
                  <a:pt x="626" y="304"/>
                  <a:pt x="633" y="306"/>
                  <a:pt x="640" y="306"/>
                </a:cubicBezTo>
                <a:cubicBezTo>
                  <a:pt x="658" y="306"/>
                  <a:pt x="671" y="293"/>
                  <a:pt x="671" y="275"/>
                </a:cubicBezTo>
                <a:cubicBezTo>
                  <a:pt x="671" y="112"/>
                  <a:pt x="671" y="112"/>
                  <a:pt x="671" y="112"/>
                </a:cubicBezTo>
                <a:cubicBezTo>
                  <a:pt x="671" y="107"/>
                  <a:pt x="667" y="104"/>
                  <a:pt x="663" y="104"/>
                </a:cubicBezTo>
                <a:cubicBezTo>
                  <a:pt x="658" y="104"/>
                  <a:pt x="655" y="107"/>
                  <a:pt x="655" y="112"/>
                </a:cubicBezTo>
                <a:cubicBezTo>
                  <a:pt x="655" y="275"/>
                  <a:pt x="655" y="275"/>
                  <a:pt x="655" y="275"/>
                </a:cubicBezTo>
                <a:cubicBezTo>
                  <a:pt x="655" y="280"/>
                  <a:pt x="653" y="290"/>
                  <a:pt x="640" y="290"/>
                </a:cubicBezTo>
                <a:cubicBezTo>
                  <a:pt x="635" y="290"/>
                  <a:pt x="628" y="288"/>
                  <a:pt x="615" y="285"/>
                </a:cubicBezTo>
                <a:cubicBezTo>
                  <a:pt x="610" y="284"/>
                  <a:pt x="604" y="283"/>
                  <a:pt x="597" y="281"/>
                </a:cubicBezTo>
                <a:cubicBezTo>
                  <a:pt x="594" y="258"/>
                  <a:pt x="579" y="243"/>
                  <a:pt x="565" y="235"/>
                </a:cubicBezTo>
                <a:cubicBezTo>
                  <a:pt x="576" y="223"/>
                  <a:pt x="583" y="208"/>
                  <a:pt x="583" y="191"/>
                </a:cubicBezTo>
                <a:cubicBezTo>
                  <a:pt x="583" y="157"/>
                  <a:pt x="555" y="129"/>
                  <a:pt x="521" y="129"/>
                </a:cubicBezTo>
                <a:cubicBezTo>
                  <a:pt x="486" y="129"/>
                  <a:pt x="458" y="157"/>
                  <a:pt x="458" y="191"/>
                </a:cubicBezTo>
                <a:cubicBezTo>
                  <a:pt x="458" y="208"/>
                  <a:pt x="465" y="223"/>
                  <a:pt x="476" y="235"/>
                </a:cubicBezTo>
                <a:cubicBezTo>
                  <a:pt x="467" y="240"/>
                  <a:pt x="458" y="248"/>
                  <a:pt x="452" y="259"/>
                </a:cubicBezTo>
                <a:cubicBezTo>
                  <a:pt x="443" y="258"/>
                  <a:pt x="423" y="257"/>
                  <a:pt x="403" y="256"/>
                </a:cubicBezTo>
                <a:cubicBezTo>
                  <a:pt x="397" y="246"/>
                  <a:pt x="388" y="238"/>
                  <a:pt x="380" y="233"/>
                </a:cubicBezTo>
                <a:cubicBezTo>
                  <a:pt x="391" y="222"/>
                  <a:pt x="397" y="207"/>
                  <a:pt x="397" y="190"/>
                </a:cubicBezTo>
                <a:cubicBezTo>
                  <a:pt x="397" y="155"/>
                  <a:pt x="369" y="127"/>
                  <a:pt x="335" y="127"/>
                </a:cubicBezTo>
                <a:cubicBezTo>
                  <a:pt x="300" y="127"/>
                  <a:pt x="272" y="155"/>
                  <a:pt x="272" y="190"/>
                </a:cubicBezTo>
                <a:cubicBezTo>
                  <a:pt x="272" y="207"/>
                  <a:pt x="279" y="222"/>
                  <a:pt x="290" y="233"/>
                </a:cubicBezTo>
                <a:cubicBezTo>
                  <a:pt x="282" y="238"/>
                  <a:pt x="273" y="246"/>
                  <a:pt x="266" y="256"/>
                </a:cubicBezTo>
                <a:cubicBezTo>
                  <a:pt x="247" y="257"/>
                  <a:pt x="228" y="258"/>
                  <a:pt x="219" y="259"/>
                </a:cubicBezTo>
                <a:cubicBezTo>
                  <a:pt x="212" y="247"/>
                  <a:pt x="203" y="239"/>
                  <a:pt x="194" y="233"/>
                </a:cubicBezTo>
                <a:cubicBezTo>
                  <a:pt x="205" y="222"/>
                  <a:pt x="211" y="206"/>
                  <a:pt x="211" y="190"/>
                </a:cubicBezTo>
                <a:cubicBezTo>
                  <a:pt x="211" y="155"/>
                  <a:pt x="183" y="127"/>
                  <a:pt x="149" y="127"/>
                </a:cubicBezTo>
                <a:cubicBezTo>
                  <a:pt x="114" y="127"/>
                  <a:pt x="86" y="155"/>
                  <a:pt x="86" y="190"/>
                </a:cubicBezTo>
                <a:cubicBezTo>
                  <a:pt x="86" y="207"/>
                  <a:pt x="93" y="222"/>
                  <a:pt x="104" y="233"/>
                </a:cubicBezTo>
                <a:cubicBezTo>
                  <a:pt x="90" y="242"/>
                  <a:pt x="75" y="257"/>
                  <a:pt x="73" y="281"/>
                </a:cubicBezTo>
                <a:cubicBezTo>
                  <a:pt x="63" y="283"/>
                  <a:pt x="56" y="285"/>
                  <a:pt x="50" y="286"/>
                </a:cubicBezTo>
                <a:cubicBezTo>
                  <a:pt x="40" y="288"/>
                  <a:pt x="34" y="290"/>
                  <a:pt x="30" y="290"/>
                </a:cubicBezTo>
                <a:cubicBezTo>
                  <a:pt x="20" y="290"/>
                  <a:pt x="16" y="282"/>
                  <a:pt x="16" y="275"/>
                </a:cubicBezTo>
                <a:cubicBezTo>
                  <a:pt x="16" y="68"/>
                  <a:pt x="16" y="68"/>
                  <a:pt x="16" y="68"/>
                </a:cubicBezTo>
                <a:cubicBezTo>
                  <a:pt x="16" y="64"/>
                  <a:pt x="18" y="58"/>
                  <a:pt x="33" y="53"/>
                </a:cubicBezTo>
                <a:cubicBezTo>
                  <a:pt x="33" y="53"/>
                  <a:pt x="33" y="53"/>
                  <a:pt x="33" y="53"/>
                </a:cubicBezTo>
                <a:cubicBezTo>
                  <a:pt x="34" y="53"/>
                  <a:pt x="129" y="16"/>
                  <a:pt x="339" y="16"/>
                </a:cubicBezTo>
                <a:cubicBezTo>
                  <a:pt x="548" y="16"/>
                  <a:pt x="636" y="53"/>
                  <a:pt x="637" y="53"/>
                </a:cubicBezTo>
                <a:cubicBezTo>
                  <a:pt x="637" y="53"/>
                  <a:pt x="637" y="53"/>
                  <a:pt x="638" y="53"/>
                </a:cubicBezTo>
                <a:cubicBezTo>
                  <a:pt x="653" y="58"/>
                  <a:pt x="655" y="64"/>
                  <a:pt x="655" y="68"/>
                </a:cubicBezTo>
                <a:cubicBezTo>
                  <a:pt x="655" y="80"/>
                  <a:pt x="655" y="80"/>
                  <a:pt x="655" y="80"/>
                </a:cubicBezTo>
                <a:cubicBezTo>
                  <a:pt x="655" y="85"/>
                  <a:pt x="658" y="88"/>
                  <a:pt x="663" y="88"/>
                </a:cubicBezTo>
                <a:close/>
                <a:moveTo>
                  <a:pt x="474" y="191"/>
                </a:moveTo>
                <a:cubicBezTo>
                  <a:pt x="474" y="166"/>
                  <a:pt x="495" y="145"/>
                  <a:pt x="521" y="145"/>
                </a:cubicBezTo>
                <a:cubicBezTo>
                  <a:pt x="546" y="145"/>
                  <a:pt x="567" y="166"/>
                  <a:pt x="567" y="191"/>
                </a:cubicBezTo>
                <a:cubicBezTo>
                  <a:pt x="567" y="217"/>
                  <a:pt x="546" y="238"/>
                  <a:pt x="521" y="238"/>
                </a:cubicBezTo>
                <a:cubicBezTo>
                  <a:pt x="495" y="238"/>
                  <a:pt x="474" y="217"/>
                  <a:pt x="474" y="191"/>
                </a:cubicBezTo>
                <a:close/>
                <a:moveTo>
                  <a:pt x="460" y="288"/>
                </a:moveTo>
                <a:cubicBezTo>
                  <a:pt x="460" y="265"/>
                  <a:pt x="477" y="252"/>
                  <a:pt x="489" y="245"/>
                </a:cubicBezTo>
                <a:cubicBezTo>
                  <a:pt x="499" y="251"/>
                  <a:pt x="509" y="254"/>
                  <a:pt x="521" y="254"/>
                </a:cubicBezTo>
                <a:cubicBezTo>
                  <a:pt x="532" y="254"/>
                  <a:pt x="543" y="251"/>
                  <a:pt x="552" y="245"/>
                </a:cubicBezTo>
                <a:cubicBezTo>
                  <a:pt x="564" y="252"/>
                  <a:pt x="581" y="265"/>
                  <a:pt x="581" y="288"/>
                </a:cubicBezTo>
                <a:cubicBezTo>
                  <a:pt x="581" y="342"/>
                  <a:pt x="581" y="342"/>
                  <a:pt x="581" y="342"/>
                </a:cubicBezTo>
                <a:cubicBezTo>
                  <a:pt x="581" y="343"/>
                  <a:pt x="581" y="343"/>
                  <a:pt x="581" y="343"/>
                </a:cubicBezTo>
                <a:cubicBezTo>
                  <a:pt x="581" y="343"/>
                  <a:pt x="580" y="344"/>
                  <a:pt x="580" y="344"/>
                </a:cubicBezTo>
                <a:cubicBezTo>
                  <a:pt x="565" y="344"/>
                  <a:pt x="565" y="344"/>
                  <a:pt x="565" y="344"/>
                </a:cubicBezTo>
                <a:cubicBezTo>
                  <a:pt x="565" y="287"/>
                  <a:pt x="565" y="287"/>
                  <a:pt x="565" y="287"/>
                </a:cubicBezTo>
                <a:cubicBezTo>
                  <a:pt x="565" y="283"/>
                  <a:pt x="561" y="279"/>
                  <a:pt x="557" y="279"/>
                </a:cubicBezTo>
                <a:cubicBezTo>
                  <a:pt x="552" y="279"/>
                  <a:pt x="549" y="283"/>
                  <a:pt x="549" y="287"/>
                </a:cubicBezTo>
                <a:cubicBezTo>
                  <a:pt x="549" y="344"/>
                  <a:pt x="549" y="344"/>
                  <a:pt x="549" y="344"/>
                </a:cubicBezTo>
                <a:cubicBezTo>
                  <a:pt x="492" y="344"/>
                  <a:pt x="492" y="344"/>
                  <a:pt x="492" y="344"/>
                </a:cubicBezTo>
                <a:cubicBezTo>
                  <a:pt x="492" y="287"/>
                  <a:pt x="492" y="287"/>
                  <a:pt x="492" y="287"/>
                </a:cubicBezTo>
                <a:cubicBezTo>
                  <a:pt x="492" y="283"/>
                  <a:pt x="489" y="279"/>
                  <a:pt x="484" y="279"/>
                </a:cubicBezTo>
                <a:cubicBezTo>
                  <a:pt x="480" y="279"/>
                  <a:pt x="476" y="283"/>
                  <a:pt x="476" y="287"/>
                </a:cubicBezTo>
                <a:cubicBezTo>
                  <a:pt x="476" y="344"/>
                  <a:pt x="476" y="344"/>
                  <a:pt x="476" y="344"/>
                </a:cubicBezTo>
                <a:cubicBezTo>
                  <a:pt x="462" y="344"/>
                  <a:pt x="462" y="344"/>
                  <a:pt x="462" y="344"/>
                </a:cubicBezTo>
                <a:cubicBezTo>
                  <a:pt x="461" y="344"/>
                  <a:pt x="461" y="344"/>
                  <a:pt x="461" y="344"/>
                </a:cubicBezTo>
                <a:cubicBezTo>
                  <a:pt x="461" y="343"/>
                  <a:pt x="460" y="343"/>
                  <a:pt x="460" y="342"/>
                </a:cubicBezTo>
                <a:lnTo>
                  <a:pt x="460" y="288"/>
                </a:lnTo>
                <a:close/>
                <a:moveTo>
                  <a:pt x="288" y="190"/>
                </a:moveTo>
                <a:cubicBezTo>
                  <a:pt x="288" y="164"/>
                  <a:pt x="309" y="143"/>
                  <a:pt x="335" y="143"/>
                </a:cubicBezTo>
                <a:cubicBezTo>
                  <a:pt x="360" y="143"/>
                  <a:pt x="381" y="164"/>
                  <a:pt x="381" y="190"/>
                </a:cubicBezTo>
                <a:cubicBezTo>
                  <a:pt x="381" y="215"/>
                  <a:pt x="360" y="236"/>
                  <a:pt x="335" y="236"/>
                </a:cubicBezTo>
                <a:cubicBezTo>
                  <a:pt x="309" y="236"/>
                  <a:pt x="288" y="215"/>
                  <a:pt x="288" y="190"/>
                </a:cubicBezTo>
                <a:close/>
                <a:moveTo>
                  <a:pt x="274" y="286"/>
                </a:moveTo>
                <a:cubicBezTo>
                  <a:pt x="274" y="263"/>
                  <a:pt x="291" y="250"/>
                  <a:pt x="303" y="244"/>
                </a:cubicBezTo>
                <a:cubicBezTo>
                  <a:pt x="313" y="249"/>
                  <a:pt x="323" y="252"/>
                  <a:pt x="335" y="252"/>
                </a:cubicBezTo>
                <a:cubicBezTo>
                  <a:pt x="346" y="252"/>
                  <a:pt x="357" y="249"/>
                  <a:pt x="366" y="244"/>
                </a:cubicBezTo>
                <a:cubicBezTo>
                  <a:pt x="378" y="250"/>
                  <a:pt x="395" y="263"/>
                  <a:pt x="395" y="286"/>
                </a:cubicBezTo>
                <a:cubicBezTo>
                  <a:pt x="395" y="341"/>
                  <a:pt x="395" y="341"/>
                  <a:pt x="395" y="341"/>
                </a:cubicBezTo>
                <a:cubicBezTo>
                  <a:pt x="395" y="341"/>
                  <a:pt x="395" y="342"/>
                  <a:pt x="395" y="342"/>
                </a:cubicBezTo>
                <a:cubicBezTo>
                  <a:pt x="395" y="342"/>
                  <a:pt x="394" y="342"/>
                  <a:pt x="394" y="342"/>
                </a:cubicBezTo>
                <a:cubicBezTo>
                  <a:pt x="379" y="342"/>
                  <a:pt x="379" y="342"/>
                  <a:pt x="379" y="342"/>
                </a:cubicBezTo>
                <a:cubicBezTo>
                  <a:pt x="379" y="286"/>
                  <a:pt x="379" y="286"/>
                  <a:pt x="379" y="286"/>
                </a:cubicBezTo>
                <a:cubicBezTo>
                  <a:pt x="379" y="281"/>
                  <a:pt x="375" y="278"/>
                  <a:pt x="371" y="278"/>
                </a:cubicBezTo>
                <a:cubicBezTo>
                  <a:pt x="366" y="278"/>
                  <a:pt x="363" y="281"/>
                  <a:pt x="363" y="286"/>
                </a:cubicBezTo>
                <a:cubicBezTo>
                  <a:pt x="363" y="342"/>
                  <a:pt x="363" y="342"/>
                  <a:pt x="363" y="342"/>
                </a:cubicBezTo>
                <a:cubicBezTo>
                  <a:pt x="306" y="342"/>
                  <a:pt x="306" y="342"/>
                  <a:pt x="306" y="342"/>
                </a:cubicBezTo>
                <a:cubicBezTo>
                  <a:pt x="306" y="286"/>
                  <a:pt x="306" y="286"/>
                  <a:pt x="306" y="286"/>
                </a:cubicBezTo>
                <a:cubicBezTo>
                  <a:pt x="306" y="281"/>
                  <a:pt x="303" y="278"/>
                  <a:pt x="298" y="278"/>
                </a:cubicBezTo>
                <a:cubicBezTo>
                  <a:pt x="294" y="278"/>
                  <a:pt x="290" y="281"/>
                  <a:pt x="290" y="286"/>
                </a:cubicBezTo>
                <a:cubicBezTo>
                  <a:pt x="290" y="342"/>
                  <a:pt x="290" y="342"/>
                  <a:pt x="290" y="342"/>
                </a:cubicBezTo>
                <a:cubicBezTo>
                  <a:pt x="276" y="342"/>
                  <a:pt x="276" y="342"/>
                  <a:pt x="276" y="342"/>
                </a:cubicBezTo>
                <a:cubicBezTo>
                  <a:pt x="275" y="342"/>
                  <a:pt x="275" y="342"/>
                  <a:pt x="275" y="342"/>
                </a:cubicBezTo>
                <a:cubicBezTo>
                  <a:pt x="275" y="342"/>
                  <a:pt x="274" y="341"/>
                  <a:pt x="274" y="341"/>
                </a:cubicBezTo>
                <a:lnTo>
                  <a:pt x="274" y="286"/>
                </a:lnTo>
                <a:close/>
                <a:moveTo>
                  <a:pt x="102" y="190"/>
                </a:moveTo>
                <a:cubicBezTo>
                  <a:pt x="102" y="164"/>
                  <a:pt x="123" y="143"/>
                  <a:pt x="149" y="143"/>
                </a:cubicBezTo>
                <a:cubicBezTo>
                  <a:pt x="174" y="143"/>
                  <a:pt x="195" y="164"/>
                  <a:pt x="195" y="190"/>
                </a:cubicBezTo>
                <a:cubicBezTo>
                  <a:pt x="195" y="215"/>
                  <a:pt x="174" y="236"/>
                  <a:pt x="149" y="236"/>
                </a:cubicBezTo>
                <a:cubicBezTo>
                  <a:pt x="123" y="236"/>
                  <a:pt x="102" y="215"/>
                  <a:pt x="102" y="190"/>
                </a:cubicBezTo>
                <a:close/>
                <a:moveTo>
                  <a:pt x="88" y="286"/>
                </a:moveTo>
                <a:cubicBezTo>
                  <a:pt x="88" y="263"/>
                  <a:pt x="105" y="250"/>
                  <a:pt x="118" y="244"/>
                </a:cubicBezTo>
                <a:cubicBezTo>
                  <a:pt x="127" y="249"/>
                  <a:pt x="137" y="252"/>
                  <a:pt x="149" y="252"/>
                </a:cubicBezTo>
                <a:cubicBezTo>
                  <a:pt x="160" y="252"/>
                  <a:pt x="171" y="249"/>
                  <a:pt x="180" y="244"/>
                </a:cubicBezTo>
                <a:cubicBezTo>
                  <a:pt x="192" y="250"/>
                  <a:pt x="209" y="263"/>
                  <a:pt x="209" y="286"/>
                </a:cubicBezTo>
                <a:cubicBezTo>
                  <a:pt x="209" y="341"/>
                  <a:pt x="209" y="341"/>
                  <a:pt x="209" y="341"/>
                </a:cubicBezTo>
                <a:cubicBezTo>
                  <a:pt x="209" y="341"/>
                  <a:pt x="209" y="342"/>
                  <a:pt x="209" y="342"/>
                </a:cubicBezTo>
                <a:cubicBezTo>
                  <a:pt x="209" y="342"/>
                  <a:pt x="208" y="342"/>
                  <a:pt x="208" y="342"/>
                </a:cubicBezTo>
                <a:cubicBezTo>
                  <a:pt x="193" y="342"/>
                  <a:pt x="193" y="342"/>
                  <a:pt x="193" y="342"/>
                </a:cubicBezTo>
                <a:cubicBezTo>
                  <a:pt x="193" y="286"/>
                  <a:pt x="193" y="286"/>
                  <a:pt x="193" y="286"/>
                </a:cubicBezTo>
                <a:cubicBezTo>
                  <a:pt x="193" y="281"/>
                  <a:pt x="189" y="278"/>
                  <a:pt x="185" y="278"/>
                </a:cubicBezTo>
                <a:cubicBezTo>
                  <a:pt x="181" y="278"/>
                  <a:pt x="177" y="281"/>
                  <a:pt x="177" y="286"/>
                </a:cubicBezTo>
                <a:cubicBezTo>
                  <a:pt x="177" y="342"/>
                  <a:pt x="177" y="342"/>
                  <a:pt x="177" y="342"/>
                </a:cubicBezTo>
                <a:cubicBezTo>
                  <a:pt x="121" y="342"/>
                  <a:pt x="121" y="342"/>
                  <a:pt x="121" y="342"/>
                </a:cubicBezTo>
                <a:cubicBezTo>
                  <a:pt x="121" y="286"/>
                  <a:pt x="121" y="286"/>
                  <a:pt x="121" y="286"/>
                </a:cubicBezTo>
                <a:cubicBezTo>
                  <a:pt x="121" y="281"/>
                  <a:pt x="117" y="278"/>
                  <a:pt x="113" y="278"/>
                </a:cubicBezTo>
                <a:cubicBezTo>
                  <a:pt x="108" y="278"/>
                  <a:pt x="105" y="281"/>
                  <a:pt x="105" y="286"/>
                </a:cubicBezTo>
                <a:cubicBezTo>
                  <a:pt x="105" y="342"/>
                  <a:pt x="105" y="342"/>
                  <a:pt x="105" y="342"/>
                </a:cubicBezTo>
                <a:cubicBezTo>
                  <a:pt x="90" y="342"/>
                  <a:pt x="90" y="342"/>
                  <a:pt x="90" y="342"/>
                </a:cubicBezTo>
                <a:cubicBezTo>
                  <a:pt x="89" y="342"/>
                  <a:pt x="89" y="342"/>
                  <a:pt x="89" y="342"/>
                </a:cubicBezTo>
                <a:cubicBezTo>
                  <a:pt x="89" y="342"/>
                  <a:pt x="89" y="341"/>
                  <a:pt x="88" y="341"/>
                </a:cubicBezTo>
                <a:lnTo>
                  <a:pt x="88" y="286"/>
                </a:ln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216" name="Freeform 3"/>
          <p:cNvSpPr>
            <a:spLocks noChangeAspect="1" noEditPoints="1"/>
          </p:cNvSpPr>
          <p:nvPr/>
        </p:nvSpPr>
        <p:spPr bwMode="auto">
          <a:xfrm>
            <a:off x="6205380" y="1584325"/>
            <a:ext cx="515701" cy="400050"/>
          </a:xfrm>
          <a:custGeom>
            <a:avLst/>
            <a:gdLst>
              <a:gd name="T0" fmla="*/ 2147483647 w 461"/>
              <a:gd name="T1" fmla="*/ 2147483647 h 310"/>
              <a:gd name="T2" fmla="*/ 2147483647 w 461"/>
              <a:gd name="T3" fmla="*/ 2147483647 h 310"/>
              <a:gd name="T4" fmla="*/ 2147483647 w 461"/>
              <a:gd name="T5" fmla="*/ 2147483647 h 310"/>
              <a:gd name="T6" fmla="*/ 2147483647 w 461"/>
              <a:gd name="T7" fmla="*/ 2147483647 h 310"/>
              <a:gd name="T8" fmla="*/ 2147483647 w 461"/>
              <a:gd name="T9" fmla="*/ 2147483647 h 310"/>
              <a:gd name="T10" fmla="*/ 2147483647 w 461"/>
              <a:gd name="T11" fmla="*/ 2147483647 h 310"/>
              <a:gd name="T12" fmla="*/ 2147483647 w 461"/>
              <a:gd name="T13" fmla="*/ 2147483647 h 310"/>
              <a:gd name="T14" fmla="*/ 2147483647 w 461"/>
              <a:gd name="T15" fmla="*/ 2147483647 h 310"/>
              <a:gd name="T16" fmla="*/ 0 w 461"/>
              <a:gd name="T17" fmla="*/ 2147483647 h 310"/>
              <a:gd name="T18" fmla="*/ 2147483647 w 461"/>
              <a:gd name="T19" fmla="*/ 2147483647 h 310"/>
              <a:gd name="T20" fmla="*/ 2147483647 w 461"/>
              <a:gd name="T21" fmla="*/ 2147483647 h 310"/>
              <a:gd name="T22" fmla="*/ 2147483647 w 461"/>
              <a:gd name="T23" fmla="*/ 2147483647 h 310"/>
              <a:gd name="T24" fmla="*/ 2147483647 w 461"/>
              <a:gd name="T25" fmla="*/ 2147483647 h 310"/>
              <a:gd name="T26" fmla="*/ 2147483647 w 461"/>
              <a:gd name="T27" fmla="*/ 2147483647 h 310"/>
              <a:gd name="T28" fmla="*/ 2147483647 w 461"/>
              <a:gd name="T29" fmla="*/ 2147483647 h 310"/>
              <a:gd name="T30" fmla="*/ 2147483647 w 461"/>
              <a:gd name="T31" fmla="*/ 2147483647 h 310"/>
              <a:gd name="T32" fmla="*/ 2147483647 w 461"/>
              <a:gd name="T33" fmla="*/ 2147483647 h 310"/>
              <a:gd name="T34" fmla="*/ 2147483647 w 461"/>
              <a:gd name="T35" fmla="*/ 2147483647 h 310"/>
              <a:gd name="T36" fmla="*/ 2147483647 w 461"/>
              <a:gd name="T37" fmla="*/ 2147483647 h 310"/>
              <a:gd name="T38" fmla="*/ 2147483647 w 461"/>
              <a:gd name="T39" fmla="*/ 2147483647 h 310"/>
              <a:gd name="T40" fmla="*/ 2147483647 w 461"/>
              <a:gd name="T41" fmla="*/ 2147483647 h 310"/>
              <a:gd name="T42" fmla="*/ 2147483647 w 461"/>
              <a:gd name="T43" fmla="*/ 2147483647 h 310"/>
              <a:gd name="T44" fmla="*/ 2147483647 w 461"/>
              <a:gd name="T45" fmla="*/ 2147483647 h 310"/>
              <a:gd name="T46" fmla="*/ 2147483647 w 461"/>
              <a:gd name="T47" fmla="*/ 2147483647 h 310"/>
              <a:gd name="T48" fmla="*/ 2147483647 w 461"/>
              <a:gd name="T49" fmla="*/ 2147483647 h 310"/>
              <a:gd name="T50" fmla="*/ 2147483647 w 461"/>
              <a:gd name="T51" fmla="*/ 2147483647 h 310"/>
              <a:gd name="T52" fmla="*/ 2147483647 w 461"/>
              <a:gd name="T53" fmla="*/ 2147483647 h 310"/>
              <a:gd name="T54" fmla="*/ 2147483647 w 461"/>
              <a:gd name="T55" fmla="*/ 2147483647 h 310"/>
              <a:gd name="T56" fmla="*/ 2147483647 w 461"/>
              <a:gd name="T57" fmla="*/ 2147483647 h 310"/>
              <a:gd name="T58" fmla="*/ 2147483647 w 461"/>
              <a:gd name="T59" fmla="*/ 2147483647 h 310"/>
              <a:gd name="T60" fmla="*/ 2147483647 w 461"/>
              <a:gd name="T61" fmla="*/ 2147483647 h 310"/>
              <a:gd name="T62" fmla="*/ 2147483647 w 461"/>
              <a:gd name="T63" fmla="*/ 2147483647 h 310"/>
              <a:gd name="T64" fmla="*/ 2147483647 w 461"/>
              <a:gd name="T65" fmla="*/ 2147483647 h 310"/>
              <a:gd name="T66" fmla="*/ 2147483647 w 461"/>
              <a:gd name="T67" fmla="*/ 2147483647 h 310"/>
              <a:gd name="T68" fmla="*/ 2147483647 w 461"/>
              <a:gd name="T69" fmla="*/ 2147483647 h 310"/>
              <a:gd name="T70" fmla="*/ 2147483647 w 461"/>
              <a:gd name="T71" fmla="*/ 2147483647 h 310"/>
              <a:gd name="T72" fmla="*/ 2147483647 w 461"/>
              <a:gd name="T73" fmla="*/ 2147483647 h 310"/>
              <a:gd name="T74" fmla="*/ 2147483647 w 461"/>
              <a:gd name="T75" fmla="*/ 2147483647 h 310"/>
              <a:gd name="T76" fmla="*/ 2147483647 w 461"/>
              <a:gd name="T77" fmla="*/ 2147483647 h 310"/>
              <a:gd name="T78" fmla="*/ 2147483647 w 461"/>
              <a:gd name="T79" fmla="*/ 2147483647 h 310"/>
              <a:gd name="T80" fmla="*/ 2147483647 w 461"/>
              <a:gd name="T81" fmla="*/ 2147483647 h 310"/>
              <a:gd name="T82" fmla="*/ 2147483647 w 461"/>
              <a:gd name="T83" fmla="*/ 2147483647 h 310"/>
              <a:gd name="T84" fmla="*/ 2147483647 w 461"/>
              <a:gd name="T85" fmla="*/ 2147483647 h 310"/>
              <a:gd name="T86" fmla="*/ 2147483647 w 461"/>
              <a:gd name="T87" fmla="*/ 2147483647 h 310"/>
              <a:gd name="T88" fmla="*/ 2147483647 w 461"/>
              <a:gd name="T89" fmla="*/ 2147483647 h 310"/>
              <a:gd name="T90" fmla="*/ 2147483647 w 461"/>
              <a:gd name="T91" fmla="*/ 2147483647 h 310"/>
              <a:gd name="T92" fmla="*/ 2147483647 w 461"/>
              <a:gd name="T93" fmla="*/ 2147483647 h 310"/>
              <a:gd name="T94" fmla="*/ 2147483647 w 461"/>
              <a:gd name="T95" fmla="*/ 2147483647 h 310"/>
              <a:gd name="T96" fmla="*/ 2147483647 w 461"/>
              <a:gd name="T97" fmla="*/ 2147483647 h 310"/>
              <a:gd name="T98" fmla="*/ 2147483647 w 461"/>
              <a:gd name="T99" fmla="*/ 2147483647 h 310"/>
              <a:gd name="T100" fmla="*/ 2147483647 w 461"/>
              <a:gd name="T101" fmla="*/ 2147483647 h 310"/>
              <a:gd name="T102" fmla="*/ 2147483647 w 461"/>
              <a:gd name="T103" fmla="*/ 2147483647 h 310"/>
              <a:gd name="T104" fmla="*/ 2147483647 w 461"/>
              <a:gd name="T105" fmla="*/ 2147483647 h 310"/>
              <a:gd name="T106" fmla="*/ 2147483647 w 461"/>
              <a:gd name="T107" fmla="*/ 2147483647 h 310"/>
              <a:gd name="T108" fmla="*/ 2147483647 w 461"/>
              <a:gd name="T109" fmla="*/ 2147483647 h 310"/>
              <a:gd name="T110" fmla="*/ 2147483647 w 461"/>
              <a:gd name="T111" fmla="*/ 2147483647 h 310"/>
              <a:gd name="T112" fmla="*/ 2147483647 w 461"/>
              <a:gd name="T113" fmla="*/ 2147483647 h 310"/>
              <a:gd name="T114" fmla="*/ 2147483647 w 461"/>
              <a:gd name="T115" fmla="*/ 2147483647 h 310"/>
              <a:gd name="T116" fmla="*/ 2147483647 w 461"/>
              <a:gd name="T117" fmla="*/ 2147483647 h 310"/>
              <a:gd name="T118" fmla="*/ 2147483647 w 461"/>
              <a:gd name="T119" fmla="*/ 2147483647 h 310"/>
              <a:gd name="T120" fmla="*/ 2147483647 w 461"/>
              <a:gd name="T121" fmla="*/ 2147483647 h 310"/>
              <a:gd name="T122" fmla="*/ 2147483647 w 461"/>
              <a:gd name="T123" fmla="*/ 2147483647 h 310"/>
              <a:gd name="T124" fmla="*/ 2147483647 w 461"/>
              <a:gd name="T125" fmla="*/ 2147483647 h 3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61"/>
              <a:gd name="T190" fmla="*/ 0 h 310"/>
              <a:gd name="T191" fmla="*/ 461 w 461"/>
              <a:gd name="T192" fmla="*/ 310 h 31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61" h="310">
                <a:moveTo>
                  <a:pt x="449" y="165"/>
                </a:moveTo>
                <a:cubicBezTo>
                  <a:pt x="444" y="158"/>
                  <a:pt x="438" y="153"/>
                  <a:pt x="431" y="149"/>
                </a:cubicBezTo>
                <a:cubicBezTo>
                  <a:pt x="439" y="138"/>
                  <a:pt x="444" y="125"/>
                  <a:pt x="444" y="111"/>
                </a:cubicBezTo>
                <a:cubicBezTo>
                  <a:pt x="444" y="102"/>
                  <a:pt x="442" y="93"/>
                  <a:pt x="438" y="85"/>
                </a:cubicBezTo>
                <a:cubicBezTo>
                  <a:pt x="432" y="72"/>
                  <a:pt x="422" y="61"/>
                  <a:pt x="409" y="55"/>
                </a:cubicBezTo>
                <a:cubicBezTo>
                  <a:pt x="401" y="51"/>
                  <a:pt x="392" y="49"/>
                  <a:pt x="382" y="49"/>
                </a:cubicBezTo>
                <a:cubicBezTo>
                  <a:pt x="348" y="49"/>
                  <a:pt x="321" y="77"/>
                  <a:pt x="321" y="111"/>
                </a:cubicBezTo>
                <a:cubicBezTo>
                  <a:pt x="321" y="125"/>
                  <a:pt x="326" y="138"/>
                  <a:pt x="334" y="149"/>
                </a:cubicBezTo>
                <a:cubicBezTo>
                  <a:pt x="329" y="151"/>
                  <a:pt x="325" y="155"/>
                  <a:pt x="321" y="158"/>
                </a:cubicBezTo>
                <a:cubicBezTo>
                  <a:pt x="320" y="157"/>
                  <a:pt x="319" y="155"/>
                  <a:pt x="318" y="154"/>
                </a:cubicBezTo>
                <a:cubicBezTo>
                  <a:pt x="311" y="145"/>
                  <a:pt x="302" y="137"/>
                  <a:pt x="293" y="132"/>
                </a:cubicBezTo>
                <a:cubicBezTo>
                  <a:pt x="304" y="118"/>
                  <a:pt x="311" y="100"/>
                  <a:pt x="311" y="80"/>
                </a:cubicBezTo>
                <a:cubicBezTo>
                  <a:pt x="311" y="65"/>
                  <a:pt x="307" y="50"/>
                  <a:pt x="299" y="37"/>
                </a:cubicBezTo>
                <a:cubicBezTo>
                  <a:pt x="296" y="34"/>
                  <a:pt x="291" y="33"/>
                  <a:pt x="288" y="35"/>
                </a:cubicBezTo>
                <a:cubicBezTo>
                  <a:pt x="284" y="37"/>
                  <a:pt x="283" y="42"/>
                  <a:pt x="285" y="46"/>
                </a:cubicBezTo>
                <a:cubicBezTo>
                  <a:pt x="292" y="56"/>
                  <a:pt x="295" y="68"/>
                  <a:pt x="295" y="80"/>
                </a:cubicBezTo>
                <a:cubicBezTo>
                  <a:pt x="295" y="116"/>
                  <a:pt x="266" y="144"/>
                  <a:pt x="231" y="144"/>
                </a:cubicBezTo>
                <a:cubicBezTo>
                  <a:pt x="196" y="144"/>
                  <a:pt x="167" y="116"/>
                  <a:pt x="167" y="80"/>
                </a:cubicBezTo>
                <a:cubicBezTo>
                  <a:pt x="167" y="45"/>
                  <a:pt x="196" y="16"/>
                  <a:pt x="231" y="16"/>
                </a:cubicBezTo>
                <a:cubicBezTo>
                  <a:pt x="243" y="16"/>
                  <a:pt x="255" y="20"/>
                  <a:pt x="265" y="26"/>
                </a:cubicBezTo>
                <a:cubicBezTo>
                  <a:pt x="269" y="28"/>
                  <a:pt x="274" y="27"/>
                  <a:pt x="276" y="24"/>
                </a:cubicBezTo>
                <a:cubicBezTo>
                  <a:pt x="279" y="20"/>
                  <a:pt x="278" y="15"/>
                  <a:pt x="274" y="13"/>
                </a:cubicBezTo>
                <a:cubicBezTo>
                  <a:pt x="261" y="4"/>
                  <a:pt x="246" y="0"/>
                  <a:pt x="231" y="0"/>
                </a:cubicBezTo>
                <a:cubicBezTo>
                  <a:pt x="187" y="0"/>
                  <a:pt x="151" y="36"/>
                  <a:pt x="151" y="80"/>
                </a:cubicBezTo>
                <a:cubicBezTo>
                  <a:pt x="151" y="100"/>
                  <a:pt x="158" y="118"/>
                  <a:pt x="169" y="132"/>
                </a:cubicBezTo>
                <a:cubicBezTo>
                  <a:pt x="160" y="137"/>
                  <a:pt x="151" y="145"/>
                  <a:pt x="144" y="154"/>
                </a:cubicBezTo>
                <a:cubicBezTo>
                  <a:pt x="143" y="155"/>
                  <a:pt x="142" y="157"/>
                  <a:pt x="140" y="159"/>
                </a:cubicBezTo>
                <a:cubicBezTo>
                  <a:pt x="137" y="155"/>
                  <a:pt x="132" y="151"/>
                  <a:pt x="128" y="149"/>
                </a:cubicBezTo>
                <a:cubicBezTo>
                  <a:pt x="136" y="138"/>
                  <a:pt x="141" y="125"/>
                  <a:pt x="141" y="111"/>
                </a:cubicBezTo>
                <a:cubicBezTo>
                  <a:pt x="141" y="102"/>
                  <a:pt x="139" y="93"/>
                  <a:pt x="135" y="85"/>
                </a:cubicBezTo>
                <a:cubicBezTo>
                  <a:pt x="129" y="72"/>
                  <a:pt x="118" y="61"/>
                  <a:pt x="105" y="55"/>
                </a:cubicBezTo>
                <a:cubicBezTo>
                  <a:pt x="97" y="51"/>
                  <a:pt x="88" y="49"/>
                  <a:pt x="79" y="49"/>
                </a:cubicBezTo>
                <a:cubicBezTo>
                  <a:pt x="45" y="49"/>
                  <a:pt x="17" y="77"/>
                  <a:pt x="17" y="111"/>
                </a:cubicBezTo>
                <a:cubicBezTo>
                  <a:pt x="17" y="125"/>
                  <a:pt x="22" y="138"/>
                  <a:pt x="30" y="149"/>
                </a:cubicBezTo>
                <a:cubicBezTo>
                  <a:pt x="23" y="153"/>
                  <a:pt x="17" y="158"/>
                  <a:pt x="12" y="165"/>
                </a:cubicBezTo>
                <a:cubicBezTo>
                  <a:pt x="5" y="174"/>
                  <a:pt x="0" y="186"/>
                  <a:pt x="0" y="198"/>
                </a:cubicBezTo>
                <a:cubicBezTo>
                  <a:pt x="0" y="266"/>
                  <a:pt x="0" y="266"/>
                  <a:pt x="0" y="266"/>
                </a:cubicBezTo>
                <a:cubicBezTo>
                  <a:pt x="0" y="276"/>
                  <a:pt x="7" y="284"/>
                  <a:pt x="17" y="284"/>
                </a:cubicBezTo>
                <a:cubicBezTo>
                  <a:pt x="128" y="284"/>
                  <a:pt x="128" y="284"/>
                  <a:pt x="128" y="284"/>
                </a:cubicBezTo>
                <a:cubicBezTo>
                  <a:pt x="128" y="288"/>
                  <a:pt x="128" y="288"/>
                  <a:pt x="128" y="288"/>
                </a:cubicBezTo>
                <a:cubicBezTo>
                  <a:pt x="128" y="300"/>
                  <a:pt x="136" y="310"/>
                  <a:pt x="148" y="310"/>
                </a:cubicBezTo>
                <a:cubicBezTo>
                  <a:pt x="314" y="310"/>
                  <a:pt x="314" y="310"/>
                  <a:pt x="314" y="310"/>
                </a:cubicBezTo>
                <a:cubicBezTo>
                  <a:pt x="326" y="310"/>
                  <a:pt x="334" y="300"/>
                  <a:pt x="334" y="288"/>
                </a:cubicBezTo>
                <a:cubicBezTo>
                  <a:pt x="334" y="284"/>
                  <a:pt x="334" y="284"/>
                  <a:pt x="334" y="284"/>
                </a:cubicBezTo>
                <a:cubicBezTo>
                  <a:pt x="444" y="284"/>
                  <a:pt x="444" y="284"/>
                  <a:pt x="444" y="284"/>
                </a:cubicBezTo>
                <a:cubicBezTo>
                  <a:pt x="454" y="284"/>
                  <a:pt x="461" y="276"/>
                  <a:pt x="461" y="266"/>
                </a:cubicBezTo>
                <a:cubicBezTo>
                  <a:pt x="461" y="198"/>
                  <a:pt x="461" y="198"/>
                  <a:pt x="461" y="198"/>
                </a:cubicBezTo>
                <a:cubicBezTo>
                  <a:pt x="461" y="186"/>
                  <a:pt x="456" y="174"/>
                  <a:pt x="449" y="165"/>
                </a:cubicBezTo>
                <a:close/>
                <a:moveTo>
                  <a:pt x="79" y="65"/>
                </a:moveTo>
                <a:cubicBezTo>
                  <a:pt x="86" y="65"/>
                  <a:pt x="92" y="67"/>
                  <a:pt x="98" y="70"/>
                </a:cubicBezTo>
                <a:cubicBezTo>
                  <a:pt x="108" y="74"/>
                  <a:pt x="116" y="82"/>
                  <a:pt x="120" y="92"/>
                </a:cubicBezTo>
                <a:cubicBezTo>
                  <a:pt x="123" y="97"/>
                  <a:pt x="125" y="104"/>
                  <a:pt x="125" y="111"/>
                </a:cubicBezTo>
                <a:cubicBezTo>
                  <a:pt x="125" y="125"/>
                  <a:pt x="118" y="137"/>
                  <a:pt x="109" y="146"/>
                </a:cubicBezTo>
                <a:cubicBezTo>
                  <a:pt x="108" y="146"/>
                  <a:pt x="107" y="147"/>
                  <a:pt x="106" y="147"/>
                </a:cubicBezTo>
                <a:cubicBezTo>
                  <a:pt x="106" y="148"/>
                  <a:pt x="106" y="148"/>
                  <a:pt x="105" y="148"/>
                </a:cubicBezTo>
                <a:cubicBezTo>
                  <a:pt x="105" y="149"/>
                  <a:pt x="104" y="149"/>
                  <a:pt x="103" y="150"/>
                </a:cubicBezTo>
                <a:cubicBezTo>
                  <a:pt x="103" y="150"/>
                  <a:pt x="102" y="150"/>
                  <a:pt x="102" y="151"/>
                </a:cubicBezTo>
                <a:cubicBezTo>
                  <a:pt x="101" y="151"/>
                  <a:pt x="100" y="151"/>
                  <a:pt x="100" y="152"/>
                </a:cubicBezTo>
                <a:cubicBezTo>
                  <a:pt x="99" y="152"/>
                  <a:pt x="98" y="152"/>
                  <a:pt x="98" y="153"/>
                </a:cubicBezTo>
                <a:cubicBezTo>
                  <a:pt x="97" y="153"/>
                  <a:pt x="97" y="153"/>
                  <a:pt x="96" y="153"/>
                </a:cubicBezTo>
                <a:cubicBezTo>
                  <a:pt x="95" y="154"/>
                  <a:pt x="94" y="154"/>
                  <a:pt x="94" y="154"/>
                </a:cubicBezTo>
                <a:cubicBezTo>
                  <a:pt x="93" y="154"/>
                  <a:pt x="92" y="155"/>
                  <a:pt x="92" y="155"/>
                </a:cubicBezTo>
                <a:cubicBezTo>
                  <a:pt x="91" y="155"/>
                  <a:pt x="90" y="155"/>
                  <a:pt x="89" y="156"/>
                </a:cubicBezTo>
                <a:cubicBezTo>
                  <a:pt x="89" y="156"/>
                  <a:pt x="88" y="156"/>
                  <a:pt x="88" y="156"/>
                </a:cubicBezTo>
                <a:cubicBezTo>
                  <a:pt x="87" y="156"/>
                  <a:pt x="86" y="156"/>
                  <a:pt x="84" y="156"/>
                </a:cubicBezTo>
                <a:cubicBezTo>
                  <a:pt x="84" y="156"/>
                  <a:pt x="84" y="156"/>
                  <a:pt x="83" y="156"/>
                </a:cubicBezTo>
                <a:cubicBezTo>
                  <a:pt x="82" y="157"/>
                  <a:pt x="80" y="157"/>
                  <a:pt x="79" y="157"/>
                </a:cubicBezTo>
                <a:cubicBezTo>
                  <a:pt x="77" y="157"/>
                  <a:pt x="76" y="157"/>
                  <a:pt x="74" y="156"/>
                </a:cubicBezTo>
                <a:cubicBezTo>
                  <a:pt x="74" y="156"/>
                  <a:pt x="74" y="156"/>
                  <a:pt x="73" y="156"/>
                </a:cubicBezTo>
                <a:cubicBezTo>
                  <a:pt x="72" y="156"/>
                  <a:pt x="71" y="156"/>
                  <a:pt x="70" y="156"/>
                </a:cubicBezTo>
                <a:cubicBezTo>
                  <a:pt x="69" y="156"/>
                  <a:pt x="69" y="156"/>
                  <a:pt x="69" y="156"/>
                </a:cubicBezTo>
                <a:cubicBezTo>
                  <a:pt x="68" y="155"/>
                  <a:pt x="67" y="155"/>
                  <a:pt x="66" y="155"/>
                </a:cubicBezTo>
                <a:cubicBezTo>
                  <a:pt x="65" y="155"/>
                  <a:pt x="65" y="154"/>
                  <a:pt x="64" y="154"/>
                </a:cubicBezTo>
                <a:cubicBezTo>
                  <a:pt x="63" y="154"/>
                  <a:pt x="63" y="154"/>
                  <a:pt x="62" y="153"/>
                </a:cubicBezTo>
                <a:cubicBezTo>
                  <a:pt x="61" y="153"/>
                  <a:pt x="61" y="153"/>
                  <a:pt x="60" y="153"/>
                </a:cubicBezTo>
                <a:cubicBezTo>
                  <a:pt x="59" y="152"/>
                  <a:pt x="59" y="152"/>
                  <a:pt x="58" y="152"/>
                </a:cubicBezTo>
                <a:cubicBezTo>
                  <a:pt x="57" y="151"/>
                  <a:pt x="57" y="151"/>
                  <a:pt x="56" y="151"/>
                </a:cubicBezTo>
                <a:cubicBezTo>
                  <a:pt x="56" y="150"/>
                  <a:pt x="55" y="150"/>
                  <a:pt x="55" y="150"/>
                </a:cubicBezTo>
                <a:cubicBezTo>
                  <a:pt x="54" y="149"/>
                  <a:pt x="53" y="149"/>
                  <a:pt x="52" y="148"/>
                </a:cubicBezTo>
                <a:cubicBezTo>
                  <a:pt x="52" y="148"/>
                  <a:pt x="52" y="148"/>
                  <a:pt x="51" y="147"/>
                </a:cubicBezTo>
                <a:cubicBezTo>
                  <a:pt x="51" y="147"/>
                  <a:pt x="50" y="146"/>
                  <a:pt x="49" y="146"/>
                </a:cubicBezTo>
                <a:cubicBezTo>
                  <a:pt x="39" y="137"/>
                  <a:pt x="33" y="125"/>
                  <a:pt x="33" y="111"/>
                </a:cubicBezTo>
                <a:cubicBezTo>
                  <a:pt x="33" y="86"/>
                  <a:pt x="54" y="65"/>
                  <a:pt x="79" y="65"/>
                </a:cubicBezTo>
                <a:close/>
                <a:moveTo>
                  <a:pt x="129" y="189"/>
                </a:moveTo>
                <a:cubicBezTo>
                  <a:pt x="128" y="190"/>
                  <a:pt x="128" y="191"/>
                  <a:pt x="128" y="192"/>
                </a:cubicBezTo>
                <a:cubicBezTo>
                  <a:pt x="128" y="194"/>
                  <a:pt x="128" y="195"/>
                  <a:pt x="128" y="196"/>
                </a:cubicBezTo>
                <a:cubicBezTo>
                  <a:pt x="128" y="196"/>
                  <a:pt x="128" y="196"/>
                  <a:pt x="128" y="196"/>
                </a:cubicBezTo>
                <a:cubicBezTo>
                  <a:pt x="128" y="268"/>
                  <a:pt x="128" y="268"/>
                  <a:pt x="128" y="268"/>
                </a:cubicBezTo>
                <a:cubicBezTo>
                  <a:pt x="43" y="268"/>
                  <a:pt x="43" y="268"/>
                  <a:pt x="43" y="268"/>
                </a:cubicBezTo>
                <a:cubicBezTo>
                  <a:pt x="43" y="206"/>
                  <a:pt x="43" y="206"/>
                  <a:pt x="43" y="206"/>
                </a:cubicBezTo>
                <a:cubicBezTo>
                  <a:pt x="43" y="202"/>
                  <a:pt x="39" y="198"/>
                  <a:pt x="35" y="198"/>
                </a:cubicBezTo>
                <a:cubicBezTo>
                  <a:pt x="31" y="198"/>
                  <a:pt x="27" y="202"/>
                  <a:pt x="27" y="206"/>
                </a:cubicBezTo>
                <a:cubicBezTo>
                  <a:pt x="27" y="268"/>
                  <a:pt x="27" y="268"/>
                  <a:pt x="27" y="268"/>
                </a:cubicBezTo>
                <a:cubicBezTo>
                  <a:pt x="17" y="268"/>
                  <a:pt x="17" y="268"/>
                  <a:pt x="17" y="268"/>
                </a:cubicBezTo>
                <a:cubicBezTo>
                  <a:pt x="17" y="268"/>
                  <a:pt x="17" y="268"/>
                  <a:pt x="17" y="268"/>
                </a:cubicBezTo>
                <a:cubicBezTo>
                  <a:pt x="16" y="268"/>
                  <a:pt x="16" y="267"/>
                  <a:pt x="16" y="266"/>
                </a:cubicBezTo>
                <a:cubicBezTo>
                  <a:pt x="16" y="198"/>
                  <a:pt x="16" y="198"/>
                  <a:pt x="16" y="198"/>
                </a:cubicBezTo>
                <a:cubicBezTo>
                  <a:pt x="16" y="191"/>
                  <a:pt x="19" y="182"/>
                  <a:pt x="25" y="174"/>
                </a:cubicBezTo>
                <a:cubicBezTo>
                  <a:pt x="30" y="168"/>
                  <a:pt x="36" y="163"/>
                  <a:pt x="42" y="160"/>
                </a:cubicBezTo>
                <a:cubicBezTo>
                  <a:pt x="42" y="161"/>
                  <a:pt x="42" y="161"/>
                  <a:pt x="43" y="161"/>
                </a:cubicBezTo>
                <a:cubicBezTo>
                  <a:pt x="44" y="162"/>
                  <a:pt x="45" y="162"/>
                  <a:pt x="46" y="163"/>
                </a:cubicBezTo>
                <a:cubicBezTo>
                  <a:pt x="46" y="163"/>
                  <a:pt x="47" y="164"/>
                  <a:pt x="47" y="164"/>
                </a:cubicBezTo>
                <a:cubicBezTo>
                  <a:pt x="48" y="164"/>
                  <a:pt x="49" y="165"/>
                  <a:pt x="50" y="166"/>
                </a:cubicBezTo>
                <a:cubicBezTo>
                  <a:pt x="50" y="166"/>
                  <a:pt x="51" y="166"/>
                  <a:pt x="51" y="166"/>
                </a:cubicBezTo>
                <a:cubicBezTo>
                  <a:pt x="53" y="167"/>
                  <a:pt x="55" y="168"/>
                  <a:pt x="57" y="169"/>
                </a:cubicBezTo>
                <a:cubicBezTo>
                  <a:pt x="58" y="169"/>
                  <a:pt x="59" y="169"/>
                  <a:pt x="60" y="170"/>
                </a:cubicBezTo>
                <a:cubicBezTo>
                  <a:pt x="60" y="170"/>
                  <a:pt x="61" y="170"/>
                  <a:pt x="62" y="170"/>
                </a:cubicBezTo>
                <a:cubicBezTo>
                  <a:pt x="63" y="171"/>
                  <a:pt x="64" y="171"/>
                  <a:pt x="65" y="171"/>
                </a:cubicBezTo>
                <a:cubicBezTo>
                  <a:pt x="66" y="171"/>
                  <a:pt x="67" y="171"/>
                  <a:pt x="67" y="172"/>
                </a:cubicBezTo>
                <a:cubicBezTo>
                  <a:pt x="69" y="172"/>
                  <a:pt x="70" y="172"/>
                  <a:pt x="71" y="172"/>
                </a:cubicBezTo>
                <a:cubicBezTo>
                  <a:pt x="72" y="172"/>
                  <a:pt x="72" y="172"/>
                  <a:pt x="73" y="172"/>
                </a:cubicBezTo>
                <a:cubicBezTo>
                  <a:pt x="75" y="173"/>
                  <a:pt x="77" y="173"/>
                  <a:pt x="79" y="173"/>
                </a:cubicBezTo>
                <a:cubicBezTo>
                  <a:pt x="81" y="173"/>
                  <a:pt x="83" y="173"/>
                  <a:pt x="85" y="172"/>
                </a:cubicBezTo>
                <a:cubicBezTo>
                  <a:pt x="85" y="172"/>
                  <a:pt x="86" y="172"/>
                  <a:pt x="86" y="172"/>
                </a:cubicBezTo>
                <a:cubicBezTo>
                  <a:pt x="88" y="172"/>
                  <a:pt x="89" y="172"/>
                  <a:pt x="90" y="172"/>
                </a:cubicBezTo>
                <a:cubicBezTo>
                  <a:pt x="91" y="171"/>
                  <a:pt x="92" y="171"/>
                  <a:pt x="92" y="171"/>
                </a:cubicBezTo>
                <a:cubicBezTo>
                  <a:pt x="94" y="171"/>
                  <a:pt x="95" y="171"/>
                  <a:pt x="96" y="170"/>
                </a:cubicBezTo>
                <a:cubicBezTo>
                  <a:pt x="96" y="170"/>
                  <a:pt x="97" y="170"/>
                  <a:pt x="98" y="170"/>
                </a:cubicBezTo>
                <a:cubicBezTo>
                  <a:pt x="99" y="169"/>
                  <a:pt x="100" y="169"/>
                  <a:pt x="101" y="169"/>
                </a:cubicBezTo>
                <a:cubicBezTo>
                  <a:pt x="103" y="168"/>
                  <a:pt x="105" y="167"/>
                  <a:pt x="107" y="166"/>
                </a:cubicBezTo>
                <a:cubicBezTo>
                  <a:pt x="107" y="166"/>
                  <a:pt x="108" y="166"/>
                  <a:pt x="108" y="166"/>
                </a:cubicBezTo>
                <a:cubicBezTo>
                  <a:pt x="109" y="165"/>
                  <a:pt x="110" y="164"/>
                  <a:pt x="111" y="164"/>
                </a:cubicBezTo>
                <a:cubicBezTo>
                  <a:pt x="111" y="164"/>
                  <a:pt x="112" y="163"/>
                  <a:pt x="112" y="163"/>
                </a:cubicBezTo>
                <a:cubicBezTo>
                  <a:pt x="113" y="162"/>
                  <a:pt x="114" y="162"/>
                  <a:pt x="115" y="161"/>
                </a:cubicBezTo>
                <a:cubicBezTo>
                  <a:pt x="115" y="161"/>
                  <a:pt x="116" y="161"/>
                  <a:pt x="116" y="160"/>
                </a:cubicBezTo>
                <a:cubicBezTo>
                  <a:pt x="122" y="163"/>
                  <a:pt x="128" y="168"/>
                  <a:pt x="133" y="174"/>
                </a:cubicBezTo>
                <a:cubicBezTo>
                  <a:pt x="131" y="179"/>
                  <a:pt x="129" y="184"/>
                  <a:pt x="129" y="189"/>
                </a:cubicBezTo>
                <a:close/>
                <a:moveTo>
                  <a:pt x="318" y="288"/>
                </a:moveTo>
                <a:cubicBezTo>
                  <a:pt x="318" y="292"/>
                  <a:pt x="316" y="294"/>
                  <a:pt x="314" y="294"/>
                </a:cubicBezTo>
                <a:cubicBezTo>
                  <a:pt x="298" y="294"/>
                  <a:pt x="298" y="294"/>
                  <a:pt x="298" y="294"/>
                </a:cubicBezTo>
                <a:cubicBezTo>
                  <a:pt x="298" y="196"/>
                  <a:pt x="298" y="196"/>
                  <a:pt x="298" y="196"/>
                </a:cubicBezTo>
                <a:cubicBezTo>
                  <a:pt x="298" y="191"/>
                  <a:pt x="294" y="188"/>
                  <a:pt x="290" y="188"/>
                </a:cubicBezTo>
                <a:cubicBezTo>
                  <a:pt x="285" y="188"/>
                  <a:pt x="282" y="191"/>
                  <a:pt x="282" y="196"/>
                </a:cubicBezTo>
                <a:cubicBezTo>
                  <a:pt x="282" y="294"/>
                  <a:pt x="282" y="294"/>
                  <a:pt x="282" y="294"/>
                </a:cubicBezTo>
                <a:cubicBezTo>
                  <a:pt x="180" y="294"/>
                  <a:pt x="180" y="294"/>
                  <a:pt x="180" y="294"/>
                </a:cubicBezTo>
                <a:cubicBezTo>
                  <a:pt x="180" y="196"/>
                  <a:pt x="180" y="196"/>
                  <a:pt x="180" y="196"/>
                </a:cubicBezTo>
                <a:cubicBezTo>
                  <a:pt x="180" y="191"/>
                  <a:pt x="177" y="188"/>
                  <a:pt x="172" y="188"/>
                </a:cubicBezTo>
                <a:cubicBezTo>
                  <a:pt x="168" y="188"/>
                  <a:pt x="164" y="191"/>
                  <a:pt x="164" y="196"/>
                </a:cubicBezTo>
                <a:cubicBezTo>
                  <a:pt x="164" y="294"/>
                  <a:pt x="164" y="294"/>
                  <a:pt x="164" y="294"/>
                </a:cubicBezTo>
                <a:cubicBezTo>
                  <a:pt x="148" y="294"/>
                  <a:pt x="148" y="294"/>
                  <a:pt x="148" y="294"/>
                </a:cubicBezTo>
                <a:cubicBezTo>
                  <a:pt x="147" y="294"/>
                  <a:pt x="144" y="292"/>
                  <a:pt x="144" y="288"/>
                </a:cubicBezTo>
                <a:cubicBezTo>
                  <a:pt x="144" y="276"/>
                  <a:pt x="144" y="276"/>
                  <a:pt x="144" y="276"/>
                </a:cubicBezTo>
                <a:cubicBezTo>
                  <a:pt x="144" y="276"/>
                  <a:pt x="144" y="276"/>
                  <a:pt x="144" y="276"/>
                </a:cubicBezTo>
                <a:cubicBezTo>
                  <a:pt x="144" y="196"/>
                  <a:pt x="144" y="196"/>
                  <a:pt x="144" y="196"/>
                </a:cubicBezTo>
                <a:cubicBezTo>
                  <a:pt x="144" y="196"/>
                  <a:pt x="144" y="196"/>
                  <a:pt x="144" y="196"/>
                </a:cubicBezTo>
                <a:cubicBezTo>
                  <a:pt x="144" y="195"/>
                  <a:pt x="144" y="193"/>
                  <a:pt x="144" y="192"/>
                </a:cubicBezTo>
                <a:cubicBezTo>
                  <a:pt x="144" y="192"/>
                  <a:pt x="144" y="191"/>
                  <a:pt x="145" y="191"/>
                </a:cubicBezTo>
                <a:cubicBezTo>
                  <a:pt x="145" y="190"/>
                  <a:pt x="145" y="188"/>
                  <a:pt x="145" y="187"/>
                </a:cubicBezTo>
                <a:cubicBezTo>
                  <a:pt x="145" y="187"/>
                  <a:pt x="145" y="187"/>
                  <a:pt x="146" y="186"/>
                </a:cubicBezTo>
                <a:cubicBezTo>
                  <a:pt x="146" y="185"/>
                  <a:pt x="146" y="184"/>
                  <a:pt x="147" y="182"/>
                </a:cubicBezTo>
                <a:cubicBezTo>
                  <a:pt x="147" y="182"/>
                  <a:pt x="147" y="182"/>
                  <a:pt x="147" y="181"/>
                </a:cubicBezTo>
                <a:cubicBezTo>
                  <a:pt x="148" y="180"/>
                  <a:pt x="148" y="178"/>
                  <a:pt x="149" y="177"/>
                </a:cubicBezTo>
                <a:cubicBezTo>
                  <a:pt x="149" y="177"/>
                  <a:pt x="149" y="177"/>
                  <a:pt x="149" y="177"/>
                </a:cubicBezTo>
                <a:cubicBezTo>
                  <a:pt x="151" y="172"/>
                  <a:pt x="154" y="167"/>
                  <a:pt x="157" y="163"/>
                </a:cubicBezTo>
                <a:cubicBezTo>
                  <a:pt x="164" y="154"/>
                  <a:pt x="173" y="147"/>
                  <a:pt x="182" y="144"/>
                </a:cubicBezTo>
                <a:cubicBezTo>
                  <a:pt x="195" y="154"/>
                  <a:pt x="212" y="160"/>
                  <a:pt x="231" y="160"/>
                </a:cubicBezTo>
                <a:cubicBezTo>
                  <a:pt x="250" y="160"/>
                  <a:pt x="267" y="154"/>
                  <a:pt x="280" y="143"/>
                </a:cubicBezTo>
                <a:cubicBezTo>
                  <a:pt x="289" y="147"/>
                  <a:pt x="298" y="154"/>
                  <a:pt x="305" y="163"/>
                </a:cubicBezTo>
                <a:cubicBezTo>
                  <a:pt x="308" y="167"/>
                  <a:pt x="311" y="172"/>
                  <a:pt x="313" y="176"/>
                </a:cubicBezTo>
                <a:cubicBezTo>
                  <a:pt x="314" y="178"/>
                  <a:pt x="314" y="179"/>
                  <a:pt x="315" y="181"/>
                </a:cubicBezTo>
                <a:cubicBezTo>
                  <a:pt x="315" y="181"/>
                  <a:pt x="315" y="182"/>
                  <a:pt x="316" y="182"/>
                </a:cubicBezTo>
                <a:cubicBezTo>
                  <a:pt x="316" y="183"/>
                  <a:pt x="316" y="184"/>
                  <a:pt x="317" y="186"/>
                </a:cubicBezTo>
                <a:cubicBezTo>
                  <a:pt x="317" y="186"/>
                  <a:pt x="317" y="187"/>
                  <a:pt x="317" y="187"/>
                </a:cubicBezTo>
                <a:cubicBezTo>
                  <a:pt x="317" y="188"/>
                  <a:pt x="318" y="190"/>
                  <a:pt x="318" y="191"/>
                </a:cubicBezTo>
                <a:cubicBezTo>
                  <a:pt x="318" y="191"/>
                  <a:pt x="318" y="191"/>
                  <a:pt x="318" y="192"/>
                </a:cubicBezTo>
                <a:cubicBezTo>
                  <a:pt x="318" y="193"/>
                  <a:pt x="318" y="195"/>
                  <a:pt x="318" y="196"/>
                </a:cubicBezTo>
                <a:cubicBezTo>
                  <a:pt x="318" y="276"/>
                  <a:pt x="318" y="276"/>
                  <a:pt x="318" y="276"/>
                </a:cubicBezTo>
                <a:cubicBezTo>
                  <a:pt x="318" y="276"/>
                  <a:pt x="318" y="276"/>
                  <a:pt x="318" y="276"/>
                </a:cubicBezTo>
                <a:lnTo>
                  <a:pt x="318" y="288"/>
                </a:lnTo>
                <a:close/>
                <a:moveTo>
                  <a:pt x="382" y="65"/>
                </a:moveTo>
                <a:cubicBezTo>
                  <a:pt x="389" y="65"/>
                  <a:pt x="396" y="67"/>
                  <a:pt x="402" y="70"/>
                </a:cubicBezTo>
                <a:cubicBezTo>
                  <a:pt x="412" y="74"/>
                  <a:pt x="419" y="82"/>
                  <a:pt x="424" y="92"/>
                </a:cubicBezTo>
                <a:cubicBezTo>
                  <a:pt x="427" y="97"/>
                  <a:pt x="428" y="104"/>
                  <a:pt x="428" y="111"/>
                </a:cubicBezTo>
                <a:cubicBezTo>
                  <a:pt x="428" y="125"/>
                  <a:pt x="422" y="137"/>
                  <a:pt x="412" y="146"/>
                </a:cubicBezTo>
                <a:cubicBezTo>
                  <a:pt x="411" y="146"/>
                  <a:pt x="411" y="147"/>
                  <a:pt x="410" y="147"/>
                </a:cubicBezTo>
                <a:cubicBezTo>
                  <a:pt x="410" y="148"/>
                  <a:pt x="409" y="148"/>
                  <a:pt x="409" y="148"/>
                </a:cubicBezTo>
                <a:cubicBezTo>
                  <a:pt x="408" y="149"/>
                  <a:pt x="407" y="149"/>
                  <a:pt x="407" y="150"/>
                </a:cubicBezTo>
                <a:cubicBezTo>
                  <a:pt x="406" y="150"/>
                  <a:pt x="406" y="150"/>
                  <a:pt x="405" y="151"/>
                </a:cubicBezTo>
                <a:cubicBezTo>
                  <a:pt x="405" y="151"/>
                  <a:pt x="404" y="151"/>
                  <a:pt x="403" y="152"/>
                </a:cubicBezTo>
                <a:cubicBezTo>
                  <a:pt x="403" y="152"/>
                  <a:pt x="402" y="152"/>
                  <a:pt x="401" y="153"/>
                </a:cubicBezTo>
                <a:cubicBezTo>
                  <a:pt x="401" y="153"/>
                  <a:pt x="400" y="153"/>
                  <a:pt x="399" y="153"/>
                </a:cubicBezTo>
                <a:cubicBezTo>
                  <a:pt x="399" y="154"/>
                  <a:pt x="398" y="154"/>
                  <a:pt x="397" y="154"/>
                </a:cubicBezTo>
                <a:cubicBezTo>
                  <a:pt x="397" y="154"/>
                  <a:pt x="396" y="155"/>
                  <a:pt x="396" y="155"/>
                </a:cubicBezTo>
                <a:cubicBezTo>
                  <a:pt x="395" y="155"/>
                  <a:pt x="394" y="155"/>
                  <a:pt x="393" y="156"/>
                </a:cubicBezTo>
                <a:cubicBezTo>
                  <a:pt x="392" y="156"/>
                  <a:pt x="392" y="156"/>
                  <a:pt x="391" y="156"/>
                </a:cubicBezTo>
                <a:cubicBezTo>
                  <a:pt x="390" y="156"/>
                  <a:pt x="389" y="156"/>
                  <a:pt x="388" y="156"/>
                </a:cubicBezTo>
                <a:cubicBezTo>
                  <a:pt x="388" y="156"/>
                  <a:pt x="387" y="156"/>
                  <a:pt x="387" y="156"/>
                </a:cubicBezTo>
                <a:cubicBezTo>
                  <a:pt x="385" y="157"/>
                  <a:pt x="384" y="157"/>
                  <a:pt x="382" y="157"/>
                </a:cubicBezTo>
                <a:cubicBezTo>
                  <a:pt x="382" y="157"/>
                  <a:pt x="382" y="157"/>
                  <a:pt x="382" y="157"/>
                </a:cubicBezTo>
                <a:cubicBezTo>
                  <a:pt x="381" y="157"/>
                  <a:pt x="379" y="157"/>
                  <a:pt x="378" y="156"/>
                </a:cubicBezTo>
                <a:cubicBezTo>
                  <a:pt x="378" y="156"/>
                  <a:pt x="377" y="156"/>
                  <a:pt x="377" y="156"/>
                </a:cubicBezTo>
                <a:cubicBezTo>
                  <a:pt x="376" y="156"/>
                  <a:pt x="375" y="156"/>
                  <a:pt x="374" y="156"/>
                </a:cubicBezTo>
                <a:cubicBezTo>
                  <a:pt x="373" y="156"/>
                  <a:pt x="373" y="156"/>
                  <a:pt x="372" y="155"/>
                </a:cubicBezTo>
                <a:cubicBezTo>
                  <a:pt x="371" y="155"/>
                  <a:pt x="370" y="155"/>
                  <a:pt x="369" y="155"/>
                </a:cubicBezTo>
                <a:cubicBezTo>
                  <a:pt x="369" y="155"/>
                  <a:pt x="368" y="154"/>
                  <a:pt x="368" y="154"/>
                </a:cubicBezTo>
                <a:cubicBezTo>
                  <a:pt x="367" y="154"/>
                  <a:pt x="366" y="154"/>
                  <a:pt x="365" y="153"/>
                </a:cubicBezTo>
                <a:cubicBezTo>
                  <a:pt x="365" y="153"/>
                  <a:pt x="364" y="153"/>
                  <a:pt x="363" y="153"/>
                </a:cubicBezTo>
                <a:cubicBezTo>
                  <a:pt x="363" y="152"/>
                  <a:pt x="362" y="152"/>
                  <a:pt x="362" y="152"/>
                </a:cubicBezTo>
                <a:cubicBezTo>
                  <a:pt x="361" y="151"/>
                  <a:pt x="360" y="151"/>
                  <a:pt x="360" y="151"/>
                </a:cubicBezTo>
                <a:cubicBezTo>
                  <a:pt x="359" y="150"/>
                  <a:pt x="359" y="150"/>
                  <a:pt x="358" y="150"/>
                </a:cubicBezTo>
                <a:cubicBezTo>
                  <a:pt x="357" y="149"/>
                  <a:pt x="357" y="149"/>
                  <a:pt x="356" y="148"/>
                </a:cubicBezTo>
                <a:cubicBezTo>
                  <a:pt x="356" y="148"/>
                  <a:pt x="355" y="148"/>
                  <a:pt x="355" y="148"/>
                </a:cubicBezTo>
                <a:cubicBezTo>
                  <a:pt x="354" y="147"/>
                  <a:pt x="353" y="146"/>
                  <a:pt x="353" y="146"/>
                </a:cubicBezTo>
                <a:cubicBezTo>
                  <a:pt x="343" y="137"/>
                  <a:pt x="337" y="125"/>
                  <a:pt x="337" y="111"/>
                </a:cubicBezTo>
                <a:cubicBezTo>
                  <a:pt x="337" y="86"/>
                  <a:pt x="357" y="65"/>
                  <a:pt x="382" y="65"/>
                </a:cubicBezTo>
                <a:close/>
                <a:moveTo>
                  <a:pt x="445" y="266"/>
                </a:moveTo>
                <a:cubicBezTo>
                  <a:pt x="445" y="267"/>
                  <a:pt x="445" y="268"/>
                  <a:pt x="445" y="268"/>
                </a:cubicBezTo>
                <a:cubicBezTo>
                  <a:pt x="444" y="268"/>
                  <a:pt x="444" y="268"/>
                  <a:pt x="444" y="268"/>
                </a:cubicBezTo>
                <a:cubicBezTo>
                  <a:pt x="434" y="268"/>
                  <a:pt x="434" y="268"/>
                  <a:pt x="434" y="268"/>
                </a:cubicBezTo>
                <a:cubicBezTo>
                  <a:pt x="434" y="206"/>
                  <a:pt x="434" y="206"/>
                  <a:pt x="434" y="206"/>
                </a:cubicBezTo>
                <a:cubicBezTo>
                  <a:pt x="434" y="202"/>
                  <a:pt x="431" y="198"/>
                  <a:pt x="426" y="198"/>
                </a:cubicBezTo>
                <a:cubicBezTo>
                  <a:pt x="422" y="198"/>
                  <a:pt x="418" y="202"/>
                  <a:pt x="418" y="206"/>
                </a:cubicBezTo>
                <a:cubicBezTo>
                  <a:pt x="418" y="268"/>
                  <a:pt x="418" y="268"/>
                  <a:pt x="418" y="268"/>
                </a:cubicBezTo>
                <a:cubicBezTo>
                  <a:pt x="334" y="268"/>
                  <a:pt x="334" y="268"/>
                  <a:pt x="334" y="268"/>
                </a:cubicBezTo>
                <a:cubicBezTo>
                  <a:pt x="334" y="264"/>
                  <a:pt x="334" y="264"/>
                  <a:pt x="334" y="264"/>
                </a:cubicBezTo>
                <a:cubicBezTo>
                  <a:pt x="334" y="196"/>
                  <a:pt x="334" y="196"/>
                  <a:pt x="334" y="196"/>
                </a:cubicBezTo>
                <a:cubicBezTo>
                  <a:pt x="334" y="196"/>
                  <a:pt x="334" y="196"/>
                  <a:pt x="334" y="196"/>
                </a:cubicBezTo>
                <a:cubicBezTo>
                  <a:pt x="334" y="194"/>
                  <a:pt x="334" y="193"/>
                  <a:pt x="334" y="191"/>
                </a:cubicBezTo>
                <a:cubicBezTo>
                  <a:pt x="334" y="190"/>
                  <a:pt x="334" y="189"/>
                  <a:pt x="333" y="188"/>
                </a:cubicBezTo>
                <a:cubicBezTo>
                  <a:pt x="333" y="187"/>
                  <a:pt x="333" y="186"/>
                  <a:pt x="333" y="185"/>
                </a:cubicBezTo>
                <a:cubicBezTo>
                  <a:pt x="333" y="184"/>
                  <a:pt x="333" y="183"/>
                  <a:pt x="332" y="183"/>
                </a:cubicBezTo>
                <a:cubicBezTo>
                  <a:pt x="332" y="182"/>
                  <a:pt x="332" y="180"/>
                  <a:pt x="331" y="179"/>
                </a:cubicBezTo>
                <a:cubicBezTo>
                  <a:pt x="331" y="179"/>
                  <a:pt x="331" y="178"/>
                  <a:pt x="331" y="178"/>
                </a:cubicBezTo>
                <a:cubicBezTo>
                  <a:pt x="330" y="176"/>
                  <a:pt x="330" y="175"/>
                  <a:pt x="329" y="174"/>
                </a:cubicBezTo>
                <a:cubicBezTo>
                  <a:pt x="329" y="174"/>
                  <a:pt x="329" y="173"/>
                  <a:pt x="329" y="173"/>
                </a:cubicBezTo>
                <a:cubicBezTo>
                  <a:pt x="334" y="168"/>
                  <a:pt x="340" y="163"/>
                  <a:pt x="346" y="160"/>
                </a:cubicBezTo>
                <a:cubicBezTo>
                  <a:pt x="346" y="161"/>
                  <a:pt x="346" y="161"/>
                  <a:pt x="346" y="161"/>
                </a:cubicBezTo>
                <a:cubicBezTo>
                  <a:pt x="347" y="162"/>
                  <a:pt x="348" y="162"/>
                  <a:pt x="349" y="163"/>
                </a:cubicBezTo>
                <a:cubicBezTo>
                  <a:pt x="350" y="163"/>
                  <a:pt x="350" y="164"/>
                  <a:pt x="351" y="164"/>
                </a:cubicBezTo>
                <a:cubicBezTo>
                  <a:pt x="352" y="164"/>
                  <a:pt x="353" y="165"/>
                  <a:pt x="354" y="166"/>
                </a:cubicBezTo>
                <a:cubicBezTo>
                  <a:pt x="354" y="166"/>
                  <a:pt x="355" y="166"/>
                  <a:pt x="355" y="166"/>
                </a:cubicBezTo>
                <a:cubicBezTo>
                  <a:pt x="357" y="167"/>
                  <a:pt x="359" y="168"/>
                  <a:pt x="360" y="169"/>
                </a:cubicBezTo>
                <a:cubicBezTo>
                  <a:pt x="361" y="169"/>
                  <a:pt x="362" y="169"/>
                  <a:pt x="363" y="170"/>
                </a:cubicBezTo>
                <a:cubicBezTo>
                  <a:pt x="364" y="170"/>
                  <a:pt x="365" y="170"/>
                  <a:pt x="366" y="170"/>
                </a:cubicBezTo>
                <a:cubicBezTo>
                  <a:pt x="367" y="171"/>
                  <a:pt x="368" y="171"/>
                  <a:pt x="369" y="171"/>
                </a:cubicBezTo>
                <a:cubicBezTo>
                  <a:pt x="370" y="171"/>
                  <a:pt x="370" y="171"/>
                  <a:pt x="371" y="172"/>
                </a:cubicBezTo>
                <a:cubicBezTo>
                  <a:pt x="372" y="172"/>
                  <a:pt x="374" y="172"/>
                  <a:pt x="375" y="172"/>
                </a:cubicBezTo>
                <a:cubicBezTo>
                  <a:pt x="375" y="172"/>
                  <a:pt x="376" y="172"/>
                  <a:pt x="377" y="172"/>
                </a:cubicBezTo>
                <a:cubicBezTo>
                  <a:pt x="379" y="173"/>
                  <a:pt x="380" y="173"/>
                  <a:pt x="382" y="173"/>
                </a:cubicBezTo>
                <a:cubicBezTo>
                  <a:pt x="382" y="173"/>
                  <a:pt x="382" y="173"/>
                  <a:pt x="382" y="173"/>
                </a:cubicBezTo>
                <a:cubicBezTo>
                  <a:pt x="384" y="173"/>
                  <a:pt x="386" y="173"/>
                  <a:pt x="388" y="172"/>
                </a:cubicBezTo>
                <a:cubicBezTo>
                  <a:pt x="389" y="172"/>
                  <a:pt x="389" y="172"/>
                  <a:pt x="390" y="172"/>
                </a:cubicBezTo>
                <a:cubicBezTo>
                  <a:pt x="391" y="172"/>
                  <a:pt x="393" y="172"/>
                  <a:pt x="394" y="172"/>
                </a:cubicBezTo>
                <a:cubicBezTo>
                  <a:pt x="395" y="171"/>
                  <a:pt x="395" y="171"/>
                  <a:pt x="396" y="171"/>
                </a:cubicBezTo>
                <a:cubicBezTo>
                  <a:pt x="397" y="171"/>
                  <a:pt x="398" y="171"/>
                  <a:pt x="399" y="170"/>
                </a:cubicBezTo>
                <a:cubicBezTo>
                  <a:pt x="400" y="170"/>
                  <a:pt x="401" y="170"/>
                  <a:pt x="402" y="170"/>
                </a:cubicBezTo>
                <a:cubicBezTo>
                  <a:pt x="402" y="169"/>
                  <a:pt x="403" y="169"/>
                  <a:pt x="404" y="169"/>
                </a:cubicBezTo>
                <a:cubicBezTo>
                  <a:pt x="408" y="167"/>
                  <a:pt x="411" y="166"/>
                  <a:pt x="414" y="164"/>
                </a:cubicBezTo>
                <a:cubicBezTo>
                  <a:pt x="415" y="163"/>
                  <a:pt x="415" y="163"/>
                  <a:pt x="416" y="163"/>
                </a:cubicBezTo>
                <a:cubicBezTo>
                  <a:pt x="417" y="162"/>
                  <a:pt x="418" y="162"/>
                  <a:pt x="419" y="161"/>
                </a:cubicBezTo>
                <a:cubicBezTo>
                  <a:pt x="419" y="161"/>
                  <a:pt x="419" y="161"/>
                  <a:pt x="419" y="160"/>
                </a:cubicBezTo>
                <a:cubicBezTo>
                  <a:pt x="425" y="163"/>
                  <a:pt x="431" y="168"/>
                  <a:pt x="436" y="174"/>
                </a:cubicBezTo>
                <a:cubicBezTo>
                  <a:pt x="442" y="182"/>
                  <a:pt x="445" y="191"/>
                  <a:pt x="445" y="198"/>
                </a:cubicBezTo>
                <a:lnTo>
                  <a:pt x="445" y="266"/>
                </a:ln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cxnSp>
        <p:nvCxnSpPr>
          <p:cNvPr id="8217" name="Elbow Connector 20486"/>
          <p:cNvCxnSpPr>
            <a:cxnSpLocks noChangeShapeType="1"/>
          </p:cNvCxnSpPr>
          <p:nvPr/>
        </p:nvCxnSpPr>
        <p:spPr bwMode="auto">
          <a:xfrm>
            <a:off x="4838334" y="2427288"/>
            <a:ext cx="1645920" cy="971550"/>
          </a:xfrm>
          <a:prstGeom prst="bentConnector3">
            <a:avLst>
              <a:gd name="adj1" fmla="val 100213"/>
            </a:avLst>
          </a:prstGeom>
          <a:noFill/>
          <a:ln w="38100">
            <a:solidFill>
              <a:srgbClr val="00A9D4"/>
            </a:solidFill>
            <a:round/>
            <a:headEnd/>
            <a:tailEnd/>
          </a:ln>
          <a:extLst>
            <a:ext uri="{909E8E84-426E-40DD-AFC4-6F175D3DCCD1}">
              <a14:hiddenFill xmlns:a14="http://schemas.microsoft.com/office/drawing/2010/main">
                <a:noFill/>
              </a14:hiddenFill>
            </a:ext>
          </a:extLst>
        </p:spPr>
      </p:cxnSp>
      <p:sp>
        <p:nvSpPr>
          <p:cNvPr id="8218" name="Rounded Rectangle 25"/>
          <p:cNvSpPr>
            <a:spLocks noChangeArrowheads="1"/>
          </p:cNvSpPr>
          <p:nvPr/>
        </p:nvSpPr>
        <p:spPr bwMode="auto">
          <a:xfrm>
            <a:off x="4939904" y="2616201"/>
            <a:ext cx="3088481" cy="684213"/>
          </a:xfrm>
          <a:prstGeom prst="roundRect">
            <a:avLst>
              <a:gd name="adj" fmla="val 9060"/>
            </a:avLst>
          </a:prstGeom>
          <a:solidFill>
            <a:srgbClr val="00A9D4"/>
          </a:solidFill>
          <a:ln w="9525">
            <a:solidFill>
              <a:schemeClr val="bg1"/>
            </a:solidFill>
            <a:round/>
            <a:headEnd/>
            <a:tailEnd/>
          </a:ln>
        </p:spPr>
        <p:txBody>
          <a:bodyPr lIns="44447" tIns="22223" rIns="44447" bIns="91440" anchor="ctr"/>
          <a:lstStyle/>
          <a:p>
            <a:pPr algn="ctr">
              <a:spcBef>
                <a:spcPct val="50000"/>
              </a:spcBef>
            </a:pPr>
            <a:endParaRPr lang="en-US" sz="2800"/>
          </a:p>
        </p:txBody>
      </p:sp>
      <p:sp>
        <p:nvSpPr>
          <p:cNvPr id="8219" name="Rectangle 4"/>
          <p:cNvSpPr>
            <a:spLocks noChangeArrowheads="1"/>
          </p:cNvSpPr>
          <p:nvPr/>
        </p:nvSpPr>
        <p:spPr bwMode="auto">
          <a:xfrm>
            <a:off x="5047059" y="2789238"/>
            <a:ext cx="2881313"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0000"/>
              </a:lnSpc>
              <a:spcBef>
                <a:spcPct val="50000"/>
              </a:spcBef>
            </a:pPr>
            <a:r>
              <a:rPr lang="en-US" sz="1800">
                <a:solidFill>
                  <a:schemeClr val="bg1"/>
                </a:solidFill>
              </a:rPr>
              <a:t>Digital Channel Interaction</a:t>
            </a:r>
          </a:p>
        </p:txBody>
      </p:sp>
      <p:grpSp>
        <p:nvGrpSpPr>
          <p:cNvPr id="165" name="Group 13"/>
          <p:cNvGrpSpPr>
            <a:grpSpLocks/>
          </p:cNvGrpSpPr>
          <p:nvPr/>
        </p:nvGrpSpPr>
        <p:grpSpPr bwMode="auto">
          <a:xfrm>
            <a:off x="4301598" y="4191367"/>
            <a:ext cx="4417219" cy="1343523"/>
            <a:chOff x="1214172" y="4656945"/>
            <a:chExt cx="5888495" cy="1107268"/>
          </a:xfrm>
          <a:solidFill>
            <a:schemeClr val="accent2"/>
          </a:solidFill>
        </p:grpSpPr>
        <p:cxnSp>
          <p:nvCxnSpPr>
            <p:cNvPr id="166" name="Straight Connector 41"/>
            <p:cNvCxnSpPr>
              <a:cxnSpLocks noChangeShapeType="1"/>
            </p:cNvCxnSpPr>
            <p:nvPr/>
          </p:nvCxnSpPr>
          <p:spPr bwMode="auto">
            <a:xfrm flipH="1" flipV="1">
              <a:off x="4115683" y="4656945"/>
              <a:ext cx="12390" cy="785812"/>
            </a:xfrm>
            <a:prstGeom prst="line">
              <a:avLst/>
            </a:prstGeom>
            <a:grpFill/>
            <a:ln w="28575">
              <a:solidFill>
                <a:srgbClr val="00A9D4"/>
              </a:solidFill>
              <a:round/>
              <a:headEnd/>
              <a:tailEnd/>
            </a:ln>
            <a:extLst/>
          </p:spPr>
        </p:cxnSp>
        <p:cxnSp>
          <p:nvCxnSpPr>
            <p:cNvPr id="167" name="Straight Connector 31"/>
            <p:cNvCxnSpPr>
              <a:cxnSpLocks noChangeShapeType="1"/>
            </p:cNvCxnSpPr>
            <p:nvPr/>
          </p:nvCxnSpPr>
          <p:spPr bwMode="auto">
            <a:xfrm flipV="1">
              <a:off x="2059427" y="4869365"/>
              <a:ext cx="4206240" cy="0"/>
            </a:xfrm>
            <a:prstGeom prst="line">
              <a:avLst/>
            </a:prstGeom>
            <a:grpFill/>
            <a:ln w="28575">
              <a:solidFill>
                <a:srgbClr val="00A9D4"/>
              </a:solidFill>
              <a:round/>
              <a:headEnd/>
              <a:tailEnd/>
            </a:ln>
            <a:extLst/>
          </p:spPr>
        </p:cxnSp>
        <p:cxnSp>
          <p:nvCxnSpPr>
            <p:cNvPr id="168" name="Straight Connector 37"/>
            <p:cNvCxnSpPr>
              <a:cxnSpLocks noChangeShapeType="1"/>
            </p:cNvCxnSpPr>
            <p:nvPr/>
          </p:nvCxnSpPr>
          <p:spPr bwMode="auto">
            <a:xfrm flipV="1">
              <a:off x="6249360" y="4867275"/>
              <a:ext cx="0" cy="119063"/>
            </a:xfrm>
            <a:prstGeom prst="line">
              <a:avLst/>
            </a:prstGeom>
            <a:grpFill/>
            <a:ln w="28575">
              <a:solidFill>
                <a:srgbClr val="00A9D4"/>
              </a:solidFill>
              <a:round/>
              <a:headEnd/>
              <a:tailEnd/>
            </a:ln>
            <a:extLst/>
          </p:spPr>
        </p:cxnSp>
        <p:cxnSp>
          <p:nvCxnSpPr>
            <p:cNvPr id="169" name="Straight Connector 41"/>
            <p:cNvCxnSpPr>
              <a:cxnSpLocks noChangeShapeType="1"/>
            </p:cNvCxnSpPr>
            <p:nvPr/>
          </p:nvCxnSpPr>
          <p:spPr bwMode="auto">
            <a:xfrm flipV="1">
              <a:off x="6249360" y="5383874"/>
              <a:ext cx="0" cy="91629"/>
            </a:xfrm>
            <a:prstGeom prst="line">
              <a:avLst/>
            </a:prstGeom>
            <a:grpFill/>
            <a:ln w="28575">
              <a:solidFill>
                <a:srgbClr val="00A9D4"/>
              </a:solidFill>
              <a:round/>
              <a:headEnd/>
              <a:tailEnd/>
            </a:ln>
            <a:extLst/>
          </p:spPr>
        </p:cxnSp>
        <p:cxnSp>
          <p:nvCxnSpPr>
            <p:cNvPr id="170" name="Straight Connector 31"/>
            <p:cNvCxnSpPr>
              <a:cxnSpLocks noChangeShapeType="1"/>
            </p:cNvCxnSpPr>
            <p:nvPr/>
          </p:nvCxnSpPr>
          <p:spPr bwMode="auto">
            <a:xfrm>
              <a:off x="2059427" y="5381925"/>
              <a:ext cx="4206240" cy="0"/>
            </a:xfrm>
            <a:prstGeom prst="line">
              <a:avLst/>
            </a:prstGeom>
            <a:grpFill/>
            <a:ln w="28575">
              <a:solidFill>
                <a:srgbClr val="00A9D4"/>
              </a:solidFill>
              <a:round/>
              <a:headEnd/>
              <a:tailEnd/>
            </a:ln>
            <a:extLst/>
          </p:spPr>
        </p:cxnSp>
        <p:cxnSp>
          <p:nvCxnSpPr>
            <p:cNvPr id="171" name="Straight Connector 41"/>
            <p:cNvCxnSpPr>
              <a:cxnSpLocks noChangeShapeType="1"/>
            </p:cNvCxnSpPr>
            <p:nvPr/>
          </p:nvCxnSpPr>
          <p:spPr bwMode="auto">
            <a:xfrm flipH="1" flipV="1">
              <a:off x="2061283" y="4865601"/>
              <a:ext cx="12390" cy="785812"/>
            </a:xfrm>
            <a:prstGeom prst="line">
              <a:avLst/>
            </a:prstGeom>
            <a:grpFill/>
            <a:ln w="28575">
              <a:solidFill>
                <a:srgbClr val="00A9D4"/>
              </a:solidFill>
              <a:round/>
              <a:headEnd/>
              <a:tailEnd/>
            </a:ln>
            <a:extLst/>
          </p:spPr>
        </p:cxnSp>
        <p:sp>
          <p:nvSpPr>
            <p:cNvPr id="172" name="Rounded Rectangle 53"/>
            <p:cNvSpPr>
              <a:spLocks noChangeArrowheads="1"/>
            </p:cNvSpPr>
            <p:nvPr/>
          </p:nvSpPr>
          <p:spPr bwMode="auto">
            <a:xfrm>
              <a:off x="3309240" y="4959351"/>
              <a:ext cx="1706615" cy="307975"/>
            </a:xfrm>
            <a:prstGeom prst="roundRect">
              <a:avLst>
                <a:gd name="adj" fmla="val 906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lIns="44447" tIns="0" rIns="44447" bIns="0" anchor="ctr"/>
            <a:lstStyle/>
            <a:p>
              <a:pPr algn="ctr">
                <a:lnSpc>
                  <a:spcPct val="90000"/>
                </a:lnSpc>
                <a:spcBef>
                  <a:spcPct val="50000"/>
                </a:spcBef>
                <a:defRPr/>
              </a:pPr>
              <a:r>
                <a:rPr lang="en-US" sz="1400" dirty="0">
                  <a:solidFill>
                    <a:schemeClr val="bg1"/>
                  </a:solidFill>
                  <a:latin typeface="Arial" charset="0"/>
                </a:rPr>
                <a:t>Assurance</a:t>
              </a:r>
              <a:br>
                <a:rPr lang="en-US" sz="1400" dirty="0">
                  <a:solidFill>
                    <a:schemeClr val="bg1"/>
                  </a:solidFill>
                  <a:latin typeface="Arial" charset="0"/>
                </a:rPr>
              </a:br>
              <a:r>
                <a:rPr lang="en-US" sz="1400" dirty="0">
                  <a:solidFill>
                    <a:schemeClr val="bg1"/>
                  </a:solidFill>
                  <a:latin typeface="Arial" charset="0"/>
                </a:rPr>
                <a:t>&amp; Analytics</a:t>
              </a:r>
            </a:p>
          </p:txBody>
        </p:sp>
        <p:sp>
          <p:nvSpPr>
            <p:cNvPr id="173" name="Rounded Rectangle 25"/>
            <p:cNvSpPr>
              <a:spLocks noChangeArrowheads="1"/>
            </p:cNvSpPr>
            <p:nvPr/>
          </p:nvSpPr>
          <p:spPr bwMode="auto">
            <a:xfrm>
              <a:off x="5396054" y="4959351"/>
              <a:ext cx="1706612" cy="307975"/>
            </a:xfrm>
            <a:prstGeom prst="roundRect">
              <a:avLst>
                <a:gd name="adj" fmla="val 906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lIns="44447" tIns="0" rIns="44447" bIns="0" anchor="ctr"/>
            <a:lstStyle/>
            <a:p>
              <a:pPr algn="ctr">
                <a:lnSpc>
                  <a:spcPct val="90000"/>
                </a:lnSpc>
                <a:spcBef>
                  <a:spcPct val="50000"/>
                </a:spcBef>
                <a:defRPr/>
              </a:pPr>
              <a:r>
                <a:rPr lang="en-US" sz="1400">
                  <a:solidFill>
                    <a:schemeClr val="bg1"/>
                  </a:solidFill>
                  <a:latin typeface="Arial" charset="0"/>
                </a:rPr>
                <a:t>Charging &amp; Policy </a:t>
              </a:r>
            </a:p>
          </p:txBody>
        </p:sp>
        <p:sp>
          <p:nvSpPr>
            <p:cNvPr id="174" name="Rounded Rectangle 25"/>
            <p:cNvSpPr>
              <a:spLocks noChangeArrowheads="1"/>
            </p:cNvSpPr>
            <p:nvPr/>
          </p:nvSpPr>
          <p:spPr bwMode="auto">
            <a:xfrm>
              <a:off x="1214172" y="4959351"/>
              <a:ext cx="1706612" cy="307975"/>
            </a:xfrm>
            <a:prstGeom prst="roundRect">
              <a:avLst>
                <a:gd name="adj" fmla="val 906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lIns="44447" tIns="0" rIns="44447" bIns="0" anchor="ctr"/>
            <a:lstStyle/>
            <a:p>
              <a:pPr algn="ctr">
                <a:lnSpc>
                  <a:spcPct val="90000"/>
                </a:lnSpc>
                <a:spcBef>
                  <a:spcPct val="50000"/>
                </a:spcBef>
                <a:defRPr/>
              </a:pPr>
              <a:r>
                <a:rPr lang="en-US" sz="1400" dirty="0">
                  <a:solidFill>
                    <a:schemeClr val="bg1"/>
                  </a:solidFill>
                  <a:latin typeface="Arial" charset="0"/>
                </a:rPr>
                <a:t>Fulfillment</a:t>
              </a:r>
            </a:p>
          </p:txBody>
        </p:sp>
        <p:sp>
          <p:nvSpPr>
            <p:cNvPr id="175" name="Rounded Rectangle 25"/>
            <p:cNvSpPr>
              <a:spLocks noChangeArrowheads="1"/>
            </p:cNvSpPr>
            <p:nvPr/>
          </p:nvSpPr>
          <p:spPr bwMode="auto">
            <a:xfrm>
              <a:off x="1216023" y="5456238"/>
              <a:ext cx="1702910" cy="307975"/>
            </a:xfrm>
            <a:prstGeom prst="roundRect">
              <a:avLst>
                <a:gd name="adj" fmla="val 906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lIns="44447" tIns="0" rIns="44447" bIns="0" anchor="ctr"/>
            <a:lstStyle/>
            <a:p>
              <a:pPr algn="ctr">
                <a:lnSpc>
                  <a:spcPct val="90000"/>
                </a:lnSpc>
                <a:spcBef>
                  <a:spcPct val="50000"/>
                </a:spcBef>
                <a:defRPr/>
              </a:pPr>
              <a:r>
                <a:rPr lang="en-US" sz="1400" dirty="0">
                  <a:solidFill>
                    <a:schemeClr val="bg1"/>
                  </a:solidFill>
                  <a:latin typeface="Arial" charset="0"/>
                </a:rPr>
                <a:t>Unified Inventory</a:t>
              </a:r>
            </a:p>
          </p:txBody>
        </p:sp>
        <p:sp>
          <p:nvSpPr>
            <p:cNvPr id="176" name="Rounded Rectangle 25"/>
            <p:cNvSpPr>
              <a:spLocks noChangeArrowheads="1"/>
            </p:cNvSpPr>
            <p:nvPr/>
          </p:nvSpPr>
          <p:spPr bwMode="auto">
            <a:xfrm>
              <a:off x="5396054" y="5453063"/>
              <a:ext cx="1706613" cy="307975"/>
            </a:xfrm>
            <a:prstGeom prst="roundRect">
              <a:avLst>
                <a:gd name="adj" fmla="val 906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lIns="44447" tIns="0" rIns="44447" bIns="0" anchor="ctr"/>
            <a:lstStyle/>
            <a:p>
              <a:pPr algn="ctr">
                <a:lnSpc>
                  <a:spcPct val="90000"/>
                </a:lnSpc>
                <a:spcBef>
                  <a:spcPct val="50000"/>
                </a:spcBef>
                <a:defRPr/>
              </a:pPr>
              <a:r>
                <a:rPr lang="en-US" sz="1400">
                  <a:solidFill>
                    <a:schemeClr val="bg1"/>
                  </a:solidFill>
                  <a:latin typeface="Arial" charset="0"/>
                </a:rPr>
                <a:t>Activation</a:t>
              </a:r>
            </a:p>
          </p:txBody>
        </p:sp>
        <p:sp>
          <p:nvSpPr>
            <p:cNvPr id="177" name="Rounded Rectangle 25"/>
            <p:cNvSpPr>
              <a:spLocks noChangeArrowheads="1"/>
            </p:cNvSpPr>
            <p:nvPr/>
          </p:nvSpPr>
          <p:spPr bwMode="auto">
            <a:xfrm>
              <a:off x="3309241" y="5456238"/>
              <a:ext cx="1706613" cy="307975"/>
            </a:xfrm>
            <a:prstGeom prst="roundRect">
              <a:avLst>
                <a:gd name="adj" fmla="val 906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lIns="44447" tIns="0" rIns="44447" bIns="0" anchor="ctr"/>
            <a:lstStyle/>
            <a:p>
              <a:pPr algn="ctr">
                <a:lnSpc>
                  <a:spcPct val="90000"/>
                </a:lnSpc>
                <a:spcBef>
                  <a:spcPct val="50000"/>
                </a:spcBef>
                <a:defRPr/>
              </a:pPr>
              <a:r>
                <a:rPr lang="en-US" sz="1400">
                  <a:solidFill>
                    <a:schemeClr val="bg1"/>
                  </a:solidFill>
                  <a:latin typeface="Arial" charset="0"/>
                </a:rPr>
                <a:t>Network Design</a:t>
              </a:r>
            </a:p>
          </p:txBody>
        </p:sp>
      </p:grpSp>
      <p:grpSp>
        <p:nvGrpSpPr>
          <p:cNvPr id="8221" name="Group 177"/>
          <p:cNvGrpSpPr>
            <a:grpSpLocks/>
          </p:cNvGrpSpPr>
          <p:nvPr/>
        </p:nvGrpSpPr>
        <p:grpSpPr bwMode="auto">
          <a:xfrm>
            <a:off x="6592492" y="5791201"/>
            <a:ext cx="2126456" cy="473075"/>
            <a:chOff x="7286625" y="6070600"/>
            <a:chExt cx="2835275" cy="473075"/>
          </a:xfrm>
        </p:grpSpPr>
        <p:sp>
          <p:nvSpPr>
            <p:cNvPr id="8277" name="Rounded Rectangle 25"/>
            <p:cNvSpPr>
              <a:spLocks noChangeArrowheads="1"/>
            </p:cNvSpPr>
            <p:nvPr/>
          </p:nvSpPr>
          <p:spPr bwMode="auto">
            <a:xfrm>
              <a:off x="7286625" y="6070600"/>
              <a:ext cx="2835275" cy="473075"/>
            </a:xfrm>
            <a:prstGeom prst="roundRect">
              <a:avLst>
                <a:gd name="adj" fmla="val 9060"/>
              </a:avLst>
            </a:pr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lIns="44447" tIns="0" rIns="44447" bIns="0" anchor="ctr"/>
            <a:lstStyle/>
            <a:p>
              <a:pPr algn="ctr">
                <a:spcBef>
                  <a:spcPct val="50000"/>
                </a:spcBef>
              </a:pPr>
              <a:r>
                <a:rPr lang="en-US" sz="1200" dirty="0" smtClean="0">
                  <a:solidFill>
                    <a:schemeClr val="bg1"/>
                  </a:solidFill>
                </a:rPr>
                <a:t>Legacy</a:t>
              </a:r>
              <a:br>
                <a:rPr lang="en-US" sz="1200" dirty="0" smtClean="0">
                  <a:solidFill>
                    <a:schemeClr val="bg1"/>
                  </a:solidFill>
                </a:rPr>
              </a:br>
              <a:r>
                <a:rPr lang="en-US" sz="1200" dirty="0" smtClean="0">
                  <a:solidFill>
                    <a:schemeClr val="bg1"/>
                  </a:solidFill>
                </a:rPr>
                <a:t>Systems</a:t>
              </a:r>
              <a:endParaRPr lang="en-US" sz="1200" dirty="0">
                <a:solidFill>
                  <a:schemeClr val="bg1"/>
                </a:solidFill>
              </a:endParaRPr>
            </a:p>
          </p:txBody>
        </p:sp>
        <p:sp>
          <p:nvSpPr>
            <p:cNvPr id="8278" name="Rounded Rectangle 25"/>
            <p:cNvSpPr>
              <a:spLocks noChangeArrowheads="1"/>
            </p:cNvSpPr>
            <p:nvPr/>
          </p:nvSpPr>
          <p:spPr bwMode="auto">
            <a:xfrm>
              <a:off x="9342438" y="6162675"/>
              <a:ext cx="233362" cy="185738"/>
            </a:xfrm>
            <a:prstGeom prst="roundRect">
              <a:avLst>
                <a:gd name="adj" fmla="val 9060"/>
              </a:avLst>
            </a:prstGeom>
            <a:noFill/>
            <a:ln w="9525">
              <a:solidFill>
                <a:schemeClr val="bg1"/>
              </a:solidFill>
              <a:round/>
              <a:headEnd/>
              <a:tailEnd/>
            </a:ln>
            <a:extLst>
              <a:ext uri="{909E8E84-426E-40DD-AFC4-6F175D3DCCD1}">
                <a14:hiddenFill xmlns:a14="http://schemas.microsoft.com/office/drawing/2010/main">
                  <a:solidFill>
                    <a:srgbClr val="FFFFFF"/>
                  </a:solidFill>
                </a14:hiddenFill>
              </a:ext>
            </a:extLst>
          </p:spPr>
          <p:txBody>
            <a:bodyPr lIns="44447" tIns="0" rIns="44447" bIns="0" anchor="ctr"/>
            <a:lstStyle/>
            <a:p>
              <a:pPr algn="ctr">
                <a:spcBef>
                  <a:spcPct val="50000"/>
                </a:spcBef>
              </a:pPr>
              <a:endParaRPr lang="en-US" sz="1000">
                <a:solidFill>
                  <a:schemeClr val="bg1"/>
                </a:solidFill>
              </a:endParaRPr>
            </a:p>
          </p:txBody>
        </p:sp>
        <p:sp>
          <p:nvSpPr>
            <p:cNvPr id="8279" name="Rounded Rectangle 25"/>
            <p:cNvSpPr>
              <a:spLocks noChangeArrowheads="1"/>
            </p:cNvSpPr>
            <p:nvPr/>
          </p:nvSpPr>
          <p:spPr bwMode="auto">
            <a:xfrm>
              <a:off x="9534525" y="6289675"/>
              <a:ext cx="233363" cy="184150"/>
            </a:xfrm>
            <a:prstGeom prst="roundRect">
              <a:avLst>
                <a:gd name="adj" fmla="val 9060"/>
              </a:avLst>
            </a:prstGeom>
            <a:noFill/>
            <a:ln w="9525">
              <a:solidFill>
                <a:schemeClr val="bg1"/>
              </a:solidFill>
              <a:round/>
              <a:headEnd/>
              <a:tailEnd/>
            </a:ln>
            <a:extLst>
              <a:ext uri="{909E8E84-426E-40DD-AFC4-6F175D3DCCD1}">
                <a14:hiddenFill xmlns:a14="http://schemas.microsoft.com/office/drawing/2010/main">
                  <a:solidFill>
                    <a:srgbClr val="FFFFFF"/>
                  </a:solidFill>
                </a14:hiddenFill>
              </a:ext>
            </a:extLst>
          </p:spPr>
          <p:txBody>
            <a:bodyPr lIns="44447" tIns="0" rIns="44447" bIns="0" anchor="ctr"/>
            <a:lstStyle/>
            <a:p>
              <a:pPr algn="ctr">
                <a:spcBef>
                  <a:spcPct val="50000"/>
                </a:spcBef>
              </a:pPr>
              <a:endParaRPr lang="en-US" sz="1000">
                <a:solidFill>
                  <a:schemeClr val="bg1"/>
                </a:solidFill>
              </a:endParaRPr>
            </a:p>
          </p:txBody>
        </p:sp>
        <p:sp>
          <p:nvSpPr>
            <p:cNvPr id="8280" name="Rounded Rectangle 25"/>
            <p:cNvSpPr>
              <a:spLocks noChangeArrowheads="1"/>
            </p:cNvSpPr>
            <p:nvPr/>
          </p:nvSpPr>
          <p:spPr bwMode="auto">
            <a:xfrm>
              <a:off x="9723438" y="6162675"/>
              <a:ext cx="234950" cy="185738"/>
            </a:xfrm>
            <a:prstGeom prst="roundRect">
              <a:avLst>
                <a:gd name="adj" fmla="val 9060"/>
              </a:avLst>
            </a:prstGeom>
            <a:noFill/>
            <a:ln w="9525">
              <a:solidFill>
                <a:schemeClr val="bg1"/>
              </a:solidFill>
              <a:round/>
              <a:headEnd/>
              <a:tailEnd/>
            </a:ln>
            <a:extLst>
              <a:ext uri="{909E8E84-426E-40DD-AFC4-6F175D3DCCD1}">
                <a14:hiddenFill xmlns:a14="http://schemas.microsoft.com/office/drawing/2010/main">
                  <a:solidFill>
                    <a:srgbClr val="FFFFFF"/>
                  </a:solidFill>
                </a14:hiddenFill>
              </a:ext>
            </a:extLst>
          </p:spPr>
          <p:txBody>
            <a:bodyPr lIns="44447" tIns="0" rIns="44447" bIns="0" anchor="ctr"/>
            <a:lstStyle/>
            <a:p>
              <a:pPr algn="ctr">
                <a:spcBef>
                  <a:spcPct val="50000"/>
                </a:spcBef>
              </a:pPr>
              <a:endParaRPr lang="en-US" sz="1000">
                <a:solidFill>
                  <a:schemeClr val="bg1"/>
                </a:solidFill>
              </a:endParaRPr>
            </a:p>
          </p:txBody>
        </p:sp>
        <p:grpSp>
          <p:nvGrpSpPr>
            <p:cNvPr id="8281" name="Group 5"/>
            <p:cNvGrpSpPr>
              <a:grpSpLocks/>
            </p:cNvGrpSpPr>
            <p:nvPr/>
          </p:nvGrpSpPr>
          <p:grpSpPr bwMode="auto">
            <a:xfrm>
              <a:off x="7362825" y="6135688"/>
              <a:ext cx="682625" cy="357187"/>
              <a:chOff x="4766179" y="6090907"/>
              <a:chExt cx="766592" cy="306238"/>
            </a:xfrm>
          </p:grpSpPr>
          <p:sp>
            <p:nvSpPr>
              <p:cNvPr id="8282" name="Can 43"/>
              <p:cNvSpPr>
                <a:spLocks noChangeArrowheads="1"/>
              </p:cNvSpPr>
              <p:nvPr/>
            </p:nvSpPr>
            <p:spPr bwMode="auto">
              <a:xfrm>
                <a:off x="4994447" y="6090907"/>
                <a:ext cx="312496" cy="170810"/>
              </a:xfrm>
              <a:prstGeom prst="can">
                <a:avLst>
                  <a:gd name="adj" fmla="val 30310"/>
                </a:avLst>
              </a:prstGeom>
              <a:noFill/>
              <a:ln w="9525">
                <a:solidFill>
                  <a:schemeClr val="bg1"/>
                </a:solidFill>
                <a:round/>
                <a:headEnd/>
                <a:tailEnd/>
              </a:ln>
              <a:extLst>
                <a:ext uri="{909E8E84-426E-40DD-AFC4-6F175D3DCCD1}">
                  <a14:hiddenFill xmlns:a14="http://schemas.microsoft.com/office/drawing/2010/main">
                    <a:solidFill>
                      <a:srgbClr val="FFFFFF"/>
                    </a:solidFill>
                  </a14:hiddenFill>
                </a:ext>
              </a:extLst>
            </p:spPr>
            <p:txBody>
              <a:bodyPr lIns="44447" tIns="22223" rIns="44447" bIns="91440" anchor="ctr"/>
              <a:lstStyle/>
              <a:p>
                <a:pPr algn="ctr">
                  <a:spcBef>
                    <a:spcPct val="50000"/>
                  </a:spcBef>
                </a:pPr>
                <a:endParaRPr lang="en-US"/>
              </a:p>
            </p:txBody>
          </p:sp>
          <p:sp>
            <p:nvSpPr>
              <p:cNvPr id="8283" name="Can 43"/>
              <p:cNvSpPr>
                <a:spLocks noChangeArrowheads="1"/>
              </p:cNvSpPr>
              <p:nvPr/>
            </p:nvSpPr>
            <p:spPr bwMode="auto">
              <a:xfrm>
                <a:off x="5220275" y="6221455"/>
                <a:ext cx="312496" cy="170810"/>
              </a:xfrm>
              <a:prstGeom prst="can">
                <a:avLst>
                  <a:gd name="adj" fmla="val 30310"/>
                </a:avLst>
              </a:prstGeom>
              <a:noFill/>
              <a:ln w="9525">
                <a:solidFill>
                  <a:schemeClr val="bg1"/>
                </a:solidFill>
                <a:round/>
                <a:headEnd/>
                <a:tailEnd/>
              </a:ln>
              <a:extLst>
                <a:ext uri="{909E8E84-426E-40DD-AFC4-6F175D3DCCD1}">
                  <a14:hiddenFill xmlns:a14="http://schemas.microsoft.com/office/drawing/2010/main">
                    <a:solidFill>
                      <a:srgbClr val="FFFFFF"/>
                    </a:solidFill>
                  </a14:hiddenFill>
                </a:ext>
              </a:extLst>
            </p:spPr>
            <p:txBody>
              <a:bodyPr lIns="44447" tIns="22223" rIns="44447" bIns="91440" anchor="ctr"/>
              <a:lstStyle/>
              <a:p>
                <a:pPr algn="ctr">
                  <a:spcBef>
                    <a:spcPct val="50000"/>
                  </a:spcBef>
                </a:pPr>
                <a:endParaRPr lang="en-US"/>
              </a:p>
            </p:txBody>
          </p:sp>
          <p:sp>
            <p:nvSpPr>
              <p:cNvPr id="8284" name="Can 43"/>
              <p:cNvSpPr>
                <a:spLocks noChangeArrowheads="1"/>
              </p:cNvSpPr>
              <p:nvPr/>
            </p:nvSpPr>
            <p:spPr bwMode="auto">
              <a:xfrm>
                <a:off x="4766179" y="6227555"/>
                <a:ext cx="312496" cy="169590"/>
              </a:xfrm>
              <a:prstGeom prst="can">
                <a:avLst>
                  <a:gd name="adj" fmla="val 30310"/>
                </a:avLst>
              </a:prstGeom>
              <a:noFill/>
              <a:ln w="9525">
                <a:solidFill>
                  <a:schemeClr val="bg1"/>
                </a:solidFill>
                <a:round/>
                <a:headEnd/>
                <a:tailEnd/>
              </a:ln>
              <a:extLst>
                <a:ext uri="{909E8E84-426E-40DD-AFC4-6F175D3DCCD1}">
                  <a14:hiddenFill xmlns:a14="http://schemas.microsoft.com/office/drawing/2010/main">
                    <a:solidFill>
                      <a:srgbClr val="FFFFFF"/>
                    </a:solidFill>
                  </a14:hiddenFill>
                </a:ext>
              </a:extLst>
            </p:spPr>
            <p:txBody>
              <a:bodyPr lIns="44447" tIns="22223" rIns="44447" bIns="91440" anchor="ctr"/>
              <a:lstStyle/>
              <a:p>
                <a:pPr algn="ctr">
                  <a:spcBef>
                    <a:spcPct val="50000"/>
                  </a:spcBef>
                </a:pPr>
                <a:endParaRPr lang="en-US"/>
              </a:p>
            </p:txBody>
          </p:sp>
        </p:grpSp>
      </p:grpSp>
      <p:grpSp>
        <p:nvGrpSpPr>
          <p:cNvPr id="187" name="Group 186"/>
          <p:cNvGrpSpPr/>
          <p:nvPr/>
        </p:nvGrpSpPr>
        <p:grpSpPr>
          <a:xfrm>
            <a:off x="4339082" y="5856392"/>
            <a:ext cx="412748" cy="320675"/>
            <a:chOff x="4895853" y="6184903"/>
            <a:chExt cx="865716" cy="458788"/>
          </a:xfrm>
          <a:solidFill>
            <a:schemeClr val="bg1"/>
          </a:solidFill>
        </p:grpSpPr>
        <p:sp>
          <p:nvSpPr>
            <p:cNvPr id="188" name="Oval 5"/>
            <p:cNvSpPr>
              <a:spLocks noChangeAspect="1"/>
            </p:cNvSpPr>
            <p:nvPr/>
          </p:nvSpPr>
          <p:spPr bwMode="auto">
            <a:xfrm>
              <a:off x="5397502" y="6184903"/>
              <a:ext cx="99484" cy="79375"/>
            </a:xfrm>
            <a:prstGeom prst="ellipse">
              <a:avLst/>
            </a:prstGeom>
            <a:grpFill/>
            <a:ln w="12700" algn="ctr">
              <a:solidFill>
                <a:schemeClr val="bg1"/>
              </a:solidFill>
              <a:round/>
              <a:headEnd/>
              <a:tailEnd/>
            </a:ln>
          </p:spPr>
          <p:txBody>
            <a:bodyPr wrap="none" lIns="72000" rIns="72000"/>
            <a:lstStyle/>
            <a:p>
              <a:pPr>
                <a:spcBef>
                  <a:spcPct val="50000"/>
                </a:spcBef>
                <a:defRPr/>
              </a:pPr>
              <a:endParaRPr lang="sv-SE" altLang="sv-SE">
                <a:solidFill>
                  <a:srgbClr val="58585A"/>
                </a:solidFill>
                <a:latin typeface="Arial" charset="0"/>
              </a:endParaRPr>
            </a:p>
          </p:txBody>
        </p:sp>
        <p:sp>
          <p:nvSpPr>
            <p:cNvPr id="189" name="Oval 6"/>
            <p:cNvSpPr>
              <a:spLocks noChangeAspect="1"/>
            </p:cNvSpPr>
            <p:nvPr/>
          </p:nvSpPr>
          <p:spPr bwMode="auto">
            <a:xfrm>
              <a:off x="4895853" y="6492878"/>
              <a:ext cx="95249" cy="80963"/>
            </a:xfrm>
            <a:prstGeom prst="ellipse">
              <a:avLst/>
            </a:prstGeom>
            <a:grpFill/>
            <a:ln w="12700" algn="ctr">
              <a:solidFill>
                <a:schemeClr val="bg1"/>
              </a:solidFill>
              <a:round/>
              <a:headEnd/>
              <a:tailEnd/>
            </a:ln>
          </p:spPr>
          <p:txBody>
            <a:bodyPr wrap="none" lIns="72000" rIns="72000"/>
            <a:lstStyle/>
            <a:p>
              <a:pPr>
                <a:spcBef>
                  <a:spcPct val="50000"/>
                </a:spcBef>
                <a:defRPr/>
              </a:pPr>
              <a:endParaRPr lang="sv-SE" altLang="sv-SE">
                <a:solidFill>
                  <a:srgbClr val="58585A"/>
                </a:solidFill>
                <a:latin typeface="Arial" charset="0"/>
              </a:endParaRPr>
            </a:p>
          </p:txBody>
        </p:sp>
        <p:sp>
          <p:nvSpPr>
            <p:cNvPr id="190" name="Oval 7"/>
            <p:cNvSpPr>
              <a:spLocks noChangeAspect="1"/>
            </p:cNvSpPr>
            <p:nvPr/>
          </p:nvSpPr>
          <p:spPr bwMode="auto">
            <a:xfrm>
              <a:off x="5137153" y="6199191"/>
              <a:ext cx="95249" cy="79375"/>
            </a:xfrm>
            <a:prstGeom prst="ellipse">
              <a:avLst/>
            </a:prstGeom>
            <a:grpFill/>
            <a:ln w="12700" algn="ctr">
              <a:solidFill>
                <a:schemeClr val="bg1"/>
              </a:solidFill>
              <a:round/>
              <a:headEnd/>
              <a:tailEnd/>
            </a:ln>
          </p:spPr>
          <p:txBody>
            <a:bodyPr wrap="none" lIns="72000" rIns="72000"/>
            <a:lstStyle/>
            <a:p>
              <a:pPr>
                <a:spcBef>
                  <a:spcPct val="50000"/>
                </a:spcBef>
                <a:defRPr/>
              </a:pPr>
              <a:endParaRPr lang="sv-SE" altLang="sv-SE">
                <a:solidFill>
                  <a:srgbClr val="58585A"/>
                </a:solidFill>
                <a:latin typeface="Arial" charset="0"/>
              </a:endParaRPr>
            </a:p>
          </p:txBody>
        </p:sp>
        <p:sp>
          <p:nvSpPr>
            <p:cNvPr id="191" name="Oval 8"/>
            <p:cNvSpPr>
              <a:spLocks noChangeAspect="1"/>
            </p:cNvSpPr>
            <p:nvPr/>
          </p:nvSpPr>
          <p:spPr bwMode="auto">
            <a:xfrm>
              <a:off x="4895853" y="6303963"/>
              <a:ext cx="97367" cy="80962"/>
            </a:xfrm>
            <a:prstGeom prst="ellipse">
              <a:avLst/>
            </a:prstGeom>
            <a:grpFill/>
            <a:ln w="12700" algn="ctr">
              <a:solidFill>
                <a:schemeClr val="bg1"/>
              </a:solidFill>
              <a:round/>
              <a:headEnd/>
              <a:tailEnd/>
            </a:ln>
          </p:spPr>
          <p:txBody>
            <a:bodyPr wrap="none" lIns="72000" rIns="72000"/>
            <a:lstStyle/>
            <a:p>
              <a:pPr>
                <a:spcBef>
                  <a:spcPct val="50000"/>
                </a:spcBef>
                <a:defRPr/>
              </a:pPr>
              <a:endParaRPr lang="sv-SE" altLang="sv-SE">
                <a:solidFill>
                  <a:srgbClr val="58585A"/>
                </a:solidFill>
                <a:latin typeface="Arial" charset="0"/>
              </a:endParaRPr>
            </a:p>
          </p:txBody>
        </p:sp>
        <p:sp>
          <p:nvSpPr>
            <p:cNvPr id="192" name="Oval 9"/>
            <p:cNvSpPr>
              <a:spLocks noChangeAspect="1"/>
            </p:cNvSpPr>
            <p:nvPr/>
          </p:nvSpPr>
          <p:spPr bwMode="auto">
            <a:xfrm>
              <a:off x="5399617" y="6564316"/>
              <a:ext cx="99483" cy="79375"/>
            </a:xfrm>
            <a:prstGeom prst="ellipse">
              <a:avLst/>
            </a:prstGeom>
            <a:grpFill/>
            <a:ln w="12700" algn="ctr">
              <a:solidFill>
                <a:schemeClr val="bg1"/>
              </a:solidFill>
              <a:round/>
              <a:headEnd/>
              <a:tailEnd/>
            </a:ln>
          </p:spPr>
          <p:txBody>
            <a:bodyPr wrap="none" lIns="72000" rIns="72000"/>
            <a:lstStyle/>
            <a:p>
              <a:pPr>
                <a:spcBef>
                  <a:spcPct val="50000"/>
                </a:spcBef>
                <a:defRPr/>
              </a:pPr>
              <a:endParaRPr lang="sv-SE" altLang="sv-SE">
                <a:solidFill>
                  <a:srgbClr val="58585A"/>
                </a:solidFill>
                <a:latin typeface="Arial" charset="0"/>
              </a:endParaRPr>
            </a:p>
          </p:txBody>
        </p:sp>
        <p:sp>
          <p:nvSpPr>
            <p:cNvPr id="193" name="Oval 10"/>
            <p:cNvSpPr>
              <a:spLocks noChangeAspect="1"/>
            </p:cNvSpPr>
            <p:nvPr/>
          </p:nvSpPr>
          <p:spPr bwMode="auto">
            <a:xfrm>
              <a:off x="5649386" y="6281741"/>
              <a:ext cx="97367" cy="79375"/>
            </a:xfrm>
            <a:prstGeom prst="ellipse">
              <a:avLst/>
            </a:prstGeom>
            <a:grpFill/>
            <a:ln w="12700" algn="ctr">
              <a:solidFill>
                <a:schemeClr val="bg1"/>
              </a:solidFill>
              <a:round/>
              <a:headEnd/>
              <a:tailEnd/>
            </a:ln>
          </p:spPr>
          <p:txBody>
            <a:bodyPr wrap="none" lIns="72000" rIns="72000"/>
            <a:lstStyle/>
            <a:p>
              <a:pPr>
                <a:spcBef>
                  <a:spcPct val="50000"/>
                </a:spcBef>
                <a:defRPr/>
              </a:pPr>
              <a:endParaRPr lang="sv-SE" altLang="sv-SE">
                <a:solidFill>
                  <a:srgbClr val="58585A"/>
                </a:solidFill>
                <a:latin typeface="Arial" charset="0"/>
              </a:endParaRPr>
            </a:p>
          </p:txBody>
        </p:sp>
        <p:sp>
          <p:nvSpPr>
            <p:cNvPr id="194" name="Oval 11"/>
            <p:cNvSpPr>
              <a:spLocks noChangeAspect="1"/>
            </p:cNvSpPr>
            <p:nvPr/>
          </p:nvSpPr>
          <p:spPr bwMode="auto">
            <a:xfrm>
              <a:off x="5664202" y="6478591"/>
              <a:ext cx="97367" cy="79375"/>
            </a:xfrm>
            <a:prstGeom prst="ellipse">
              <a:avLst/>
            </a:prstGeom>
            <a:grpFill/>
            <a:ln w="12700" algn="ctr">
              <a:solidFill>
                <a:schemeClr val="bg1"/>
              </a:solidFill>
              <a:round/>
              <a:headEnd/>
              <a:tailEnd/>
            </a:ln>
          </p:spPr>
          <p:txBody>
            <a:bodyPr wrap="none" lIns="72000" rIns="72000"/>
            <a:lstStyle/>
            <a:p>
              <a:pPr>
                <a:spcBef>
                  <a:spcPct val="50000"/>
                </a:spcBef>
                <a:defRPr/>
              </a:pPr>
              <a:endParaRPr lang="sv-SE" altLang="sv-SE">
                <a:solidFill>
                  <a:srgbClr val="58585A"/>
                </a:solidFill>
                <a:latin typeface="Arial" charset="0"/>
              </a:endParaRPr>
            </a:p>
          </p:txBody>
        </p:sp>
        <p:sp>
          <p:nvSpPr>
            <p:cNvPr id="195" name="Oval 12"/>
            <p:cNvSpPr>
              <a:spLocks noChangeAspect="1"/>
            </p:cNvSpPr>
            <p:nvPr/>
          </p:nvSpPr>
          <p:spPr bwMode="auto">
            <a:xfrm>
              <a:off x="5130802" y="6564316"/>
              <a:ext cx="97367" cy="79375"/>
            </a:xfrm>
            <a:prstGeom prst="ellipse">
              <a:avLst/>
            </a:prstGeom>
            <a:grpFill/>
            <a:ln w="12700" algn="ctr">
              <a:solidFill>
                <a:schemeClr val="bg1"/>
              </a:solidFill>
              <a:round/>
              <a:headEnd/>
              <a:tailEnd/>
            </a:ln>
          </p:spPr>
          <p:txBody>
            <a:bodyPr wrap="none" lIns="72000" rIns="72000"/>
            <a:lstStyle/>
            <a:p>
              <a:pPr>
                <a:spcBef>
                  <a:spcPct val="50000"/>
                </a:spcBef>
                <a:defRPr/>
              </a:pPr>
              <a:endParaRPr lang="sv-SE" altLang="sv-SE">
                <a:solidFill>
                  <a:srgbClr val="58585A"/>
                </a:solidFill>
                <a:latin typeface="Arial" charset="0"/>
              </a:endParaRPr>
            </a:p>
          </p:txBody>
        </p:sp>
        <p:cxnSp>
          <p:nvCxnSpPr>
            <p:cNvPr id="196" name="Straight Connector 13"/>
            <p:cNvCxnSpPr>
              <a:cxnSpLocks noChangeShapeType="1"/>
              <a:stCxn id="188" idx="5"/>
            </p:cNvCxnSpPr>
            <p:nvPr/>
          </p:nvCxnSpPr>
          <p:spPr bwMode="auto">
            <a:xfrm rot="16200000" flipH="1">
              <a:off x="5532703" y="6202627"/>
              <a:ext cx="61912" cy="162984"/>
            </a:xfrm>
            <a:prstGeom prst="line">
              <a:avLst/>
            </a:prstGeom>
            <a:grpFill/>
            <a:ln w="12700" algn="ctr">
              <a:solidFill>
                <a:schemeClr val="bg1"/>
              </a:solidFill>
              <a:round/>
              <a:headEnd/>
              <a:tailEnd/>
            </a:ln>
            <a:extLst/>
          </p:spPr>
        </p:cxnSp>
        <p:cxnSp>
          <p:nvCxnSpPr>
            <p:cNvPr id="197" name="Straight Connector 14"/>
            <p:cNvCxnSpPr>
              <a:cxnSpLocks noChangeShapeType="1"/>
              <a:endCxn id="192" idx="1"/>
            </p:cNvCxnSpPr>
            <p:nvPr/>
          </p:nvCxnSpPr>
          <p:spPr bwMode="auto">
            <a:xfrm rot="16200000" flipH="1">
              <a:off x="5164668" y="6325661"/>
              <a:ext cx="311150" cy="188383"/>
            </a:xfrm>
            <a:prstGeom prst="line">
              <a:avLst/>
            </a:prstGeom>
            <a:grpFill/>
            <a:ln w="12700" algn="ctr">
              <a:solidFill>
                <a:schemeClr val="bg1"/>
              </a:solidFill>
              <a:round/>
              <a:headEnd/>
              <a:tailEnd/>
            </a:ln>
            <a:extLst/>
          </p:spPr>
        </p:cxnSp>
        <p:cxnSp>
          <p:nvCxnSpPr>
            <p:cNvPr id="198" name="Straight Connector 15"/>
            <p:cNvCxnSpPr>
              <a:cxnSpLocks noChangeShapeType="1"/>
              <a:stCxn id="192" idx="6"/>
              <a:endCxn id="194" idx="3"/>
            </p:cNvCxnSpPr>
            <p:nvPr/>
          </p:nvCxnSpPr>
          <p:spPr bwMode="auto">
            <a:xfrm flipV="1">
              <a:off x="5496986" y="6546850"/>
              <a:ext cx="179916" cy="57150"/>
            </a:xfrm>
            <a:prstGeom prst="line">
              <a:avLst/>
            </a:prstGeom>
            <a:grpFill/>
            <a:ln w="12700" algn="ctr">
              <a:solidFill>
                <a:schemeClr val="bg1"/>
              </a:solidFill>
              <a:round/>
              <a:headEnd/>
              <a:tailEnd/>
            </a:ln>
            <a:extLst/>
          </p:spPr>
        </p:cxnSp>
        <p:cxnSp>
          <p:nvCxnSpPr>
            <p:cNvPr id="199" name="Straight Connector 16"/>
            <p:cNvCxnSpPr>
              <a:cxnSpLocks noChangeShapeType="1"/>
              <a:endCxn id="194" idx="0"/>
            </p:cNvCxnSpPr>
            <p:nvPr/>
          </p:nvCxnSpPr>
          <p:spPr bwMode="auto">
            <a:xfrm rot="16200000" flipH="1">
              <a:off x="5652032" y="6417737"/>
              <a:ext cx="117475" cy="4233"/>
            </a:xfrm>
            <a:prstGeom prst="line">
              <a:avLst/>
            </a:prstGeom>
            <a:grpFill/>
            <a:ln w="12700" algn="ctr">
              <a:solidFill>
                <a:schemeClr val="bg1"/>
              </a:solidFill>
              <a:round/>
              <a:headEnd/>
              <a:tailEnd/>
            </a:ln>
            <a:extLst/>
          </p:spPr>
        </p:cxnSp>
        <p:cxnSp>
          <p:nvCxnSpPr>
            <p:cNvPr id="200" name="Straight Connector 17"/>
            <p:cNvCxnSpPr>
              <a:cxnSpLocks noChangeShapeType="1"/>
              <a:endCxn id="188" idx="4"/>
            </p:cNvCxnSpPr>
            <p:nvPr/>
          </p:nvCxnSpPr>
          <p:spPr bwMode="auto">
            <a:xfrm rot="16200000" flipV="1">
              <a:off x="5292726" y="6417736"/>
              <a:ext cx="311150" cy="4233"/>
            </a:xfrm>
            <a:prstGeom prst="line">
              <a:avLst/>
            </a:prstGeom>
            <a:grpFill/>
            <a:ln w="12700" algn="ctr">
              <a:solidFill>
                <a:schemeClr val="bg1"/>
              </a:solidFill>
              <a:round/>
              <a:headEnd/>
              <a:tailEnd/>
            </a:ln>
            <a:extLst/>
          </p:spPr>
        </p:cxnSp>
        <p:cxnSp>
          <p:nvCxnSpPr>
            <p:cNvPr id="201" name="Straight Connector 18"/>
            <p:cNvCxnSpPr>
              <a:cxnSpLocks noChangeShapeType="1"/>
              <a:endCxn id="188" idx="3"/>
            </p:cNvCxnSpPr>
            <p:nvPr/>
          </p:nvCxnSpPr>
          <p:spPr bwMode="auto">
            <a:xfrm rot="5400000" flipH="1" flipV="1">
              <a:off x="5138209" y="6315606"/>
              <a:ext cx="336550" cy="211667"/>
            </a:xfrm>
            <a:prstGeom prst="line">
              <a:avLst/>
            </a:prstGeom>
            <a:grpFill/>
            <a:ln w="12700" algn="ctr">
              <a:solidFill>
                <a:schemeClr val="bg1"/>
              </a:solidFill>
              <a:round/>
              <a:headEnd/>
              <a:tailEnd/>
            </a:ln>
            <a:extLst/>
          </p:spPr>
        </p:cxnSp>
        <p:cxnSp>
          <p:nvCxnSpPr>
            <p:cNvPr id="202" name="Straight Connector 19"/>
            <p:cNvCxnSpPr>
              <a:cxnSpLocks noChangeShapeType="1"/>
            </p:cNvCxnSpPr>
            <p:nvPr/>
          </p:nvCxnSpPr>
          <p:spPr bwMode="auto">
            <a:xfrm flipV="1">
              <a:off x="5245102" y="6227766"/>
              <a:ext cx="173567" cy="3175"/>
            </a:xfrm>
            <a:prstGeom prst="line">
              <a:avLst/>
            </a:prstGeom>
            <a:grpFill/>
            <a:ln w="12700" algn="ctr">
              <a:solidFill>
                <a:schemeClr val="bg1"/>
              </a:solidFill>
              <a:round/>
              <a:headEnd/>
              <a:tailEnd/>
            </a:ln>
            <a:extLst/>
          </p:spPr>
        </p:cxnSp>
        <p:cxnSp>
          <p:nvCxnSpPr>
            <p:cNvPr id="203" name="Straight Connector 20"/>
            <p:cNvCxnSpPr>
              <a:cxnSpLocks noChangeShapeType="1"/>
              <a:stCxn id="195" idx="6"/>
              <a:endCxn id="192" idx="2"/>
            </p:cNvCxnSpPr>
            <p:nvPr/>
          </p:nvCxnSpPr>
          <p:spPr bwMode="auto">
            <a:xfrm>
              <a:off x="5228168" y="6604000"/>
              <a:ext cx="171451" cy="1588"/>
            </a:xfrm>
            <a:prstGeom prst="line">
              <a:avLst/>
            </a:prstGeom>
            <a:grpFill/>
            <a:ln w="12700" algn="ctr">
              <a:solidFill>
                <a:schemeClr val="bg1"/>
              </a:solidFill>
              <a:round/>
              <a:headEnd/>
              <a:tailEnd/>
            </a:ln>
            <a:extLst/>
          </p:spPr>
        </p:cxnSp>
        <p:cxnSp>
          <p:nvCxnSpPr>
            <p:cNvPr id="204" name="Straight Connector 21"/>
            <p:cNvCxnSpPr>
              <a:cxnSpLocks noChangeShapeType="1"/>
            </p:cNvCxnSpPr>
            <p:nvPr/>
          </p:nvCxnSpPr>
          <p:spPr bwMode="auto">
            <a:xfrm rot="5400000">
              <a:off x="5009887" y="6410592"/>
              <a:ext cx="303213" cy="23283"/>
            </a:xfrm>
            <a:prstGeom prst="line">
              <a:avLst/>
            </a:prstGeom>
            <a:grpFill/>
            <a:ln w="12700" algn="ctr">
              <a:solidFill>
                <a:schemeClr val="bg1"/>
              </a:solidFill>
              <a:round/>
              <a:headEnd/>
              <a:tailEnd/>
            </a:ln>
            <a:extLst/>
          </p:spPr>
        </p:cxnSp>
        <p:cxnSp>
          <p:nvCxnSpPr>
            <p:cNvPr id="205" name="Straight Connector 22"/>
            <p:cNvCxnSpPr>
              <a:cxnSpLocks noChangeShapeType="1"/>
              <a:endCxn id="190" idx="2"/>
            </p:cNvCxnSpPr>
            <p:nvPr/>
          </p:nvCxnSpPr>
          <p:spPr bwMode="auto">
            <a:xfrm flipV="1">
              <a:off x="4993219" y="6238875"/>
              <a:ext cx="143933" cy="76200"/>
            </a:xfrm>
            <a:prstGeom prst="line">
              <a:avLst/>
            </a:prstGeom>
            <a:grpFill/>
            <a:ln w="12700" algn="ctr">
              <a:solidFill>
                <a:schemeClr val="bg1"/>
              </a:solidFill>
              <a:round/>
              <a:headEnd/>
              <a:tailEnd/>
            </a:ln>
            <a:extLst/>
          </p:spPr>
        </p:cxnSp>
        <p:cxnSp>
          <p:nvCxnSpPr>
            <p:cNvPr id="206" name="Straight Connector 23"/>
            <p:cNvCxnSpPr>
              <a:cxnSpLocks noChangeShapeType="1"/>
              <a:endCxn id="195" idx="1"/>
            </p:cNvCxnSpPr>
            <p:nvPr/>
          </p:nvCxnSpPr>
          <p:spPr bwMode="auto">
            <a:xfrm>
              <a:off x="4972053" y="6537325"/>
              <a:ext cx="171449" cy="38100"/>
            </a:xfrm>
            <a:prstGeom prst="line">
              <a:avLst/>
            </a:prstGeom>
            <a:grpFill/>
            <a:ln w="12700" algn="ctr">
              <a:solidFill>
                <a:schemeClr val="bg1"/>
              </a:solidFill>
              <a:round/>
              <a:headEnd/>
              <a:tailEnd/>
            </a:ln>
            <a:extLst/>
          </p:spPr>
        </p:cxnSp>
        <p:cxnSp>
          <p:nvCxnSpPr>
            <p:cNvPr id="207" name="Straight Connector 24"/>
            <p:cNvCxnSpPr>
              <a:cxnSpLocks noChangeShapeType="1"/>
            </p:cNvCxnSpPr>
            <p:nvPr/>
          </p:nvCxnSpPr>
          <p:spPr bwMode="auto">
            <a:xfrm rot="5400000">
              <a:off x="4887648" y="6449221"/>
              <a:ext cx="115888" cy="6349"/>
            </a:xfrm>
            <a:prstGeom prst="line">
              <a:avLst/>
            </a:prstGeom>
            <a:grpFill/>
            <a:ln w="12700" algn="ctr">
              <a:solidFill>
                <a:schemeClr val="bg1"/>
              </a:solidFill>
              <a:round/>
              <a:headEnd/>
              <a:tailEnd/>
            </a:ln>
            <a:extLst/>
          </p:spPr>
        </p:cxnSp>
      </p:grpSp>
      <p:grpSp>
        <p:nvGrpSpPr>
          <p:cNvPr id="8223" name="Group 207"/>
          <p:cNvGrpSpPr>
            <a:grpSpLocks/>
          </p:cNvGrpSpPr>
          <p:nvPr/>
        </p:nvGrpSpPr>
        <p:grpSpPr bwMode="auto">
          <a:xfrm>
            <a:off x="5911453" y="5827714"/>
            <a:ext cx="452438" cy="395287"/>
            <a:chOff x="3552192" y="5083216"/>
            <a:chExt cx="1128183" cy="694482"/>
          </a:xfrm>
        </p:grpSpPr>
        <p:sp>
          <p:nvSpPr>
            <p:cNvPr id="8225" name="Oval 58"/>
            <p:cNvSpPr>
              <a:spLocks noChangeAspect="1"/>
            </p:cNvSpPr>
            <p:nvPr/>
          </p:nvSpPr>
          <p:spPr bwMode="auto">
            <a:xfrm>
              <a:off x="3634740" y="5140369"/>
              <a:ext cx="448733" cy="280987"/>
            </a:xfrm>
            <a:prstGeom prst="ellipse">
              <a:avLst/>
            </a:prstGeom>
            <a:noFill/>
            <a:ln w="12700" algn="ctr">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lIns="72000" rIns="72000"/>
            <a:lstStyle/>
            <a:p>
              <a:pPr>
                <a:spcBef>
                  <a:spcPct val="50000"/>
                </a:spcBef>
              </a:pPr>
              <a:endParaRPr lang="sv-SE" altLang="sv-SE">
                <a:solidFill>
                  <a:srgbClr val="58585A"/>
                </a:solidFill>
              </a:endParaRPr>
            </a:p>
          </p:txBody>
        </p:sp>
        <p:sp>
          <p:nvSpPr>
            <p:cNvPr id="8226" name="Oval 60"/>
            <p:cNvSpPr>
              <a:spLocks noChangeAspect="1"/>
            </p:cNvSpPr>
            <p:nvPr/>
          </p:nvSpPr>
          <p:spPr bwMode="auto">
            <a:xfrm>
              <a:off x="4036908" y="5270541"/>
              <a:ext cx="643467" cy="347662"/>
            </a:xfrm>
            <a:prstGeom prst="ellipse">
              <a:avLst/>
            </a:prstGeom>
            <a:noFill/>
            <a:ln w="12700" algn="ctr">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lIns="72000" rIns="72000"/>
            <a:lstStyle/>
            <a:p>
              <a:pPr>
                <a:spcBef>
                  <a:spcPct val="50000"/>
                </a:spcBef>
              </a:pPr>
              <a:endParaRPr lang="sv-SE" altLang="sv-SE">
                <a:solidFill>
                  <a:srgbClr val="58585A"/>
                </a:solidFill>
              </a:endParaRPr>
            </a:p>
          </p:txBody>
        </p:sp>
        <p:sp>
          <p:nvSpPr>
            <p:cNvPr id="8227" name="Oval 61"/>
            <p:cNvSpPr>
              <a:spLocks noChangeAspect="1"/>
            </p:cNvSpPr>
            <p:nvPr/>
          </p:nvSpPr>
          <p:spPr bwMode="auto">
            <a:xfrm>
              <a:off x="3687657" y="5462628"/>
              <a:ext cx="446616" cy="279400"/>
            </a:xfrm>
            <a:prstGeom prst="ellipse">
              <a:avLst/>
            </a:prstGeom>
            <a:noFill/>
            <a:ln w="12700" algn="ctr">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lIns="72000" rIns="72000"/>
            <a:lstStyle/>
            <a:p>
              <a:pPr>
                <a:spcBef>
                  <a:spcPct val="50000"/>
                </a:spcBef>
              </a:pPr>
              <a:endParaRPr lang="sv-SE" altLang="sv-SE">
                <a:solidFill>
                  <a:srgbClr val="58585A"/>
                </a:solidFill>
              </a:endParaRPr>
            </a:p>
          </p:txBody>
        </p:sp>
        <p:grpSp>
          <p:nvGrpSpPr>
            <p:cNvPr id="8228" name="Group 24"/>
            <p:cNvGrpSpPr>
              <a:grpSpLocks noChangeAspect="1"/>
            </p:cNvGrpSpPr>
            <p:nvPr/>
          </p:nvGrpSpPr>
          <p:grpSpPr bwMode="auto">
            <a:xfrm>
              <a:off x="3691892" y="5083216"/>
              <a:ext cx="133349" cy="194024"/>
              <a:chOff x="183" y="860"/>
              <a:chExt cx="969" cy="2037"/>
            </a:xfrm>
          </p:grpSpPr>
          <p:grpSp>
            <p:nvGrpSpPr>
              <p:cNvPr id="8272" name="Group 43"/>
              <p:cNvGrpSpPr>
                <a:grpSpLocks noChangeAspect="1"/>
              </p:cNvGrpSpPr>
              <p:nvPr/>
            </p:nvGrpSpPr>
            <p:grpSpPr bwMode="auto">
              <a:xfrm>
                <a:off x="186" y="860"/>
                <a:ext cx="966" cy="2037"/>
                <a:chOff x="186" y="860"/>
                <a:chExt cx="966" cy="2037"/>
              </a:xfrm>
            </p:grpSpPr>
            <p:sp>
              <p:nvSpPr>
                <p:cNvPr id="8274" name="Freeform 3"/>
                <p:cNvSpPr>
                  <a:spLocks noChangeAspect="1"/>
                </p:cNvSpPr>
                <p:nvPr/>
              </p:nvSpPr>
              <p:spPr bwMode="auto">
                <a:xfrm>
                  <a:off x="205" y="879"/>
                  <a:ext cx="928" cy="1353"/>
                </a:xfrm>
                <a:custGeom>
                  <a:avLst/>
                  <a:gdLst>
                    <a:gd name="T0" fmla="*/ 2147483647 w 393"/>
                    <a:gd name="T1" fmla="*/ 2147483647 h 573"/>
                    <a:gd name="T2" fmla="*/ 2147483647 w 393"/>
                    <a:gd name="T3" fmla="*/ 2147483647 h 573"/>
                    <a:gd name="T4" fmla="*/ 2147483647 w 393"/>
                    <a:gd name="T5" fmla="*/ 2147483647 h 573"/>
                    <a:gd name="T6" fmla="*/ 2147483647 w 393"/>
                    <a:gd name="T7" fmla="*/ 2147483647 h 573"/>
                    <a:gd name="T8" fmla="*/ 0 w 393"/>
                    <a:gd name="T9" fmla="*/ 2147483647 h 573"/>
                    <a:gd name="T10" fmla="*/ 0 w 393"/>
                    <a:gd name="T11" fmla="*/ 2147483647 h 573"/>
                    <a:gd name="T12" fmla="*/ 2147483647 w 393"/>
                    <a:gd name="T13" fmla="*/ 0 h 573"/>
                    <a:gd name="T14" fmla="*/ 2147483647 w 393"/>
                    <a:gd name="T15" fmla="*/ 0 h 573"/>
                    <a:gd name="T16" fmla="*/ 2147483647 w 393"/>
                    <a:gd name="T17" fmla="*/ 2147483647 h 573"/>
                    <a:gd name="T18" fmla="*/ 2147483647 w 393"/>
                    <a:gd name="T19" fmla="*/ 2147483647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275" name="Freeform 4"/>
                <p:cNvSpPr>
                  <a:spLocks noChangeAspect="1" noEditPoints="1"/>
                </p:cNvSpPr>
                <p:nvPr/>
              </p:nvSpPr>
              <p:spPr bwMode="auto">
                <a:xfrm>
                  <a:off x="186" y="860"/>
                  <a:ext cx="966" cy="1391"/>
                </a:xfrm>
                <a:custGeom>
                  <a:avLst/>
                  <a:gdLst>
                    <a:gd name="T0" fmla="*/ 2147483647 w 409"/>
                    <a:gd name="T1" fmla="*/ 2147483647 h 589"/>
                    <a:gd name="T2" fmla="*/ 2147483647 w 409"/>
                    <a:gd name="T3" fmla="*/ 0 h 589"/>
                    <a:gd name="T4" fmla="*/ 0 w 409"/>
                    <a:gd name="T5" fmla="*/ 2147483647 h 589"/>
                    <a:gd name="T6" fmla="*/ 2147483647 w 409"/>
                    <a:gd name="T7" fmla="*/ 2147483647 h 589"/>
                    <a:gd name="T8" fmla="*/ 2147483647 w 409"/>
                    <a:gd name="T9" fmla="*/ 2147483647 h 589"/>
                    <a:gd name="T10" fmla="*/ 2147483647 w 409"/>
                    <a:gd name="T11" fmla="*/ 2147483647 h 589"/>
                    <a:gd name="T12" fmla="*/ 2147483647 w 409"/>
                    <a:gd name="T13" fmla="*/ 2147483647 h 589"/>
                    <a:gd name="T14" fmla="*/ 2147483647 w 409"/>
                    <a:gd name="T15" fmla="*/ 2147483647 h 589"/>
                    <a:gd name="T16" fmla="*/ 2147483647 w 409"/>
                    <a:gd name="T17" fmla="*/ 2147483647 h 589"/>
                    <a:gd name="T18" fmla="*/ 2147483647 w 409"/>
                    <a:gd name="T19" fmla="*/ 2147483647 h 589"/>
                    <a:gd name="T20" fmla="*/ 2147483647 w 409"/>
                    <a:gd name="T21" fmla="*/ 2147483647 h 589"/>
                    <a:gd name="T22" fmla="*/ 2147483647 w 409"/>
                    <a:gd name="T23" fmla="*/ 2147483647 h 589"/>
                    <a:gd name="T24" fmla="*/ 2147483647 w 409"/>
                    <a:gd name="T25" fmla="*/ 2147483647 h 589"/>
                    <a:gd name="T26" fmla="*/ 2147483647 w 409"/>
                    <a:gd name="T27" fmla="*/ 2147483647 h 589"/>
                    <a:gd name="T28" fmla="*/ 2147483647 w 409"/>
                    <a:gd name="T29" fmla="*/ 2147483647 h 589"/>
                    <a:gd name="T30" fmla="*/ 2147483647 w 409"/>
                    <a:gd name="T31" fmla="*/ 2147483647 h 589"/>
                    <a:gd name="T32" fmla="*/ 2147483647 w 409"/>
                    <a:gd name="T33" fmla="*/ 2147483647 h 589"/>
                    <a:gd name="T34" fmla="*/ 2147483647 w 409"/>
                    <a:gd name="T35" fmla="*/ 2147483647 h 589"/>
                    <a:gd name="T36" fmla="*/ 2147483647 w 409"/>
                    <a:gd name="T37" fmla="*/ 2147483647 h 589"/>
                    <a:gd name="T38" fmla="*/ 2147483647 w 409"/>
                    <a:gd name="T39" fmla="*/ 2147483647 h 589"/>
                    <a:gd name="T40" fmla="*/ 2147483647 w 409"/>
                    <a:gd name="T41" fmla="*/ 2147483647 h 589"/>
                    <a:gd name="T42" fmla="*/ 2147483647 w 409"/>
                    <a:gd name="T43" fmla="*/ 2147483647 h 589"/>
                    <a:gd name="T44" fmla="*/ 2147483647 w 409"/>
                    <a:gd name="T45" fmla="*/ 2147483647 h 589"/>
                    <a:gd name="T46" fmla="*/ 2147483647 w 409"/>
                    <a:gd name="T47" fmla="*/ 2147483647 h 589"/>
                    <a:gd name="T48" fmla="*/ 2147483647 w 409"/>
                    <a:gd name="T49" fmla="*/ 2147483647 h 589"/>
                    <a:gd name="T50" fmla="*/ 2147483647 w 409"/>
                    <a:gd name="T51" fmla="*/ 2147483647 h 589"/>
                    <a:gd name="T52" fmla="*/ 2147483647 w 409"/>
                    <a:gd name="T53" fmla="*/ 2147483647 h 589"/>
                    <a:gd name="T54" fmla="*/ 2147483647 w 409"/>
                    <a:gd name="T55" fmla="*/ 2147483647 h 589"/>
                    <a:gd name="T56" fmla="*/ 2147483647 w 409"/>
                    <a:gd name="T57" fmla="*/ 2147483647 h 589"/>
                    <a:gd name="T58" fmla="*/ 2147483647 w 409"/>
                    <a:gd name="T59" fmla="*/ 2147483647 h 589"/>
                    <a:gd name="T60" fmla="*/ 2147483647 w 409"/>
                    <a:gd name="T61" fmla="*/ 2147483647 h 589"/>
                    <a:gd name="T62" fmla="*/ 2147483647 w 409"/>
                    <a:gd name="T63" fmla="*/ 2147483647 h 589"/>
                    <a:gd name="T64" fmla="*/ 2147483647 w 409"/>
                    <a:gd name="T65" fmla="*/ 2147483647 h 589"/>
                    <a:gd name="T66" fmla="*/ 2147483647 w 409"/>
                    <a:gd name="T67" fmla="*/ 2147483647 h 589"/>
                    <a:gd name="T68" fmla="*/ 2147483647 w 409"/>
                    <a:gd name="T69" fmla="*/ 2147483647 h 589"/>
                    <a:gd name="T70" fmla="*/ 2147483647 w 409"/>
                    <a:gd name="T71" fmla="*/ 2147483647 h 589"/>
                    <a:gd name="T72" fmla="*/ 2147483647 w 409"/>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002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276" name="Text Box 5"/>
                <p:cNvSpPr txBox="1">
                  <a:spLocks noChangeAspect="1" noChangeArrowheads="1"/>
                </p:cNvSpPr>
                <p:nvPr/>
              </p:nvSpPr>
              <p:spPr bwMode="auto">
                <a:xfrm>
                  <a:off x="260" y="1080"/>
                  <a:ext cx="818" cy="1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lnSpc>
                      <a:spcPct val="80000"/>
                    </a:lnSpc>
                    <a:spcBef>
                      <a:spcPct val="50000"/>
                    </a:spcBef>
                  </a:pPr>
                  <a:endParaRPr lang="sv-SE" altLang="sv-SE" sz="800" b="1">
                    <a:solidFill>
                      <a:srgbClr val="00285F"/>
                    </a:solidFill>
                    <a:cs typeface="Arial" pitchFamily="34" charset="0"/>
                  </a:endParaRPr>
                </a:p>
              </p:txBody>
            </p:sp>
          </p:grpSp>
          <p:sp>
            <p:nvSpPr>
              <p:cNvPr id="8273" name="Rectangle 29"/>
              <p:cNvSpPr>
                <a:spLocks noChangeAspect="1" noChangeArrowheads="1"/>
              </p:cNvSpPr>
              <p:nvPr/>
            </p:nvSpPr>
            <p:spPr bwMode="auto">
              <a:xfrm>
                <a:off x="183" y="860"/>
                <a:ext cx="969"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lstStyle/>
              <a:p>
                <a:pPr>
                  <a:spcBef>
                    <a:spcPct val="50000"/>
                  </a:spcBef>
                </a:pPr>
                <a:endParaRPr lang="sv-SE" altLang="sv-SE">
                  <a:solidFill>
                    <a:srgbClr val="58585A"/>
                  </a:solidFill>
                </a:endParaRPr>
              </a:p>
            </p:txBody>
          </p:sp>
        </p:grpSp>
        <p:grpSp>
          <p:nvGrpSpPr>
            <p:cNvPr id="8229" name="Group 24"/>
            <p:cNvGrpSpPr>
              <a:grpSpLocks noChangeAspect="1"/>
            </p:cNvGrpSpPr>
            <p:nvPr/>
          </p:nvGrpSpPr>
          <p:grpSpPr bwMode="auto">
            <a:xfrm>
              <a:off x="3996692" y="5259431"/>
              <a:ext cx="133349" cy="193527"/>
              <a:chOff x="183" y="860"/>
              <a:chExt cx="969" cy="2033"/>
            </a:xfrm>
          </p:grpSpPr>
          <p:grpSp>
            <p:nvGrpSpPr>
              <p:cNvPr id="8267" name="Group 43"/>
              <p:cNvGrpSpPr>
                <a:grpSpLocks noChangeAspect="1"/>
              </p:cNvGrpSpPr>
              <p:nvPr/>
            </p:nvGrpSpPr>
            <p:grpSpPr bwMode="auto">
              <a:xfrm>
                <a:off x="186" y="860"/>
                <a:ext cx="966" cy="2033"/>
                <a:chOff x="186" y="860"/>
                <a:chExt cx="966" cy="2033"/>
              </a:xfrm>
            </p:grpSpPr>
            <p:sp>
              <p:nvSpPr>
                <p:cNvPr id="8269" name="Freeform 3"/>
                <p:cNvSpPr>
                  <a:spLocks noChangeAspect="1"/>
                </p:cNvSpPr>
                <p:nvPr/>
              </p:nvSpPr>
              <p:spPr bwMode="auto">
                <a:xfrm>
                  <a:off x="205" y="879"/>
                  <a:ext cx="928" cy="1353"/>
                </a:xfrm>
                <a:custGeom>
                  <a:avLst/>
                  <a:gdLst>
                    <a:gd name="T0" fmla="*/ 2147483647 w 393"/>
                    <a:gd name="T1" fmla="*/ 2147483647 h 573"/>
                    <a:gd name="T2" fmla="*/ 2147483647 w 393"/>
                    <a:gd name="T3" fmla="*/ 2147483647 h 573"/>
                    <a:gd name="T4" fmla="*/ 2147483647 w 393"/>
                    <a:gd name="T5" fmla="*/ 2147483647 h 573"/>
                    <a:gd name="T6" fmla="*/ 2147483647 w 393"/>
                    <a:gd name="T7" fmla="*/ 2147483647 h 573"/>
                    <a:gd name="T8" fmla="*/ 0 w 393"/>
                    <a:gd name="T9" fmla="*/ 2147483647 h 573"/>
                    <a:gd name="T10" fmla="*/ 0 w 393"/>
                    <a:gd name="T11" fmla="*/ 2147483647 h 573"/>
                    <a:gd name="T12" fmla="*/ 2147483647 w 393"/>
                    <a:gd name="T13" fmla="*/ 0 h 573"/>
                    <a:gd name="T14" fmla="*/ 2147483647 w 393"/>
                    <a:gd name="T15" fmla="*/ 0 h 573"/>
                    <a:gd name="T16" fmla="*/ 2147483647 w 393"/>
                    <a:gd name="T17" fmla="*/ 2147483647 h 573"/>
                    <a:gd name="T18" fmla="*/ 2147483647 w 393"/>
                    <a:gd name="T19" fmla="*/ 2147483647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270" name="Freeform 4"/>
                <p:cNvSpPr>
                  <a:spLocks noChangeAspect="1" noEditPoints="1"/>
                </p:cNvSpPr>
                <p:nvPr/>
              </p:nvSpPr>
              <p:spPr bwMode="auto">
                <a:xfrm>
                  <a:off x="186" y="860"/>
                  <a:ext cx="966" cy="1391"/>
                </a:xfrm>
                <a:custGeom>
                  <a:avLst/>
                  <a:gdLst>
                    <a:gd name="T0" fmla="*/ 2147483647 w 409"/>
                    <a:gd name="T1" fmla="*/ 2147483647 h 589"/>
                    <a:gd name="T2" fmla="*/ 2147483647 w 409"/>
                    <a:gd name="T3" fmla="*/ 0 h 589"/>
                    <a:gd name="T4" fmla="*/ 0 w 409"/>
                    <a:gd name="T5" fmla="*/ 2147483647 h 589"/>
                    <a:gd name="T6" fmla="*/ 2147483647 w 409"/>
                    <a:gd name="T7" fmla="*/ 2147483647 h 589"/>
                    <a:gd name="T8" fmla="*/ 2147483647 w 409"/>
                    <a:gd name="T9" fmla="*/ 2147483647 h 589"/>
                    <a:gd name="T10" fmla="*/ 2147483647 w 409"/>
                    <a:gd name="T11" fmla="*/ 2147483647 h 589"/>
                    <a:gd name="T12" fmla="*/ 2147483647 w 409"/>
                    <a:gd name="T13" fmla="*/ 2147483647 h 589"/>
                    <a:gd name="T14" fmla="*/ 2147483647 w 409"/>
                    <a:gd name="T15" fmla="*/ 2147483647 h 589"/>
                    <a:gd name="T16" fmla="*/ 2147483647 w 409"/>
                    <a:gd name="T17" fmla="*/ 2147483647 h 589"/>
                    <a:gd name="T18" fmla="*/ 2147483647 w 409"/>
                    <a:gd name="T19" fmla="*/ 2147483647 h 589"/>
                    <a:gd name="T20" fmla="*/ 2147483647 w 409"/>
                    <a:gd name="T21" fmla="*/ 2147483647 h 589"/>
                    <a:gd name="T22" fmla="*/ 2147483647 w 409"/>
                    <a:gd name="T23" fmla="*/ 2147483647 h 589"/>
                    <a:gd name="T24" fmla="*/ 2147483647 w 409"/>
                    <a:gd name="T25" fmla="*/ 2147483647 h 589"/>
                    <a:gd name="T26" fmla="*/ 2147483647 w 409"/>
                    <a:gd name="T27" fmla="*/ 2147483647 h 589"/>
                    <a:gd name="T28" fmla="*/ 2147483647 w 409"/>
                    <a:gd name="T29" fmla="*/ 2147483647 h 589"/>
                    <a:gd name="T30" fmla="*/ 2147483647 w 409"/>
                    <a:gd name="T31" fmla="*/ 2147483647 h 589"/>
                    <a:gd name="T32" fmla="*/ 2147483647 w 409"/>
                    <a:gd name="T33" fmla="*/ 2147483647 h 589"/>
                    <a:gd name="T34" fmla="*/ 2147483647 w 409"/>
                    <a:gd name="T35" fmla="*/ 2147483647 h 589"/>
                    <a:gd name="T36" fmla="*/ 2147483647 w 409"/>
                    <a:gd name="T37" fmla="*/ 2147483647 h 589"/>
                    <a:gd name="T38" fmla="*/ 2147483647 w 409"/>
                    <a:gd name="T39" fmla="*/ 2147483647 h 589"/>
                    <a:gd name="T40" fmla="*/ 2147483647 w 409"/>
                    <a:gd name="T41" fmla="*/ 2147483647 h 589"/>
                    <a:gd name="T42" fmla="*/ 2147483647 w 409"/>
                    <a:gd name="T43" fmla="*/ 2147483647 h 589"/>
                    <a:gd name="T44" fmla="*/ 2147483647 w 409"/>
                    <a:gd name="T45" fmla="*/ 2147483647 h 589"/>
                    <a:gd name="T46" fmla="*/ 2147483647 w 409"/>
                    <a:gd name="T47" fmla="*/ 2147483647 h 589"/>
                    <a:gd name="T48" fmla="*/ 2147483647 w 409"/>
                    <a:gd name="T49" fmla="*/ 2147483647 h 589"/>
                    <a:gd name="T50" fmla="*/ 2147483647 w 409"/>
                    <a:gd name="T51" fmla="*/ 2147483647 h 589"/>
                    <a:gd name="T52" fmla="*/ 2147483647 w 409"/>
                    <a:gd name="T53" fmla="*/ 2147483647 h 589"/>
                    <a:gd name="T54" fmla="*/ 2147483647 w 409"/>
                    <a:gd name="T55" fmla="*/ 2147483647 h 589"/>
                    <a:gd name="T56" fmla="*/ 2147483647 w 409"/>
                    <a:gd name="T57" fmla="*/ 2147483647 h 589"/>
                    <a:gd name="T58" fmla="*/ 2147483647 w 409"/>
                    <a:gd name="T59" fmla="*/ 2147483647 h 589"/>
                    <a:gd name="T60" fmla="*/ 2147483647 w 409"/>
                    <a:gd name="T61" fmla="*/ 2147483647 h 589"/>
                    <a:gd name="T62" fmla="*/ 2147483647 w 409"/>
                    <a:gd name="T63" fmla="*/ 2147483647 h 589"/>
                    <a:gd name="T64" fmla="*/ 2147483647 w 409"/>
                    <a:gd name="T65" fmla="*/ 2147483647 h 589"/>
                    <a:gd name="T66" fmla="*/ 2147483647 w 409"/>
                    <a:gd name="T67" fmla="*/ 2147483647 h 589"/>
                    <a:gd name="T68" fmla="*/ 2147483647 w 409"/>
                    <a:gd name="T69" fmla="*/ 2147483647 h 589"/>
                    <a:gd name="T70" fmla="*/ 2147483647 w 409"/>
                    <a:gd name="T71" fmla="*/ 2147483647 h 589"/>
                    <a:gd name="T72" fmla="*/ 2147483647 w 409"/>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002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271" name="Text Box 5"/>
                <p:cNvSpPr txBox="1">
                  <a:spLocks noChangeAspect="1" noChangeArrowheads="1"/>
                </p:cNvSpPr>
                <p:nvPr/>
              </p:nvSpPr>
              <p:spPr bwMode="auto">
                <a:xfrm>
                  <a:off x="260" y="1075"/>
                  <a:ext cx="818" cy="1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lnSpc>
                      <a:spcPct val="80000"/>
                    </a:lnSpc>
                    <a:spcBef>
                      <a:spcPct val="50000"/>
                    </a:spcBef>
                  </a:pPr>
                  <a:endParaRPr lang="sv-SE" altLang="sv-SE" sz="800" b="1">
                    <a:solidFill>
                      <a:srgbClr val="00285F"/>
                    </a:solidFill>
                    <a:cs typeface="Arial" pitchFamily="34" charset="0"/>
                  </a:endParaRPr>
                </a:p>
              </p:txBody>
            </p:sp>
          </p:grpSp>
          <p:sp>
            <p:nvSpPr>
              <p:cNvPr id="8268" name="Rectangle 29"/>
              <p:cNvSpPr>
                <a:spLocks noChangeAspect="1" noChangeArrowheads="1"/>
              </p:cNvSpPr>
              <p:nvPr/>
            </p:nvSpPr>
            <p:spPr bwMode="auto">
              <a:xfrm>
                <a:off x="183" y="860"/>
                <a:ext cx="969"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lstStyle/>
              <a:p>
                <a:pPr>
                  <a:spcBef>
                    <a:spcPct val="50000"/>
                  </a:spcBef>
                </a:pPr>
                <a:endParaRPr lang="sv-SE" altLang="sv-SE">
                  <a:solidFill>
                    <a:srgbClr val="58585A"/>
                  </a:solidFill>
                </a:endParaRPr>
              </a:p>
            </p:txBody>
          </p:sp>
        </p:grpSp>
        <p:sp>
          <p:nvSpPr>
            <p:cNvPr id="8230" name="Rectangle 29"/>
            <p:cNvSpPr>
              <a:spLocks noChangeAspect="1" noChangeArrowheads="1"/>
            </p:cNvSpPr>
            <p:nvPr/>
          </p:nvSpPr>
          <p:spPr bwMode="auto">
            <a:xfrm>
              <a:off x="3717292" y="5645191"/>
              <a:ext cx="133349" cy="132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lstStyle/>
            <a:p>
              <a:pPr>
                <a:spcBef>
                  <a:spcPct val="50000"/>
                </a:spcBef>
              </a:pPr>
              <a:endParaRPr lang="sv-SE" altLang="sv-SE">
                <a:solidFill>
                  <a:srgbClr val="58585A"/>
                </a:solidFill>
              </a:endParaRPr>
            </a:p>
          </p:txBody>
        </p:sp>
        <p:grpSp>
          <p:nvGrpSpPr>
            <p:cNvPr id="8231" name="Group 24"/>
            <p:cNvGrpSpPr>
              <a:grpSpLocks noChangeAspect="1"/>
            </p:cNvGrpSpPr>
            <p:nvPr/>
          </p:nvGrpSpPr>
          <p:grpSpPr bwMode="auto">
            <a:xfrm>
              <a:off x="3645325" y="5484856"/>
              <a:ext cx="135467" cy="194025"/>
              <a:chOff x="183" y="860"/>
              <a:chExt cx="969" cy="2037"/>
            </a:xfrm>
          </p:grpSpPr>
          <p:grpSp>
            <p:nvGrpSpPr>
              <p:cNvPr id="8262" name="Group 43"/>
              <p:cNvGrpSpPr>
                <a:grpSpLocks noChangeAspect="1"/>
              </p:cNvGrpSpPr>
              <p:nvPr/>
            </p:nvGrpSpPr>
            <p:grpSpPr bwMode="auto">
              <a:xfrm>
                <a:off x="186" y="860"/>
                <a:ext cx="966" cy="2037"/>
                <a:chOff x="186" y="860"/>
                <a:chExt cx="966" cy="2037"/>
              </a:xfrm>
            </p:grpSpPr>
            <p:sp>
              <p:nvSpPr>
                <p:cNvPr id="8264" name="Freeform 3"/>
                <p:cNvSpPr>
                  <a:spLocks noChangeAspect="1"/>
                </p:cNvSpPr>
                <p:nvPr/>
              </p:nvSpPr>
              <p:spPr bwMode="auto">
                <a:xfrm>
                  <a:off x="205" y="879"/>
                  <a:ext cx="928" cy="1353"/>
                </a:xfrm>
                <a:custGeom>
                  <a:avLst/>
                  <a:gdLst>
                    <a:gd name="T0" fmla="*/ 2147483647 w 393"/>
                    <a:gd name="T1" fmla="*/ 2147483647 h 573"/>
                    <a:gd name="T2" fmla="*/ 2147483647 w 393"/>
                    <a:gd name="T3" fmla="*/ 2147483647 h 573"/>
                    <a:gd name="T4" fmla="*/ 2147483647 w 393"/>
                    <a:gd name="T5" fmla="*/ 2147483647 h 573"/>
                    <a:gd name="T6" fmla="*/ 2147483647 w 393"/>
                    <a:gd name="T7" fmla="*/ 2147483647 h 573"/>
                    <a:gd name="T8" fmla="*/ 0 w 393"/>
                    <a:gd name="T9" fmla="*/ 2147483647 h 573"/>
                    <a:gd name="T10" fmla="*/ 0 w 393"/>
                    <a:gd name="T11" fmla="*/ 2147483647 h 573"/>
                    <a:gd name="T12" fmla="*/ 2147483647 w 393"/>
                    <a:gd name="T13" fmla="*/ 0 h 573"/>
                    <a:gd name="T14" fmla="*/ 2147483647 w 393"/>
                    <a:gd name="T15" fmla="*/ 0 h 573"/>
                    <a:gd name="T16" fmla="*/ 2147483647 w 393"/>
                    <a:gd name="T17" fmla="*/ 2147483647 h 573"/>
                    <a:gd name="T18" fmla="*/ 2147483647 w 393"/>
                    <a:gd name="T19" fmla="*/ 2147483647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265" name="Freeform 4"/>
                <p:cNvSpPr>
                  <a:spLocks noChangeAspect="1" noEditPoints="1"/>
                </p:cNvSpPr>
                <p:nvPr/>
              </p:nvSpPr>
              <p:spPr bwMode="auto">
                <a:xfrm>
                  <a:off x="186" y="860"/>
                  <a:ext cx="966" cy="1391"/>
                </a:xfrm>
                <a:custGeom>
                  <a:avLst/>
                  <a:gdLst>
                    <a:gd name="T0" fmla="*/ 2147483647 w 409"/>
                    <a:gd name="T1" fmla="*/ 2147483647 h 589"/>
                    <a:gd name="T2" fmla="*/ 2147483647 w 409"/>
                    <a:gd name="T3" fmla="*/ 0 h 589"/>
                    <a:gd name="T4" fmla="*/ 0 w 409"/>
                    <a:gd name="T5" fmla="*/ 2147483647 h 589"/>
                    <a:gd name="T6" fmla="*/ 2147483647 w 409"/>
                    <a:gd name="T7" fmla="*/ 2147483647 h 589"/>
                    <a:gd name="T8" fmla="*/ 2147483647 w 409"/>
                    <a:gd name="T9" fmla="*/ 2147483647 h 589"/>
                    <a:gd name="T10" fmla="*/ 2147483647 w 409"/>
                    <a:gd name="T11" fmla="*/ 2147483647 h 589"/>
                    <a:gd name="T12" fmla="*/ 2147483647 w 409"/>
                    <a:gd name="T13" fmla="*/ 2147483647 h 589"/>
                    <a:gd name="T14" fmla="*/ 2147483647 w 409"/>
                    <a:gd name="T15" fmla="*/ 2147483647 h 589"/>
                    <a:gd name="T16" fmla="*/ 2147483647 w 409"/>
                    <a:gd name="T17" fmla="*/ 2147483647 h 589"/>
                    <a:gd name="T18" fmla="*/ 2147483647 w 409"/>
                    <a:gd name="T19" fmla="*/ 2147483647 h 589"/>
                    <a:gd name="T20" fmla="*/ 2147483647 w 409"/>
                    <a:gd name="T21" fmla="*/ 2147483647 h 589"/>
                    <a:gd name="T22" fmla="*/ 2147483647 w 409"/>
                    <a:gd name="T23" fmla="*/ 2147483647 h 589"/>
                    <a:gd name="T24" fmla="*/ 2147483647 w 409"/>
                    <a:gd name="T25" fmla="*/ 2147483647 h 589"/>
                    <a:gd name="T26" fmla="*/ 2147483647 w 409"/>
                    <a:gd name="T27" fmla="*/ 2147483647 h 589"/>
                    <a:gd name="T28" fmla="*/ 2147483647 w 409"/>
                    <a:gd name="T29" fmla="*/ 2147483647 h 589"/>
                    <a:gd name="T30" fmla="*/ 2147483647 w 409"/>
                    <a:gd name="T31" fmla="*/ 2147483647 h 589"/>
                    <a:gd name="T32" fmla="*/ 2147483647 w 409"/>
                    <a:gd name="T33" fmla="*/ 2147483647 h 589"/>
                    <a:gd name="T34" fmla="*/ 2147483647 w 409"/>
                    <a:gd name="T35" fmla="*/ 2147483647 h 589"/>
                    <a:gd name="T36" fmla="*/ 2147483647 w 409"/>
                    <a:gd name="T37" fmla="*/ 2147483647 h 589"/>
                    <a:gd name="T38" fmla="*/ 2147483647 w 409"/>
                    <a:gd name="T39" fmla="*/ 2147483647 h 589"/>
                    <a:gd name="T40" fmla="*/ 2147483647 w 409"/>
                    <a:gd name="T41" fmla="*/ 2147483647 h 589"/>
                    <a:gd name="T42" fmla="*/ 2147483647 w 409"/>
                    <a:gd name="T43" fmla="*/ 2147483647 h 589"/>
                    <a:gd name="T44" fmla="*/ 2147483647 w 409"/>
                    <a:gd name="T45" fmla="*/ 2147483647 h 589"/>
                    <a:gd name="T46" fmla="*/ 2147483647 w 409"/>
                    <a:gd name="T47" fmla="*/ 2147483647 h 589"/>
                    <a:gd name="T48" fmla="*/ 2147483647 w 409"/>
                    <a:gd name="T49" fmla="*/ 2147483647 h 589"/>
                    <a:gd name="T50" fmla="*/ 2147483647 w 409"/>
                    <a:gd name="T51" fmla="*/ 2147483647 h 589"/>
                    <a:gd name="T52" fmla="*/ 2147483647 w 409"/>
                    <a:gd name="T53" fmla="*/ 2147483647 h 589"/>
                    <a:gd name="T54" fmla="*/ 2147483647 w 409"/>
                    <a:gd name="T55" fmla="*/ 2147483647 h 589"/>
                    <a:gd name="T56" fmla="*/ 2147483647 w 409"/>
                    <a:gd name="T57" fmla="*/ 2147483647 h 589"/>
                    <a:gd name="T58" fmla="*/ 2147483647 w 409"/>
                    <a:gd name="T59" fmla="*/ 2147483647 h 589"/>
                    <a:gd name="T60" fmla="*/ 2147483647 w 409"/>
                    <a:gd name="T61" fmla="*/ 2147483647 h 589"/>
                    <a:gd name="T62" fmla="*/ 2147483647 w 409"/>
                    <a:gd name="T63" fmla="*/ 2147483647 h 589"/>
                    <a:gd name="T64" fmla="*/ 2147483647 w 409"/>
                    <a:gd name="T65" fmla="*/ 2147483647 h 589"/>
                    <a:gd name="T66" fmla="*/ 2147483647 w 409"/>
                    <a:gd name="T67" fmla="*/ 2147483647 h 589"/>
                    <a:gd name="T68" fmla="*/ 2147483647 w 409"/>
                    <a:gd name="T69" fmla="*/ 2147483647 h 589"/>
                    <a:gd name="T70" fmla="*/ 2147483647 w 409"/>
                    <a:gd name="T71" fmla="*/ 2147483647 h 589"/>
                    <a:gd name="T72" fmla="*/ 2147483647 w 409"/>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002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266" name="Text Box 5"/>
                <p:cNvSpPr txBox="1">
                  <a:spLocks noChangeAspect="1" noChangeArrowheads="1"/>
                </p:cNvSpPr>
                <p:nvPr/>
              </p:nvSpPr>
              <p:spPr bwMode="auto">
                <a:xfrm>
                  <a:off x="261" y="1080"/>
                  <a:ext cx="816" cy="1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lnSpc>
                      <a:spcPct val="80000"/>
                    </a:lnSpc>
                    <a:spcBef>
                      <a:spcPct val="50000"/>
                    </a:spcBef>
                  </a:pPr>
                  <a:endParaRPr lang="sv-SE" altLang="sv-SE" sz="800" b="1">
                    <a:solidFill>
                      <a:srgbClr val="00285F"/>
                    </a:solidFill>
                    <a:cs typeface="Arial" pitchFamily="34" charset="0"/>
                  </a:endParaRPr>
                </a:p>
              </p:txBody>
            </p:sp>
          </p:grpSp>
          <p:sp>
            <p:nvSpPr>
              <p:cNvPr id="8263" name="Rectangle 29"/>
              <p:cNvSpPr>
                <a:spLocks noChangeAspect="1" noChangeArrowheads="1"/>
              </p:cNvSpPr>
              <p:nvPr/>
            </p:nvSpPr>
            <p:spPr bwMode="auto">
              <a:xfrm>
                <a:off x="183" y="860"/>
                <a:ext cx="969"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lstStyle/>
              <a:p>
                <a:pPr>
                  <a:spcBef>
                    <a:spcPct val="50000"/>
                  </a:spcBef>
                </a:pPr>
                <a:endParaRPr lang="sv-SE" altLang="sv-SE">
                  <a:solidFill>
                    <a:srgbClr val="58585A"/>
                  </a:solidFill>
                </a:endParaRPr>
              </a:p>
            </p:txBody>
          </p:sp>
        </p:grpSp>
        <p:grpSp>
          <p:nvGrpSpPr>
            <p:cNvPr id="8232" name="Group 24"/>
            <p:cNvGrpSpPr>
              <a:grpSpLocks noChangeAspect="1"/>
            </p:cNvGrpSpPr>
            <p:nvPr/>
          </p:nvGrpSpPr>
          <p:grpSpPr bwMode="auto">
            <a:xfrm>
              <a:off x="4043259" y="5453106"/>
              <a:ext cx="133349" cy="194025"/>
              <a:chOff x="183" y="860"/>
              <a:chExt cx="969" cy="2037"/>
            </a:xfrm>
          </p:grpSpPr>
          <p:grpSp>
            <p:nvGrpSpPr>
              <p:cNvPr id="8257" name="Group 43"/>
              <p:cNvGrpSpPr>
                <a:grpSpLocks noChangeAspect="1"/>
              </p:cNvGrpSpPr>
              <p:nvPr/>
            </p:nvGrpSpPr>
            <p:grpSpPr bwMode="auto">
              <a:xfrm>
                <a:off x="186" y="860"/>
                <a:ext cx="966" cy="2037"/>
                <a:chOff x="186" y="860"/>
                <a:chExt cx="966" cy="2037"/>
              </a:xfrm>
            </p:grpSpPr>
            <p:sp>
              <p:nvSpPr>
                <p:cNvPr id="8259" name="Freeform 3"/>
                <p:cNvSpPr>
                  <a:spLocks noChangeAspect="1"/>
                </p:cNvSpPr>
                <p:nvPr/>
              </p:nvSpPr>
              <p:spPr bwMode="auto">
                <a:xfrm>
                  <a:off x="205" y="879"/>
                  <a:ext cx="928" cy="1353"/>
                </a:xfrm>
                <a:custGeom>
                  <a:avLst/>
                  <a:gdLst>
                    <a:gd name="T0" fmla="*/ 2147483647 w 393"/>
                    <a:gd name="T1" fmla="*/ 2147483647 h 573"/>
                    <a:gd name="T2" fmla="*/ 2147483647 w 393"/>
                    <a:gd name="T3" fmla="*/ 2147483647 h 573"/>
                    <a:gd name="T4" fmla="*/ 2147483647 w 393"/>
                    <a:gd name="T5" fmla="*/ 2147483647 h 573"/>
                    <a:gd name="T6" fmla="*/ 2147483647 w 393"/>
                    <a:gd name="T7" fmla="*/ 2147483647 h 573"/>
                    <a:gd name="T8" fmla="*/ 0 w 393"/>
                    <a:gd name="T9" fmla="*/ 2147483647 h 573"/>
                    <a:gd name="T10" fmla="*/ 0 w 393"/>
                    <a:gd name="T11" fmla="*/ 2147483647 h 573"/>
                    <a:gd name="T12" fmla="*/ 2147483647 w 393"/>
                    <a:gd name="T13" fmla="*/ 0 h 573"/>
                    <a:gd name="T14" fmla="*/ 2147483647 w 393"/>
                    <a:gd name="T15" fmla="*/ 0 h 573"/>
                    <a:gd name="T16" fmla="*/ 2147483647 w 393"/>
                    <a:gd name="T17" fmla="*/ 2147483647 h 573"/>
                    <a:gd name="T18" fmla="*/ 2147483647 w 393"/>
                    <a:gd name="T19" fmla="*/ 2147483647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260" name="Freeform 4"/>
                <p:cNvSpPr>
                  <a:spLocks noChangeAspect="1" noEditPoints="1"/>
                </p:cNvSpPr>
                <p:nvPr/>
              </p:nvSpPr>
              <p:spPr bwMode="auto">
                <a:xfrm>
                  <a:off x="186" y="860"/>
                  <a:ext cx="966" cy="1391"/>
                </a:xfrm>
                <a:custGeom>
                  <a:avLst/>
                  <a:gdLst>
                    <a:gd name="T0" fmla="*/ 2147483647 w 409"/>
                    <a:gd name="T1" fmla="*/ 2147483647 h 589"/>
                    <a:gd name="T2" fmla="*/ 2147483647 w 409"/>
                    <a:gd name="T3" fmla="*/ 0 h 589"/>
                    <a:gd name="T4" fmla="*/ 0 w 409"/>
                    <a:gd name="T5" fmla="*/ 2147483647 h 589"/>
                    <a:gd name="T6" fmla="*/ 2147483647 w 409"/>
                    <a:gd name="T7" fmla="*/ 2147483647 h 589"/>
                    <a:gd name="T8" fmla="*/ 2147483647 w 409"/>
                    <a:gd name="T9" fmla="*/ 2147483647 h 589"/>
                    <a:gd name="T10" fmla="*/ 2147483647 w 409"/>
                    <a:gd name="T11" fmla="*/ 2147483647 h 589"/>
                    <a:gd name="T12" fmla="*/ 2147483647 w 409"/>
                    <a:gd name="T13" fmla="*/ 2147483647 h 589"/>
                    <a:gd name="T14" fmla="*/ 2147483647 w 409"/>
                    <a:gd name="T15" fmla="*/ 2147483647 h 589"/>
                    <a:gd name="T16" fmla="*/ 2147483647 w 409"/>
                    <a:gd name="T17" fmla="*/ 2147483647 h 589"/>
                    <a:gd name="T18" fmla="*/ 2147483647 w 409"/>
                    <a:gd name="T19" fmla="*/ 2147483647 h 589"/>
                    <a:gd name="T20" fmla="*/ 2147483647 w 409"/>
                    <a:gd name="T21" fmla="*/ 2147483647 h 589"/>
                    <a:gd name="T22" fmla="*/ 2147483647 w 409"/>
                    <a:gd name="T23" fmla="*/ 2147483647 h 589"/>
                    <a:gd name="T24" fmla="*/ 2147483647 w 409"/>
                    <a:gd name="T25" fmla="*/ 2147483647 h 589"/>
                    <a:gd name="T26" fmla="*/ 2147483647 w 409"/>
                    <a:gd name="T27" fmla="*/ 2147483647 h 589"/>
                    <a:gd name="T28" fmla="*/ 2147483647 w 409"/>
                    <a:gd name="T29" fmla="*/ 2147483647 h 589"/>
                    <a:gd name="T30" fmla="*/ 2147483647 w 409"/>
                    <a:gd name="T31" fmla="*/ 2147483647 h 589"/>
                    <a:gd name="T32" fmla="*/ 2147483647 w 409"/>
                    <a:gd name="T33" fmla="*/ 2147483647 h 589"/>
                    <a:gd name="T34" fmla="*/ 2147483647 w 409"/>
                    <a:gd name="T35" fmla="*/ 2147483647 h 589"/>
                    <a:gd name="T36" fmla="*/ 2147483647 w 409"/>
                    <a:gd name="T37" fmla="*/ 2147483647 h 589"/>
                    <a:gd name="T38" fmla="*/ 2147483647 w 409"/>
                    <a:gd name="T39" fmla="*/ 2147483647 h 589"/>
                    <a:gd name="T40" fmla="*/ 2147483647 w 409"/>
                    <a:gd name="T41" fmla="*/ 2147483647 h 589"/>
                    <a:gd name="T42" fmla="*/ 2147483647 w 409"/>
                    <a:gd name="T43" fmla="*/ 2147483647 h 589"/>
                    <a:gd name="T44" fmla="*/ 2147483647 w 409"/>
                    <a:gd name="T45" fmla="*/ 2147483647 h 589"/>
                    <a:gd name="T46" fmla="*/ 2147483647 w 409"/>
                    <a:gd name="T47" fmla="*/ 2147483647 h 589"/>
                    <a:gd name="T48" fmla="*/ 2147483647 w 409"/>
                    <a:gd name="T49" fmla="*/ 2147483647 h 589"/>
                    <a:gd name="T50" fmla="*/ 2147483647 w 409"/>
                    <a:gd name="T51" fmla="*/ 2147483647 h 589"/>
                    <a:gd name="T52" fmla="*/ 2147483647 w 409"/>
                    <a:gd name="T53" fmla="*/ 2147483647 h 589"/>
                    <a:gd name="T54" fmla="*/ 2147483647 w 409"/>
                    <a:gd name="T55" fmla="*/ 2147483647 h 589"/>
                    <a:gd name="T56" fmla="*/ 2147483647 w 409"/>
                    <a:gd name="T57" fmla="*/ 2147483647 h 589"/>
                    <a:gd name="T58" fmla="*/ 2147483647 w 409"/>
                    <a:gd name="T59" fmla="*/ 2147483647 h 589"/>
                    <a:gd name="T60" fmla="*/ 2147483647 w 409"/>
                    <a:gd name="T61" fmla="*/ 2147483647 h 589"/>
                    <a:gd name="T62" fmla="*/ 2147483647 w 409"/>
                    <a:gd name="T63" fmla="*/ 2147483647 h 589"/>
                    <a:gd name="T64" fmla="*/ 2147483647 w 409"/>
                    <a:gd name="T65" fmla="*/ 2147483647 h 589"/>
                    <a:gd name="T66" fmla="*/ 2147483647 w 409"/>
                    <a:gd name="T67" fmla="*/ 2147483647 h 589"/>
                    <a:gd name="T68" fmla="*/ 2147483647 w 409"/>
                    <a:gd name="T69" fmla="*/ 2147483647 h 589"/>
                    <a:gd name="T70" fmla="*/ 2147483647 w 409"/>
                    <a:gd name="T71" fmla="*/ 2147483647 h 589"/>
                    <a:gd name="T72" fmla="*/ 2147483647 w 409"/>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002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261" name="Text Box 5"/>
                <p:cNvSpPr txBox="1">
                  <a:spLocks noChangeAspect="1" noChangeArrowheads="1"/>
                </p:cNvSpPr>
                <p:nvPr/>
              </p:nvSpPr>
              <p:spPr bwMode="auto">
                <a:xfrm>
                  <a:off x="260" y="1080"/>
                  <a:ext cx="818" cy="1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lnSpc>
                      <a:spcPct val="80000"/>
                    </a:lnSpc>
                    <a:spcBef>
                      <a:spcPct val="50000"/>
                    </a:spcBef>
                  </a:pPr>
                  <a:endParaRPr lang="sv-SE" altLang="sv-SE" sz="800" b="1">
                    <a:solidFill>
                      <a:srgbClr val="00285F"/>
                    </a:solidFill>
                    <a:cs typeface="Arial" pitchFamily="34" charset="0"/>
                  </a:endParaRPr>
                </a:p>
              </p:txBody>
            </p:sp>
          </p:grpSp>
          <p:sp>
            <p:nvSpPr>
              <p:cNvPr id="8258" name="Rectangle 29"/>
              <p:cNvSpPr>
                <a:spLocks noChangeAspect="1" noChangeArrowheads="1"/>
              </p:cNvSpPr>
              <p:nvPr/>
            </p:nvSpPr>
            <p:spPr bwMode="auto">
              <a:xfrm>
                <a:off x="183" y="860"/>
                <a:ext cx="969"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lstStyle/>
              <a:p>
                <a:pPr>
                  <a:spcBef>
                    <a:spcPct val="50000"/>
                  </a:spcBef>
                </a:pPr>
                <a:endParaRPr lang="sv-SE" altLang="sv-SE">
                  <a:solidFill>
                    <a:srgbClr val="58585A"/>
                  </a:solidFill>
                </a:endParaRPr>
              </a:p>
            </p:txBody>
          </p:sp>
        </p:grpSp>
        <p:grpSp>
          <p:nvGrpSpPr>
            <p:cNvPr id="8233" name="Group 24"/>
            <p:cNvGrpSpPr>
              <a:grpSpLocks noChangeAspect="1"/>
            </p:cNvGrpSpPr>
            <p:nvPr/>
          </p:nvGrpSpPr>
          <p:grpSpPr bwMode="auto">
            <a:xfrm>
              <a:off x="4373459" y="5175291"/>
              <a:ext cx="133349" cy="194024"/>
              <a:chOff x="183" y="860"/>
              <a:chExt cx="969" cy="2037"/>
            </a:xfrm>
          </p:grpSpPr>
          <p:grpSp>
            <p:nvGrpSpPr>
              <p:cNvPr id="8252" name="Group 43"/>
              <p:cNvGrpSpPr>
                <a:grpSpLocks noChangeAspect="1"/>
              </p:cNvGrpSpPr>
              <p:nvPr/>
            </p:nvGrpSpPr>
            <p:grpSpPr bwMode="auto">
              <a:xfrm>
                <a:off x="186" y="860"/>
                <a:ext cx="966" cy="2037"/>
                <a:chOff x="186" y="860"/>
                <a:chExt cx="966" cy="2037"/>
              </a:xfrm>
            </p:grpSpPr>
            <p:sp>
              <p:nvSpPr>
                <p:cNvPr id="8254" name="Freeform 3"/>
                <p:cNvSpPr>
                  <a:spLocks noChangeAspect="1"/>
                </p:cNvSpPr>
                <p:nvPr/>
              </p:nvSpPr>
              <p:spPr bwMode="auto">
                <a:xfrm>
                  <a:off x="205" y="879"/>
                  <a:ext cx="928" cy="1353"/>
                </a:xfrm>
                <a:custGeom>
                  <a:avLst/>
                  <a:gdLst>
                    <a:gd name="T0" fmla="*/ 2147483647 w 393"/>
                    <a:gd name="T1" fmla="*/ 2147483647 h 573"/>
                    <a:gd name="T2" fmla="*/ 2147483647 w 393"/>
                    <a:gd name="T3" fmla="*/ 2147483647 h 573"/>
                    <a:gd name="T4" fmla="*/ 2147483647 w 393"/>
                    <a:gd name="T5" fmla="*/ 2147483647 h 573"/>
                    <a:gd name="T6" fmla="*/ 2147483647 w 393"/>
                    <a:gd name="T7" fmla="*/ 2147483647 h 573"/>
                    <a:gd name="T8" fmla="*/ 0 w 393"/>
                    <a:gd name="T9" fmla="*/ 2147483647 h 573"/>
                    <a:gd name="T10" fmla="*/ 0 w 393"/>
                    <a:gd name="T11" fmla="*/ 2147483647 h 573"/>
                    <a:gd name="T12" fmla="*/ 2147483647 w 393"/>
                    <a:gd name="T13" fmla="*/ 0 h 573"/>
                    <a:gd name="T14" fmla="*/ 2147483647 w 393"/>
                    <a:gd name="T15" fmla="*/ 0 h 573"/>
                    <a:gd name="T16" fmla="*/ 2147483647 w 393"/>
                    <a:gd name="T17" fmla="*/ 2147483647 h 573"/>
                    <a:gd name="T18" fmla="*/ 2147483647 w 393"/>
                    <a:gd name="T19" fmla="*/ 2147483647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255" name="Freeform 4"/>
                <p:cNvSpPr>
                  <a:spLocks noChangeAspect="1" noEditPoints="1"/>
                </p:cNvSpPr>
                <p:nvPr/>
              </p:nvSpPr>
              <p:spPr bwMode="auto">
                <a:xfrm>
                  <a:off x="186" y="860"/>
                  <a:ext cx="966" cy="1391"/>
                </a:xfrm>
                <a:custGeom>
                  <a:avLst/>
                  <a:gdLst>
                    <a:gd name="T0" fmla="*/ 2147483647 w 409"/>
                    <a:gd name="T1" fmla="*/ 2147483647 h 589"/>
                    <a:gd name="T2" fmla="*/ 2147483647 w 409"/>
                    <a:gd name="T3" fmla="*/ 0 h 589"/>
                    <a:gd name="T4" fmla="*/ 0 w 409"/>
                    <a:gd name="T5" fmla="*/ 2147483647 h 589"/>
                    <a:gd name="T6" fmla="*/ 2147483647 w 409"/>
                    <a:gd name="T7" fmla="*/ 2147483647 h 589"/>
                    <a:gd name="T8" fmla="*/ 2147483647 w 409"/>
                    <a:gd name="T9" fmla="*/ 2147483647 h 589"/>
                    <a:gd name="T10" fmla="*/ 2147483647 w 409"/>
                    <a:gd name="T11" fmla="*/ 2147483647 h 589"/>
                    <a:gd name="T12" fmla="*/ 2147483647 w 409"/>
                    <a:gd name="T13" fmla="*/ 2147483647 h 589"/>
                    <a:gd name="T14" fmla="*/ 2147483647 w 409"/>
                    <a:gd name="T15" fmla="*/ 2147483647 h 589"/>
                    <a:gd name="T16" fmla="*/ 2147483647 w 409"/>
                    <a:gd name="T17" fmla="*/ 2147483647 h 589"/>
                    <a:gd name="T18" fmla="*/ 2147483647 w 409"/>
                    <a:gd name="T19" fmla="*/ 2147483647 h 589"/>
                    <a:gd name="T20" fmla="*/ 2147483647 w 409"/>
                    <a:gd name="T21" fmla="*/ 2147483647 h 589"/>
                    <a:gd name="T22" fmla="*/ 2147483647 w 409"/>
                    <a:gd name="T23" fmla="*/ 2147483647 h 589"/>
                    <a:gd name="T24" fmla="*/ 2147483647 w 409"/>
                    <a:gd name="T25" fmla="*/ 2147483647 h 589"/>
                    <a:gd name="T26" fmla="*/ 2147483647 w 409"/>
                    <a:gd name="T27" fmla="*/ 2147483647 h 589"/>
                    <a:gd name="T28" fmla="*/ 2147483647 w 409"/>
                    <a:gd name="T29" fmla="*/ 2147483647 h 589"/>
                    <a:gd name="T30" fmla="*/ 2147483647 w 409"/>
                    <a:gd name="T31" fmla="*/ 2147483647 h 589"/>
                    <a:gd name="T32" fmla="*/ 2147483647 w 409"/>
                    <a:gd name="T33" fmla="*/ 2147483647 h 589"/>
                    <a:gd name="T34" fmla="*/ 2147483647 w 409"/>
                    <a:gd name="T35" fmla="*/ 2147483647 h 589"/>
                    <a:gd name="T36" fmla="*/ 2147483647 w 409"/>
                    <a:gd name="T37" fmla="*/ 2147483647 h 589"/>
                    <a:gd name="T38" fmla="*/ 2147483647 w 409"/>
                    <a:gd name="T39" fmla="*/ 2147483647 h 589"/>
                    <a:gd name="T40" fmla="*/ 2147483647 w 409"/>
                    <a:gd name="T41" fmla="*/ 2147483647 h 589"/>
                    <a:gd name="T42" fmla="*/ 2147483647 w 409"/>
                    <a:gd name="T43" fmla="*/ 2147483647 h 589"/>
                    <a:gd name="T44" fmla="*/ 2147483647 w 409"/>
                    <a:gd name="T45" fmla="*/ 2147483647 h 589"/>
                    <a:gd name="T46" fmla="*/ 2147483647 w 409"/>
                    <a:gd name="T47" fmla="*/ 2147483647 h 589"/>
                    <a:gd name="T48" fmla="*/ 2147483647 w 409"/>
                    <a:gd name="T49" fmla="*/ 2147483647 h 589"/>
                    <a:gd name="T50" fmla="*/ 2147483647 w 409"/>
                    <a:gd name="T51" fmla="*/ 2147483647 h 589"/>
                    <a:gd name="T52" fmla="*/ 2147483647 w 409"/>
                    <a:gd name="T53" fmla="*/ 2147483647 h 589"/>
                    <a:gd name="T54" fmla="*/ 2147483647 w 409"/>
                    <a:gd name="T55" fmla="*/ 2147483647 h 589"/>
                    <a:gd name="T56" fmla="*/ 2147483647 w 409"/>
                    <a:gd name="T57" fmla="*/ 2147483647 h 589"/>
                    <a:gd name="T58" fmla="*/ 2147483647 w 409"/>
                    <a:gd name="T59" fmla="*/ 2147483647 h 589"/>
                    <a:gd name="T60" fmla="*/ 2147483647 w 409"/>
                    <a:gd name="T61" fmla="*/ 2147483647 h 589"/>
                    <a:gd name="T62" fmla="*/ 2147483647 w 409"/>
                    <a:gd name="T63" fmla="*/ 2147483647 h 589"/>
                    <a:gd name="T64" fmla="*/ 2147483647 w 409"/>
                    <a:gd name="T65" fmla="*/ 2147483647 h 589"/>
                    <a:gd name="T66" fmla="*/ 2147483647 w 409"/>
                    <a:gd name="T67" fmla="*/ 2147483647 h 589"/>
                    <a:gd name="T68" fmla="*/ 2147483647 w 409"/>
                    <a:gd name="T69" fmla="*/ 2147483647 h 589"/>
                    <a:gd name="T70" fmla="*/ 2147483647 w 409"/>
                    <a:gd name="T71" fmla="*/ 2147483647 h 589"/>
                    <a:gd name="T72" fmla="*/ 2147483647 w 409"/>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002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256" name="Text Box 5"/>
                <p:cNvSpPr txBox="1">
                  <a:spLocks noChangeAspect="1" noChangeArrowheads="1"/>
                </p:cNvSpPr>
                <p:nvPr/>
              </p:nvSpPr>
              <p:spPr bwMode="auto">
                <a:xfrm>
                  <a:off x="260" y="1080"/>
                  <a:ext cx="818" cy="1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lnSpc>
                      <a:spcPct val="80000"/>
                    </a:lnSpc>
                    <a:spcBef>
                      <a:spcPct val="50000"/>
                    </a:spcBef>
                  </a:pPr>
                  <a:endParaRPr lang="sv-SE" altLang="sv-SE" sz="800" b="1">
                    <a:solidFill>
                      <a:srgbClr val="00285F"/>
                    </a:solidFill>
                    <a:cs typeface="Arial" pitchFamily="34" charset="0"/>
                  </a:endParaRPr>
                </a:p>
              </p:txBody>
            </p:sp>
          </p:grpSp>
          <p:sp>
            <p:nvSpPr>
              <p:cNvPr id="8253" name="Rectangle 29"/>
              <p:cNvSpPr>
                <a:spLocks noChangeAspect="1" noChangeArrowheads="1"/>
              </p:cNvSpPr>
              <p:nvPr/>
            </p:nvSpPr>
            <p:spPr bwMode="auto">
              <a:xfrm>
                <a:off x="183" y="860"/>
                <a:ext cx="969"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lstStyle/>
              <a:p>
                <a:pPr>
                  <a:spcBef>
                    <a:spcPct val="50000"/>
                  </a:spcBef>
                </a:pPr>
                <a:endParaRPr lang="sv-SE" altLang="sv-SE">
                  <a:solidFill>
                    <a:srgbClr val="58585A"/>
                  </a:solidFill>
                </a:endParaRPr>
              </a:p>
            </p:txBody>
          </p:sp>
        </p:grpSp>
        <p:grpSp>
          <p:nvGrpSpPr>
            <p:cNvPr id="8234" name="Group 24"/>
            <p:cNvGrpSpPr>
              <a:grpSpLocks noChangeAspect="1"/>
            </p:cNvGrpSpPr>
            <p:nvPr/>
          </p:nvGrpSpPr>
          <p:grpSpPr bwMode="auto">
            <a:xfrm>
              <a:off x="3552192" y="5259431"/>
              <a:ext cx="133349" cy="193527"/>
              <a:chOff x="183" y="860"/>
              <a:chExt cx="969" cy="2033"/>
            </a:xfrm>
          </p:grpSpPr>
          <p:grpSp>
            <p:nvGrpSpPr>
              <p:cNvPr id="8247" name="Group 43"/>
              <p:cNvGrpSpPr>
                <a:grpSpLocks noChangeAspect="1"/>
              </p:cNvGrpSpPr>
              <p:nvPr/>
            </p:nvGrpSpPr>
            <p:grpSpPr bwMode="auto">
              <a:xfrm>
                <a:off x="186" y="860"/>
                <a:ext cx="966" cy="2033"/>
                <a:chOff x="186" y="860"/>
                <a:chExt cx="966" cy="2033"/>
              </a:xfrm>
            </p:grpSpPr>
            <p:sp>
              <p:nvSpPr>
                <p:cNvPr id="8249" name="Freeform 3"/>
                <p:cNvSpPr>
                  <a:spLocks noChangeAspect="1"/>
                </p:cNvSpPr>
                <p:nvPr/>
              </p:nvSpPr>
              <p:spPr bwMode="auto">
                <a:xfrm>
                  <a:off x="205" y="879"/>
                  <a:ext cx="928" cy="1353"/>
                </a:xfrm>
                <a:custGeom>
                  <a:avLst/>
                  <a:gdLst>
                    <a:gd name="T0" fmla="*/ 2147483647 w 393"/>
                    <a:gd name="T1" fmla="*/ 2147483647 h 573"/>
                    <a:gd name="T2" fmla="*/ 2147483647 w 393"/>
                    <a:gd name="T3" fmla="*/ 2147483647 h 573"/>
                    <a:gd name="T4" fmla="*/ 2147483647 w 393"/>
                    <a:gd name="T5" fmla="*/ 2147483647 h 573"/>
                    <a:gd name="T6" fmla="*/ 2147483647 w 393"/>
                    <a:gd name="T7" fmla="*/ 2147483647 h 573"/>
                    <a:gd name="T8" fmla="*/ 0 w 393"/>
                    <a:gd name="T9" fmla="*/ 2147483647 h 573"/>
                    <a:gd name="T10" fmla="*/ 0 w 393"/>
                    <a:gd name="T11" fmla="*/ 2147483647 h 573"/>
                    <a:gd name="T12" fmla="*/ 2147483647 w 393"/>
                    <a:gd name="T13" fmla="*/ 0 h 573"/>
                    <a:gd name="T14" fmla="*/ 2147483647 w 393"/>
                    <a:gd name="T15" fmla="*/ 0 h 573"/>
                    <a:gd name="T16" fmla="*/ 2147483647 w 393"/>
                    <a:gd name="T17" fmla="*/ 2147483647 h 573"/>
                    <a:gd name="T18" fmla="*/ 2147483647 w 393"/>
                    <a:gd name="T19" fmla="*/ 2147483647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250" name="Freeform 4"/>
                <p:cNvSpPr>
                  <a:spLocks noChangeAspect="1" noEditPoints="1"/>
                </p:cNvSpPr>
                <p:nvPr/>
              </p:nvSpPr>
              <p:spPr bwMode="auto">
                <a:xfrm>
                  <a:off x="186" y="860"/>
                  <a:ext cx="966" cy="1391"/>
                </a:xfrm>
                <a:custGeom>
                  <a:avLst/>
                  <a:gdLst>
                    <a:gd name="T0" fmla="*/ 2147483647 w 409"/>
                    <a:gd name="T1" fmla="*/ 2147483647 h 589"/>
                    <a:gd name="T2" fmla="*/ 2147483647 w 409"/>
                    <a:gd name="T3" fmla="*/ 0 h 589"/>
                    <a:gd name="T4" fmla="*/ 0 w 409"/>
                    <a:gd name="T5" fmla="*/ 2147483647 h 589"/>
                    <a:gd name="T6" fmla="*/ 2147483647 w 409"/>
                    <a:gd name="T7" fmla="*/ 2147483647 h 589"/>
                    <a:gd name="T8" fmla="*/ 2147483647 w 409"/>
                    <a:gd name="T9" fmla="*/ 2147483647 h 589"/>
                    <a:gd name="T10" fmla="*/ 2147483647 w 409"/>
                    <a:gd name="T11" fmla="*/ 2147483647 h 589"/>
                    <a:gd name="T12" fmla="*/ 2147483647 w 409"/>
                    <a:gd name="T13" fmla="*/ 2147483647 h 589"/>
                    <a:gd name="T14" fmla="*/ 2147483647 w 409"/>
                    <a:gd name="T15" fmla="*/ 2147483647 h 589"/>
                    <a:gd name="T16" fmla="*/ 2147483647 w 409"/>
                    <a:gd name="T17" fmla="*/ 2147483647 h 589"/>
                    <a:gd name="T18" fmla="*/ 2147483647 w 409"/>
                    <a:gd name="T19" fmla="*/ 2147483647 h 589"/>
                    <a:gd name="T20" fmla="*/ 2147483647 w 409"/>
                    <a:gd name="T21" fmla="*/ 2147483647 h 589"/>
                    <a:gd name="T22" fmla="*/ 2147483647 w 409"/>
                    <a:gd name="T23" fmla="*/ 2147483647 h 589"/>
                    <a:gd name="T24" fmla="*/ 2147483647 w 409"/>
                    <a:gd name="T25" fmla="*/ 2147483647 h 589"/>
                    <a:gd name="T26" fmla="*/ 2147483647 w 409"/>
                    <a:gd name="T27" fmla="*/ 2147483647 h 589"/>
                    <a:gd name="T28" fmla="*/ 2147483647 w 409"/>
                    <a:gd name="T29" fmla="*/ 2147483647 h 589"/>
                    <a:gd name="T30" fmla="*/ 2147483647 w 409"/>
                    <a:gd name="T31" fmla="*/ 2147483647 h 589"/>
                    <a:gd name="T32" fmla="*/ 2147483647 w 409"/>
                    <a:gd name="T33" fmla="*/ 2147483647 h 589"/>
                    <a:gd name="T34" fmla="*/ 2147483647 w 409"/>
                    <a:gd name="T35" fmla="*/ 2147483647 h 589"/>
                    <a:gd name="T36" fmla="*/ 2147483647 w 409"/>
                    <a:gd name="T37" fmla="*/ 2147483647 h 589"/>
                    <a:gd name="T38" fmla="*/ 2147483647 w 409"/>
                    <a:gd name="T39" fmla="*/ 2147483647 h 589"/>
                    <a:gd name="T40" fmla="*/ 2147483647 w 409"/>
                    <a:gd name="T41" fmla="*/ 2147483647 h 589"/>
                    <a:gd name="T42" fmla="*/ 2147483647 w 409"/>
                    <a:gd name="T43" fmla="*/ 2147483647 h 589"/>
                    <a:gd name="T44" fmla="*/ 2147483647 w 409"/>
                    <a:gd name="T45" fmla="*/ 2147483647 h 589"/>
                    <a:gd name="T46" fmla="*/ 2147483647 w 409"/>
                    <a:gd name="T47" fmla="*/ 2147483647 h 589"/>
                    <a:gd name="T48" fmla="*/ 2147483647 w 409"/>
                    <a:gd name="T49" fmla="*/ 2147483647 h 589"/>
                    <a:gd name="T50" fmla="*/ 2147483647 w 409"/>
                    <a:gd name="T51" fmla="*/ 2147483647 h 589"/>
                    <a:gd name="T52" fmla="*/ 2147483647 w 409"/>
                    <a:gd name="T53" fmla="*/ 2147483647 h 589"/>
                    <a:gd name="T54" fmla="*/ 2147483647 w 409"/>
                    <a:gd name="T55" fmla="*/ 2147483647 h 589"/>
                    <a:gd name="T56" fmla="*/ 2147483647 w 409"/>
                    <a:gd name="T57" fmla="*/ 2147483647 h 589"/>
                    <a:gd name="T58" fmla="*/ 2147483647 w 409"/>
                    <a:gd name="T59" fmla="*/ 2147483647 h 589"/>
                    <a:gd name="T60" fmla="*/ 2147483647 w 409"/>
                    <a:gd name="T61" fmla="*/ 2147483647 h 589"/>
                    <a:gd name="T62" fmla="*/ 2147483647 w 409"/>
                    <a:gd name="T63" fmla="*/ 2147483647 h 589"/>
                    <a:gd name="T64" fmla="*/ 2147483647 w 409"/>
                    <a:gd name="T65" fmla="*/ 2147483647 h 589"/>
                    <a:gd name="T66" fmla="*/ 2147483647 w 409"/>
                    <a:gd name="T67" fmla="*/ 2147483647 h 589"/>
                    <a:gd name="T68" fmla="*/ 2147483647 w 409"/>
                    <a:gd name="T69" fmla="*/ 2147483647 h 589"/>
                    <a:gd name="T70" fmla="*/ 2147483647 w 409"/>
                    <a:gd name="T71" fmla="*/ 2147483647 h 589"/>
                    <a:gd name="T72" fmla="*/ 2147483647 w 409"/>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002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251" name="Text Box 5"/>
                <p:cNvSpPr txBox="1">
                  <a:spLocks noChangeAspect="1" noChangeArrowheads="1"/>
                </p:cNvSpPr>
                <p:nvPr/>
              </p:nvSpPr>
              <p:spPr bwMode="auto">
                <a:xfrm>
                  <a:off x="260" y="1075"/>
                  <a:ext cx="818" cy="1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lnSpc>
                      <a:spcPct val="80000"/>
                    </a:lnSpc>
                    <a:spcBef>
                      <a:spcPct val="50000"/>
                    </a:spcBef>
                  </a:pPr>
                  <a:endParaRPr lang="sv-SE" altLang="sv-SE" sz="800" b="1">
                    <a:solidFill>
                      <a:srgbClr val="00285F"/>
                    </a:solidFill>
                    <a:cs typeface="Arial" pitchFamily="34" charset="0"/>
                  </a:endParaRPr>
                </a:p>
              </p:txBody>
            </p:sp>
          </p:grpSp>
          <p:sp>
            <p:nvSpPr>
              <p:cNvPr id="8248" name="Rectangle 29"/>
              <p:cNvSpPr>
                <a:spLocks noChangeAspect="1" noChangeArrowheads="1"/>
              </p:cNvSpPr>
              <p:nvPr/>
            </p:nvSpPr>
            <p:spPr bwMode="auto">
              <a:xfrm>
                <a:off x="183" y="860"/>
                <a:ext cx="969"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lstStyle/>
              <a:p>
                <a:pPr>
                  <a:spcBef>
                    <a:spcPct val="50000"/>
                  </a:spcBef>
                </a:pPr>
                <a:endParaRPr lang="sv-SE" altLang="sv-SE">
                  <a:solidFill>
                    <a:srgbClr val="58585A"/>
                  </a:solidFill>
                </a:endParaRPr>
              </a:p>
            </p:txBody>
          </p:sp>
        </p:grpSp>
        <p:grpSp>
          <p:nvGrpSpPr>
            <p:cNvPr id="8235" name="Group 24"/>
            <p:cNvGrpSpPr>
              <a:grpSpLocks noChangeAspect="1"/>
            </p:cNvGrpSpPr>
            <p:nvPr/>
          </p:nvGrpSpPr>
          <p:grpSpPr bwMode="auto">
            <a:xfrm>
              <a:off x="3903559" y="5083216"/>
              <a:ext cx="133349" cy="194024"/>
              <a:chOff x="183" y="860"/>
              <a:chExt cx="969" cy="2037"/>
            </a:xfrm>
          </p:grpSpPr>
          <p:grpSp>
            <p:nvGrpSpPr>
              <p:cNvPr id="8242" name="Group 43"/>
              <p:cNvGrpSpPr>
                <a:grpSpLocks noChangeAspect="1"/>
              </p:cNvGrpSpPr>
              <p:nvPr/>
            </p:nvGrpSpPr>
            <p:grpSpPr bwMode="auto">
              <a:xfrm>
                <a:off x="186" y="860"/>
                <a:ext cx="966" cy="2037"/>
                <a:chOff x="186" y="860"/>
                <a:chExt cx="966" cy="2037"/>
              </a:xfrm>
            </p:grpSpPr>
            <p:sp>
              <p:nvSpPr>
                <p:cNvPr id="8244" name="Freeform 3"/>
                <p:cNvSpPr>
                  <a:spLocks noChangeAspect="1"/>
                </p:cNvSpPr>
                <p:nvPr/>
              </p:nvSpPr>
              <p:spPr bwMode="auto">
                <a:xfrm>
                  <a:off x="205" y="879"/>
                  <a:ext cx="928" cy="1353"/>
                </a:xfrm>
                <a:custGeom>
                  <a:avLst/>
                  <a:gdLst>
                    <a:gd name="T0" fmla="*/ 2147483647 w 393"/>
                    <a:gd name="T1" fmla="*/ 2147483647 h 573"/>
                    <a:gd name="T2" fmla="*/ 2147483647 w 393"/>
                    <a:gd name="T3" fmla="*/ 2147483647 h 573"/>
                    <a:gd name="T4" fmla="*/ 2147483647 w 393"/>
                    <a:gd name="T5" fmla="*/ 2147483647 h 573"/>
                    <a:gd name="T6" fmla="*/ 2147483647 w 393"/>
                    <a:gd name="T7" fmla="*/ 2147483647 h 573"/>
                    <a:gd name="T8" fmla="*/ 0 w 393"/>
                    <a:gd name="T9" fmla="*/ 2147483647 h 573"/>
                    <a:gd name="T10" fmla="*/ 0 w 393"/>
                    <a:gd name="T11" fmla="*/ 2147483647 h 573"/>
                    <a:gd name="T12" fmla="*/ 2147483647 w 393"/>
                    <a:gd name="T13" fmla="*/ 0 h 573"/>
                    <a:gd name="T14" fmla="*/ 2147483647 w 393"/>
                    <a:gd name="T15" fmla="*/ 0 h 573"/>
                    <a:gd name="T16" fmla="*/ 2147483647 w 393"/>
                    <a:gd name="T17" fmla="*/ 2147483647 h 573"/>
                    <a:gd name="T18" fmla="*/ 2147483647 w 393"/>
                    <a:gd name="T19" fmla="*/ 2147483647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245" name="Freeform 4"/>
                <p:cNvSpPr>
                  <a:spLocks noChangeAspect="1" noEditPoints="1"/>
                </p:cNvSpPr>
                <p:nvPr/>
              </p:nvSpPr>
              <p:spPr bwMode="auto">
                <a:xfrm>
                  <a:off x="186" y="860"/>
                  <a:ext cx="966" cy="1391"/>
                </a:xfrm>
                <a:custGeom>
                  <a:avLst/>
                  <a:gdLst>
                    <a:gd name="T0" fmla="*/ 2147483647 w 409"/>
                    <a:gd name="T1" fmla="*/ 2147483647 h 589"/>
                    <a:gd name="T2" fmla="*/ 2147483647 w 409"/>
                    <a:gd name="T3" fmla="*/ 0 h 589"/>
                    <a:gd name="T4" fmla="*/ 0 w 409"/>
                    <a:gd name="T5" fmla="*/ 2147483647 h 589"/>
                    <a:gd name="T6" fmla="*/ 2147483647 w 409"/>
                    <a:gd name="T7" fmla="*/ 2147483647 h 589"/>
                    <a:gd name="T8" fmla="*/ 2147483647 w 409"/>
                    <a:gd name="T9" fmla="*/ 2147483647 h 589"/>
                    <a:gd name="T10" fmla="*/ 2147483647 w 409"/>
                    <a:gd name="T11" fmla="*/ 2147483647 h 589"/>
                    <a:gd name="T12" fmla="*/ 2147483647 w 409"/>
                    <a:gd name="T13" fmla="*/ 2147483647 h 589"/>
                    <a:gd name="T14" fmla="*/ 2147483647 w 409"/>
                    <a:gd name="T15" fmla="*/ 2147483647 h 589"/>
                    <a:gd name="T16" fmla="*/ 2147483647 w 409"/>
                    <a:gd name="T17" fmla="*/ 2147483647 h 589"/>
                    <a:gd name="T18" fmla="*/ 2147483647 w 409"/>
                    <a:gd name="T19" fmla="*/ 2147483647 h 589"/>
                    <a:gd name="T20" fmla="*/ 2147483647 w 409"/>
                    <a:gd name="T21" fmla="*/ 2147483647 h 589"/>
                    <a:gd name="T22" fmla="*/ 2147483647 w 409"/>
                    <a:gd name="T23" fmla="*/ 2147483647 h 589"/>
                    <a:gd name="T24" fmla="*/ 2147483647 w 409"/>
                    <a:gd name="T25" fmla="*/ 2147483647 h 589"/>
                    <a:gd name="T26" fmla="*/ 2147483647 w 409"/>
                    <a:gd name="T27" fmla="*/ 2147483647 h 589"/>
                    <a:gd name="T28" fmla="*/ 2147483647 w 409"/>
                    <a:gd name="T29" fmla="*/ 2147483647 h 589"/>
                    <a:gd name="T30" fmla="*/ 2147483647 w 409"/>
                    <a:gd name="T31" fmla="*/ 2147483647 h 589"/>
                    <a:gd name="T32" fmla="*/ 2147483647 w 409"/>
                    <a:gd name="T33" fmla="*/ 2147483647 h 589"/>
                    <a:gd name="T34" fmla="*/ 2147483647 w 409"/>
                    <a:gd name="T35" fmla="*/ 2147483647 h 589"/>
                    <a:gd name="T36" fmla="*/ 2147483647 w 409"/>
                    <a:gd name="T37" fmla="*/ 2147483647 h 589"/>
                    <a:gd name="T38" fmla="*/ 2147483647 w 409"/>
                    <a:gd name="T39" fmla="*/ 2147483647 h 589"/>
                    <a:gd name="T40" fmla="*/ 2147483647 w 409"/>
                    <a:gd name="T41" fmla="*/ 2147483647 h 589"/>
                    <a:gd name="T42" fmla="*/ 2147483647 w 409"/>
                    <a:gd name="T43" fmla="*/ 2147483647 h 589"/>
                    <a:gd name="T44" fmla="*/ 2147483647 w 409"/>
                    <a:gd name="T45" fmla="*/ 2147483647 h 589"/>
                    <a:gd name="T46" fmla="*/ 2147483647 w 409"/>
                    <a:gd name="T47" fmla="*/ 2147483647 h 589"/>
                    <a:gd name="T48" fmla="*/ 2147483647 w 409"/>
                    <a:gd name="T49" fmla="*/ 2147483647 h 589"/>
                    <a:gd name="T50" fmla="*/ 2147483647 w 409"/>
                    <a:gd name="T51" fmla="*/ 2147483647 h 589"/>
                    <a:gd name="T52" fmla="*/ 2147483647 w 409"/>
                    <a:gd name="T53" fmla="*/ 2147483647 h 589"/>
                    <a:gd name="T54" fmla="*/ 2147483647 w 409"/>
                    <a:gd name="T55" fmla="*/ 2147483647 h 589"/>
                    <a:gd name="T56" fmla="*/ 2147483647 w 409"/>
                    <a:gd name="T57" fmla="*/ 2147483647 h 589"/>
                    <a:gd name="T58" fmla="*/ 2147483647 w 409"/>
                    <a:gd name="T59" fmla="*/ 2147483647 h 589"/>
                    <a:gd name="T60" fmla="*/ 2147483647 w 409"/>
                    <a:gd name="T61" fmla="*/ 2147483647 h 589"/>
                    <a:gd name="T62" fmla="*/ 2147483647 w 409"/>
                    <a:gd name="T63" fmla="*/ 2147483647 h 589"/>
                    <a:gd name="T64" fmla="*/ 2147483647 w 409"/>
                    <a:gd name="T65" fmla="*/ 2147483647 h 589"/>
                    <a:gd name="T66" fmla="*/ 2147483647 w 409"/>
                    <a:gd name="T67" fmla="*/ 2147483647 h 589"/>
                    <a:gd name="T68" fmla="*/ 2147483647 w 409"/>
                    <a:gd name="T69" fmla="*/ 2147483647 h 589"/>
                    <a:gd name="T70" fmla="*/ 2147483647 w 409"/>
                    <a:gd name="T71" fmla="*/ 2147483647 h 589"/>
                    <a:gd name="T72" fmla="*/ 2147483647 w 409"/>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002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246" name="Text Box 5"/>
                <p:cNvSpPr txBox="1">
                  <a:spLocks noChangeAspect="1" noChangeArrowheads="1"/>
                </p:cNvSpPr>
                <p:nvPr/>
              </p:nvSpPr>
              <p:spPr bwMode="auto">
                <a:xfrm>
                  <a:off x="260" y="1080"/>
                  <a:ext cx="818" cy="1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lnSpc>
                      <a:spcPct val="80000"/>
                    </a:lnSpc>
                    <a:spcBef>
                      <a:spcPct val="50000"/>
                    </a:spcBef>
                  </a:pPr>
                  <a:endParaRPr lang="sv-SE" altLang="sv-SE" sz="800" b="1">
                    <a:solidFill>
                      <a:srgbClr val="00285F"/>
                    </a:solidFill>
                    <a:cs typeface="Arial" pitchFamily="34" charset="0"/>
                  </a:endParaRPr>
                </a:p>
              </p:txBody>
            </p:sp>
          </p:grpSp>
          <p:sp>
            <p:nvSpPr>
              <p:cNvPr id="8243" name="Rectangle 29"/>
              <p:cNvSpPr>
                <a:spLocks noChangeAspect="1" noChangeArrowheads="1"/>
              </p:cNvSpPr>
              <p:nvPr/>
            </p:nvSpPr>
            <p:spPr bwMode="auto">
              <a:xfrm>
                <a:off x="183" y="860"/>
                <a:ext cx="969"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lstStyle/>
              <a:p>
                <a:pPr>
                  <a:spcBef>
                    <a:spcPct val="50000"/>
                  </a:spcBef>
                </a:pPr>
                <a:endParaRPr lang="sv-SE" altLang="sv-SE">
                  <a:solidFill>
                    <a:srgbClr val="58585A"/>
                  </a:solidFill>
                </a:endParaRPr>
              </a:p>
            </p:txBody>
          </p:sp>
        </p:grpSp>
        <p:grpSp>
          <p:nvGrpSpPr>
            <p:cNvPr id="8236" name="Group 24"/>
            <p:cNvGrpSpPr>
              <a:grpSpLocks noChangeAspect="1"/>
            </p:cNvGrpSpPr>
            <p:nvPr/>
          </p:nvGrpSpPr>
          <p:grpSpPr bwMode="auto">
            <a:xfrm>
              <a:off x="4468709" y="5513431"/>
              <a:ext cx="133351" cy="192819"/>
              <a:chOff x="183" y="860"/>
              <a:chExt cx="969" cy="2045"/>
            </a:xfrm>
          </p:grpSpPr>
          <p:grpSp>
            <p:nvGrpSpPr>
              <p:cNvPr id="8237" name="Group 43"/>
              <p:cNvGrpSpPr>
                <a:grpSpLocks noChangeAspect="1"/>
              </p:cNvGrpSpPr>
              <p:nvPr/>
            </p:nvGrpSpPr>
            <p:grpSpPr bwMode="auto">
              <a:xfrm>
                <a:off x="186" y="860"/>
                <a:ext cx="966" cy="2045"/>
                <a:chOff x="186" y="860"/>
                <a:chExt cx="966" cy="2045"/>
              </a:xfrm>
            </p:grpSpPr>
            <p:sp>
              <p:nvSpPr>
                <p:cNvPr id="8239" name="Freeform 3"/>
                <p:cNvSpPr>
                  <a:spLocks noChangeAspect="1"/>
                </p:cNvSpPr>
                <p:nvPr/>
              </p:nvSpPr>
              <p:spPr bwMode="auto">
                <a:xfrm>
                  <a:off x="205" y="879"/>
                  <a:ext cx="928" cy="1353"/>
                </a:xfrm>
                <a:custGeom>
                  <a:avLst/>
                  <a:gdLst>
                    <a:gd name="T0" fmla="*/ 2147483647 w 393"/>
                    <a:gd name="T1" fmla="*/ 2147483647 h 573"/>
                    <a:gd name="T2" fmla="*/ 2147483647 w 393"/>
                    <a:gd name="T3" fmla="*/ 2147483647 h 573"/>
                    <a:gd name="T4" fmla="*/ 2147483647 w 393"/>
                    <a:gd name="T5" fmla="*/ 2147483647 h 573"/>
                    <a:gd name="T6" fmla="*/ 2147483647 w 393"/>
                    <a:gd name="T7" fmla="*/ 2147483647 h 573"/>
                    <a:gd name="T8" fmla="*/ 0 w 393"/>
                    <a:gd name="T9" fmla="*/ 2147483647 h 573"/>
                    <a:gd name="T10" fmla="*/ 0 w 393"/>
                    <a:gd name="T11" fmla="*/ 2147483647 h 573"/>
                    <a:gd name="T12" fmla="*/ 2147483647 w 393"/>
                    <a:gd name="T13" fmla="*/ 0 h 573"/>
                    <a:gd name="T14" fmla="*/ 2147483647 w 393"/>
                    <a:gd name="T15" fmla="*/ 0 h 573"/>
                    <a:gd name="T16" fmla="*/ 2147483647 w 393"/>
                    <a:gd name="T17" fmla="*/ 2147483647 h 573"/>
                    <a:gd name="T18" fmla="*/ 2147483647 w 393"/>
                    <a:gd name="T19" fmla="*/ 2147483647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240" name="Freeform 4"/>
                <p:cNvSpPr>
                  <a:spLocks noChangeAspect="1" noEditPoints="1"/>
                </p:cNvSpPr>
                <p:nvPr/>
              </p:nvSpPr>
              <p:spPr bwMode="auto">
                <a:xfrm>
                  <a:off x="186" y="860"/>
                  <a:ext cx="966" cy="1391"/>
                </a:xfrm>
                <a:custGeom>
                  <a:avLst/>
                  <a:gdLst>
                    <a:gd name="T0" fmla="*/ 2147483647 w 409"/>
                    <a:gd name="T1" fmla="*/ 2147483647 h 589"/>
                    <a:gd name="T2" fmla="*/ 2147483647 w 409"/>
                    <a:gd name="T3" fmla="*/ 0 h 589"/>
                    <a:gd name="T4" fmla="*/ 0 w 409"/>
                    <a:gd name="T5" fmla="*/ 2147483647 h 589"/>
                    <a:gd name="T6" fmla="*/ 2147483647 w 409"/>
                    <a:gd name="T7" fmla="*/ 2147483647 h 589"/>
                    <a:gd name="T8" fmla="*/ 2147483647 w 409"/>
                    <a:gd name="T9" fmla="*/ 2147483647 h 589"/>
                    <a:gd name="T10" fmla="*/ 2147483647 w 409"/>
                    <a:gd name="T11" fmla="*/ 2147483647 h 589"/>
                    <a:gd name="T12" fmla="*/ 2147483647 w 409"/>
                    <a:gd name="T13" fmla="*/ 2147483647 h 589"/>
                    <a:gd name="T14" fmla="*/ 2147483647 w 409"/>
                    <a:gd name="T15" fmla="*/ 2147483647 h 589"/>
                    <a:gd name="T16" fmla="*/ 2147483647 w 409"/>
                    <a:gd name="T17" fmla="*/ 2147483647 h 589"/>
                    <a:gd name="T18" fmla="*/ 2147483647 w 409"/>
                    <a:gd name="T19" fmla="*/ 2147483647 h 589"/>
                    <a:gd name="T20" fmla="*/ 2147483647 w 409"/>
                    <a:gd name="T21" fmla="*/ 2147483647 h 589"/>
                    <a:gd name="T22" fmla="*/ 2147483647 w 409"/>
                    <a:gd name="T23" fmla="*/ 2147483647 h 589"/>
                    <a:gd name="T24" fmla="*/ 2147483647 w 409"/>
                    <a:gd name="T25" fmla="*/ 2147483647 h 589"/>
                    <a:gd name="T26" fmla="*/ 2147483647 w 409"/>
                    <a:gd name="T27" fmla="*/ 2147483647 h 589"/>
                    <a:gd name="T28" fmla="*/ 2147483647 w 409"/>
                    <a:gd name="T29" fmla="*/ 2147483647 h 589"/>
                    <a:gd name="T30" fmla="*/ 2147483647 w 409"/>
                    <a:gd name="T31" fmla="*/ 2147483647 h 589"/>
                    <a:gd name="T32" fmla="*/ 2147483647 w 409"/>
                    <a:gd name="T33" fmla="*/ 2147483647 h 589"/>
                    <a:gd name="T34" fmla="*/ 2147483647 w 409"/>
                    <a:gd name="T35" fmla="*/ 2147483647 h 589"/>
                    <a:gd name="T36" fmla="*/ 2147483647 w 409"/>
                    <a:gd name="T37" fmla="*/ 2147483647 h 589"/>
                    <a:gd name="T38" fmla="*/ 2147483647 w 409"/>
                    <a:gd name="T39" fmla="*/ 2147483647 h 589"/>
                    <a:gd name="T40" fmla="*/ 2147483647 w 409"/>
                    <a:gd name="T41" fmla="*/ 2147483647 h 589"/>
                    <a:gd name="T42" fmla="*/ 2147483647 w 409"/>
                    <a:gd name="T43" fmla="*/ 2147483647 h 589"/>
                    <a:gd name="T44" fmla="*/ 2147483647 w 409"/>
                    <a:gd name="T45" fmla="*/ 2147483647 h 589"/>
                    <a:gd name="T46" fmla="*/ 2147483647 w 409"/>
                    <a:gd name="T47" fmla="*/ 2147483647 h 589"/>
                    <a:gd name="T48" fmla="*/ 2147483647 w 409"/>
                    <a:gd name="T49" fmla="*/ 2147483647 h 589"/>
                    <a:gd name="T50" fmla="*/ 2147483647 w 409"/>
                    <a:gd name="T51" fmla="*/ 2147483647 h 589"/>
                    <a:gd name="T52" fmla="*/ 2147483647 w 409"/>
                    <a:gd name="T53" fmla="*/ 2147483647 h 589"/>
                    <a:gd name="T54" fmla="*/ 2147483647 w 409"/>
                    <a:gd name="T55" fmla="*/ 2147483647 h 589"/>
                    <a:gd name="T56" fmla="*/ 2147483647 w 409"/>
                    <a:gd name="T57" fmla="*/ 2147483647 h 589"/>
                    <a:gd name="T58" fmla="*/ 2147483647 w 409"/>
                    <a:gd name="T59" fmla="*/ 2147483647 h 589"/>
                    <a:gd name="T60" fmla="*/ 2147483647 w 409"/>
                    <a:gd name="T61" fmla="*/ 2147483647 h 589"/>
                    <a:gd name="T62" fmla="*/ 2147483647 w 409"/>
                    <a:gd name="T63" fmla="*/ 2147483647 h 589"/>
                    <a:gd name="T64" fmla="*/ 2147483647 w 409"/>
                    <a:gd name="T65" fmla="*/ 2147483647 h 589"/>
                    <a:gd name="T66" fmla="*/ 2147483647 w 409"/>
                    <a:gd name="T67" fmla="*/ 2147483647 h 589"/>
                    <a:gd name="T68" fmla="*/ 2147483647 w 409"/>
                    <a:gd name="T69" fmla="*/ 2147483647 h 589"/>
                    <a:gd name="T70" fmla="*/ 2147483647 w 409"/>
                    <a:gd name="T71" fmla="*/ 2147483647 h 589"/>
                    <a:gd name="T72" fmla="*/ 2147483647 w 409"/>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002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241" name="Text Box 5"/>
                <p:cNvSpPr txBox="1">
                  <a:spLocks noChangeAspect="1" noChangeArrowheads="1"/>
                </p:cNvSpPr>
                <p:nvPr/>
              </p:nvSpPr>
              <p:spPr bwMode="auto">
                <a:xfrm>
                  <a:off x="260" y="1070"/>
                  <a:ext cx="818" cy="1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lnSpc>
                      <a:spcPct val="80000"/>
                    </a:lnSpc>
                    <a:spcBef>
                      <a:spcPct val="50000"/>
                    </a:spcBef>
                  </a:pPr>
                  <a:endParaRPr lang="sv-SE" altLang="sv-SE" sz="800" b="1">
                    <a:solidFill>
                      <a:srgbClr val="00285F"/>
                    </a:solidFill>
                    <a:cs typeface="Arial" pitchFamily="34" charset="0"/>
                  </a:endParaRPr>
                </a:p>
              </p:txBody>
            </p:sp>
          </p:grpSp>
          <p:sp>
            <p:nvSpPr>
              <p:cNvPr id="8238" name="Rectangle 29"/>
              <p:cNvSpPr>
                <a:spLocks noChangeAspect="1" noChangeArrowheads="1"/>
              </p:cNvSpPr>
              <p:nvPr/>
            </p:nvSpPr>
            <p:spPr bwMode="auto">
              <a:xfrm>
                <a:off x="183" y="860"/>
                <a:ext cx="969"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lstStyle/>
              <a:p>
                <a:pPr>
                  <a:spcBef>
                    <a:spcPct val="50000"/>
                  </a:spcBef>
                </a:pPr>
                <a:endParaRPr lang="sv-SE" altLang="sv-SE">
                  <a:solidFill>
                    <a:srgbClr val="58585A"/>
                  </a:solidFill>
                </a:endParaRPr>
              </a:p>
            </p:txBody>
          </p:sp>
        </p:grpSp>
      </p:grpSp>
      <p:sp>
        <p:nvSpPr>
          <p:cNvPr id="132" name="Freeform 3"/>
          <p:cNvSpPr>
            <a:spLocks noChangeAspect="1"/>
          </p:cNvSpPr>
          <p:nvPr/>
        </p:nvSpPr>
        <p:spPr bwMode="auto">
          <a:xfrm>
            <a:off x="477421" y="3445150"/>
            <a:ext cx="622035" cy="2663817"/>
          </a:xfrm>
          <a:custGeom>
            <a:avLst/>
            <a:gdLst>
              <a:gd name="T0" fmla="*/ 2147483647 w 265"/>
              <a:gd name="T1" fmla="*/ 2147483647 h 1124"/>
              <a:gd name="T2" fmla="*/ 2147483647 w 265"/>
              <a:gd name="T3" fmla="*/ 2147483647 h 1124"/>
              <a:gd name="T4" fmla="*/ 2147483647 w 265"/>
              <a:gd name="T5" fmla="*/ 0 h 1124"/>
              <a:gd name="T6" fmla="*/ 2147483647 w 265"/>
              <a:gd name="T7" fmla="*/ 2147483647 h 1124"/>
              <a:gd name="T8" fmla="*/ 2147483647 w 265"/>
              <a:gd name="T9" fmla="*/ 2147483647 h 1124"/>
              <a:gd name="T10" fmla="*/ 0 w 265"/>
              <a:gd name="T11" fmla="*/ 2147483647 h 1124"/>
              <a:gd name="T12" fmla="*/ 0 w 265"/>
              <a:gd name="T13" fmla="*/ 2147483647 h 1124"/>
              <a:gd name="T14" fmla="*/ 2147483647 w 265"/>
              <a:gd name="T15" fmla="*/ 2147483647 h 1124"/>
              <a:gd name="T16" fmla="*/ 2147483647 w 265"/>
              <a:gd name="T17" fmla="*/ 2147483647 h 1124"/>
              <a:gd name="T18" fmla="*/ 2147483647 w 265"/>
              <a:gd name="T19" fmla="*/ 2147483647 h 1124"/>
              <a:gd name="T20" fmla="*/ 2147483647 w 265"/>
              <a:gd name="T21" fmla="*/ 2147483647 h 1124"/>
              <a:gd name="T22" fmla="*/ 2147483647 w 265"/>
              <a:gd name="T23" fmla="*/ 2147483647 h 11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5"/>
              <a:gd name="T37" fmla="*/ 0 h 1124"/>
              <a:gd name="T38" fmla="*/ 265 w 265"/>
              <a:gd name="T39" fmla="*/ 1124 h 11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5" h="1124">
                <a:moveTo>
                  <a:pt x="247" y="86"/>
                </a:moveTo>
                <a:cubicBezTo>
                  <a:pt x="154" y="6"/>
                  <a:pt x="154" y="6"/>
                  <a:pt x="154" y="6"/>
                </a:cubicBezTo>
                <a:cubicBezTo>
                  <a:pt x="154" y="6"/>
                  <a:pt x="146" y="0"/>
                  <a:pt x="132" y="0"/>
                </a:cubicBezTo>
                <a:cubicBezTo>
                  <a:pt x="119" y="0"/>
                  <a:pt x="111" y="6"/>
                  <a:pt x="111" y="6"/>
                </a:cubicBezTo>
                <a:cubicBezTo>
                  <a:pt x="21" y="83"/>
                  <a:pt x="21" y="83"/>
                  <a:pt x="21" y="83"/>
                </a:cubicBezTo>
                <a:cubicBezTo>
                  <a:pt x="21" y="83"/>
                  <a:pt x="0" y="101"/>
                  <a:pt x="0" y="119"/>
                </a:cubicBezTo>
                <a:cubicBezTo>
                  <a:pt x="0" y="125"/>
                  <a:pt x="0" y="1089"/>
                  <a:pt x="0" y="1103"/>
                </a:cubicBezTo>
                <a:cubicBezTo>
                  <a:pt x="0" y="1115"/>
                  <a:pt x="10" y="1124"/>
                  <a:pt x="21" y="1124"/>
                </a:cubicBezTo>
                <a:cubicBezTo>
                  <a:pt x="243" y="1124"/>
                  <a:pt x="243" y="1124"/>
                  <a:pt x="243" y="1124"/>
                </a:cubicBezTo>
                <a:cubicBezTo>
                  <a:pt x="255" y="1124"/>
                  <a:pt x="265" y="1115"/>
                  <a:pt x="265" y="1103"/>
                </a:cubicBezTo>
                <a:cubicBezTo>
                  <a:pt x="265" y="1088"/>
                  <a:pt x="265" y="125"/>
                  <a:pt x="265" y="119"/>
                </a:cubicBezTo>
                <a:cubicBezTo>
                  <a:pt x="265" y="101"/>
                  <a:pt x="247" y="86"/>
                  <a:pt x="247" y="86"/>
                </a:cubicBezTo>
                <a:close/>
              </a:path>
            </a:pathLst>
          </a:custGeom>
          <a:solidFill>
            <a:srgbClr val="007B78"/>
          </a:solidFill>
          <a:ln>
            <a:noFill/>
          </a:ln>
          <a:extLst>
            <a:ext uri="{91240B29-F687-4F45-9708-019B960494DF}">
              <a14:hiddenLine xmlns:a14="http://schemas.microsoft.com/office/drawing/2010/main" w="9525">
                <a:solidFill>
                  <a:srgbClr val="000000"/>
                </a:solidFill>
                <a:round/>
                <a:headEnd/>
                <a:tailEnd/>
              </a14:hiddenLine>
            </a:ext>
          </a:extLst>
        </p:spPr>
        <p:txBody>
          <a:bodyPr vert="vert270" anchor="ctr"/>
          <a:lstStyle/>
          <a:p>
            <a:pPr algn="ctr">
              <a:spcBef>
                <a:spcPct val="50000"/>
              </a:spcBef>
              <a:defRPr/>
            </a:pPr>
            <a:r>
              <a:rPr lang="en-US" sz="3600" dirty="0">
                <a:solidFill>
                  <a:schemeClr val="bg1"/>
                </a:solidFill>
                <a:latin typeface="Arial" charset="0"/>
              </a:rPr>
              <a:t>Improved</a:t>
            </a:r>
          </a:p>
        </p:txBody>
      </p:sp>
    </p:spTree>
    <p:extLst>
      <p:ext uri="{BB962C8B-B14F-4D97-AF65-F5344CB8AC3E}">
        <p14:creationId xmlns:p14="http://schemas.microsoft.com/office/powerpoint/2010/main" val="3002564149"/>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3"/>
          <p:cNvSpPr>
            <a:spLocks noGrp="1" noChangeArrowheads="1"/>
          </p:cNvSpPr>
          <p:nvPr>
            <p:ph type="title"/>
          </p:nvPr>
        </p:nvSpPr>
        <p:spPr>
          <a:xfrm>
            <a:off x="393701" y="239713"/>
            <a:ext cx="7868556" cy="1085371"/>
          </a:xfrm>
        </p:spPr>
        <p:txBody>
          <a:bodyPr/>
          <a:lstStyle/>
          <a:p>
            <a:r>
              <a:rPr lang="en-US" dirty="0" smtClean="0">
                <a:solidFill>
                  <a:srgbClr val="00285F"/>
                </a:solidFill>
                <a:latin typeface="Ericsson Capital TT" pitchFamily="2" charset="0"/>
              </a:rPr>
              <a:t>Catalog driven OSS/BSS</a:t>
            </a:r>
          </a:p>
        </p:txBody>
      </p:sp>
      <p:sp>
        <p:nvSpPr>
          <p:cNvPr id="38" name="Oval 31"/>
          <p:cNvSpPr>
            <a:spLocks noChangeArrowheads="1"/>
          </p:cNvSpPr>
          <p:nvPr/>
        </p:nvSpPr>
        <p:spPr bwMode="auto">
          <a:xfrm>
            <a:off x="4117160" y="3365970"/>
            <a:ext cx="968330" cy="968330"/>
          </a:xfrm>
          <a:prstGeom prst="ellipse">
            <a:avLst/>
          </a:prstGeom>
          <a:solidFill>
            <a:srgbClr val="00285F"/>
          </a:solidFill>
          <a:ln w="57150" algn="ctr">
            <a:solidFill>
              <a:srgbClr val="00285F"/>
            </a:solidFill>
            <a:round/>
            <a:headEnd/>
            <a:tailEnd/>
          </a:ln>
        </p:spPr>
        <p:txBody>
          <a:bodyPr wrap="none" lIns="72000" rIns="72000"/>
          <a:lstStyle/>
          <a:p>
            <a:pPr>
              <a:lnSpc>
                <a:spcPct val="95000"/>
              </a:lnSpc>
            </a:pPr>
            <a:endParaRPr lang="en-US" sz="1100" b="1">
              <a:solidFill>
                <a:schemeClr val="tx2"/>
              </a:solidFill>
              <a:cs typeface="Arial" pitchFamily="34" charset="0"/>
            </a:endParaRPr>
          </a:p>
        </p:txBody>
      </p:sp>
      <p:sp>
        <p:nvSpPr>
          <p:cNvPr id="39" name="Freeform 3"/>
          <p:cNvSpPr>
            <a:spLocks noChangeAspect="1"/>
          </p:cNvSpPr>
          <p:nvPr/>
        </p:nvSpPr>
        <p:spPr bwMode="auto">
          <a:xfrm rot="10800000">
            <a:off x="2751444" y="2050525"/>
            <a:ext cx="3697369" cy="3833822"/>
          </a:xfrm>
          <a:custGeom>
            <a:avLst/>
            <a:gdLst>
              <a:gd name="T0" fmla="*/ 2147483647 w 1022"/>
              <a:gd name="T1" fmla="*/ 2147483647 h 1060"/>
              <a:gd name="T2" fmla="*/ 2147483647 w 1022"/>
              <a:gd name="T3" fmla="*/ 2147483647 h 1060"/>
              <a:gd name="T4" fmla="*/ 2147483647 w 1022"/>
              <a:gd name="T5" fmla="*/ 2147483647 h 1060"/>
              <a:gd name="T6" fmla="*/ 2147483647 w 1022"/>
              <a:gd name="T7" fmla="*/ 2147483647 h 1060"/>
              <a:gd name="T8" fmla="*/ 2147483647 w 1022"/>
              <a:gd name="T9" fmla="*/ 2147483647 h 1060"/>
              <a:gd name="T10" fmla="*/ 2147483647 w 1022"/>
              <a:gd name="T11" fmla="*/ 2147483647 h 1060"/>
              <a:gd name="T12" fmla="*/ 2147483647 w 1022"/>
              <a:gd name="T13" fmla="*/ 2147483647 h 1060"/>
              <a:gd name="T14" fmla="*/ 2147483647 w 1022"/>
              <a:gd name="T15" fmla="*/ 2147483647 h 1060"/>
              <a:gd name="T16" fmla="*/ 2147483647 w 1022"/>
              <a:gd name="T17" fmla="*/ 2147483647 h 1060"/>
              <a:gd name="T18" fmla="*/ 2147483647 w 1022"/>
              <a:gd name="T19" fmla="*/ 2147483647 h 1060"/>
              <a:gd name="T20" fmla="*/ 2147483647 w 1022"/>
              <a:gd name="T21" fmla="*/ 2147483647 h 1060"/>
              <a:gd name="T22" fmla="*/ 2147483647 w 1022"/>
              <a:gd name="T23" fmla="*/ 2147483647 h 1060"/>
              <a:gd name="T24" fmla="*/ 2147483647 w 1022"/>
              <a:gd name="T25" fmla="*/ 2147483647 h 1060"/>
              <a:gd name="T26" fmla="*/ 2147483647 w 1022"/>
              <a:gd name="T27" fmla="*/ 2147483647 h 1060"/>
              <a:gd name="T28" fmla="*/ 2147483647 w 1022"/>
              <a:gd name="T29" fmla="*/ 2147483647 h 1060"/>
              <a:gd name="T30" fmla="*/ 2147483647 w 1022"/>
              <a:gd name="T31" fmla="*/ 2147483647 h 1060"/>
              <a:gd name="T32" fmla="*/ 2147483647 w 1022"/>
              <a:gd name="T33" fmla="*/ 2147483647 h 1060"/>
              <a:gd name="T34" fmla="*/ 0 w 1022"/>
              <a:gd name="T35" fmla="*/ 2147483647 h 1060"/>
              <a:gd name="T36" fmla="*/ 2147483647 w 1022"/>
              <a:gd name="T37" fmla="*/ 2147483647 h 1060"/>
              <a:gd name="T38" fmla="*/ 2147483647 w 1022"/>
              <a:gd name="T39" fmla="*/ 2147483647 h 1060"/>
              <a:gd name="T40" fmla="*/ 2147483647 w 1022"/>
              <a:gd name="T41" fmla="*/ 2147483647 h 10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22"/>
              <a:gd name="T64" fmla="*/ 0 h 1060"/>
              <a:gd name="T65" fmla="*/ 1022 w 1022"/>
              <a:gd name="T66" fmla="*/ 1060 h 106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22" h="1060">
                <a:moveTo>
                  <a:pt x="522" y="38"/>
                </a:moveTo>
                <a:cubicBezTo>
                  <a:pt x="553" y="63"/>
                  <a:pt x="588" y="92"/>
                  <a:pt x="595" y="97"/>
                </a:cubicBezTo>
                <a:cubicBezTo>
                  <a:pt x="606" y="106"/>
                  <a:pt x="611" y="117"/>
                  <a:pt x="611" y="129"/>
                </a:cubicBezTo>
                <a:cubicBezTo>
                  <a:pt x="611" y="142"/>
                  <a:pt x="606" y="152"/>
                  <a:pt x="595" y="161"/>
                </a:cubicBezTo>
                <a:cubicBezTo>
                  <a:pt x="589" y="166"/>
                  <a:pt x="565" y="185"/>
                  <a:pt x="540" y="205"/>
                </a:cubicBezTo>
                <a:cubicBezTo>
                  <a:pt x="717" y="219"/>
                  <a:pt x="857" y="368"/>
                  <a:pt x="857" y="549"/>
                </a:cubicBezTo>
                <a:cubicBezTo>
                  <a:pt x="857" y="740"/>
                  <a:pt x="702" y="895"/>
                  <a:pt x="511" y="895"/>
                </a:cubicBezTo>
                <a:cubicBezTo>
                  <a:pt x="320" y="895"/>
                  <a:pt x="165" y="740"/>
                  <a:pt x="165" y="549"/>
                </a:cubicBezTo>
                <a:cubicBezTo>
                  <a:pt x="165" y="385"/>
                  <a:pt x="279" y="248"/>
                  <a:pt x="432" y="213"/>
                </a:cubicBezTo>
                <a:cubicBezTo>
                  <a:pt x="432" y="223"/>
                  <a:pt x="432" y="230"/>
                  <a:pt x="432" y="231"/>
                </a:cubicBezTo>
                <a:cubicBezTo>
                  <a:pt x="432" y="255"/>
                  <a:pt x="447" y="258"/>
                  <a:pt x="462" y="246"/>
                </a:cubicBezTo>
                <a:cubicBezTo>
                  <a:pt x="476" y="235"/>
                  <a:pt x="571" y="160"/>
                  <a:pt x="585" y="149"/>
                </a:cubicBezTo>
                <a:cubicBezTo>
                  <a:pt x="592" y="143"/>
                  <a:pt x="595" y="137"/>
                  <a:pt x="595" y="129"/>
                </a:cubicBezTo>
                <a:cubicBezTo>
                  <a:pt x="595" y="121"/>
                  <a:pt x="592" y="115"/>
                  <a:pt x="585" y="110"/>
                </a:cubicBezTo>
                <a:cubicBezTo>
                  <a:pt x="571" y="98"/>
                  <a:pt x="470" y="18"/>
                  <a:pt x="462" y="12"/>
                </a:cubicBezTo>
                <a:cubicBezTo>
                  <a:pt x="446" y="0"/>
                  <a:pt x="432" y="3"/>
                  <a:pt x="432" y="27"/>
                </a:cubicBezTo>
                <a:cubicBezTo>
                  <a:pt x="432" y="28"/>
                  <a:pt x="432" y="34"/>
                  <a:pt x="432" y="44"/>
                </a:cubicBezTo>
                <a:cubicBezTo>
                  <a:pt x="187" y="83"/>
                  <a:pt x="0" y="294"/>
                  <a:pt x="0" y="549"/>
                </a:cubicBezTo>
                <a:cubicBezTo>
                  <a:pt x="0" y="831"/>
                  <a:pt x="229" y="1060"/>
                  <a:pt x="511" y="1060"/>
                </a:cubicBezTo>
                <a:cubicBezTo>
                  <a:pt x="793" y="1060"/>
                  <a:pt x="1022" y="831"/>
                  <a:pt x="1022" y="549"/>
                </a:cubicBezTo>
                <a:cubicBezTo>
                  <a:pt x="1022" y="271"/>
                  <a:pt x="799" y="44"/>
                  <a:pt x="522" y="38"/>
                </a:cubicBezTo>
                <a:close/>
              </a:path>
            </a:pathLst>
          </a:custGeom>
          <a:solidFill>
            <a:srgbClr val="00A9D4"/>
          </a:solidFill>
          <a:ln w="9525" algn="ctr">
            <a:solidFill>
              <a:srgbClr val="000000"/>
            </a:solidFill>
            <a:round/>
            <a:headEnd/>
            <a:tailEnd/>
          </a:ln>
        </p:spPr>
        <p:txBody>
          <a:bodyPr/>
          <a:lstStyle/>
          <a:p>
            <a:pPr>
              <a:lnSpc>
                <a:spcPct val="95000"/>
              </a:lnSpc>
            </a:pPr>
            <a:r>
              <a:rPr lang="en-US" sz="1100" b="1">
                <a:solidFill>
                  <a:srgbClr val="00A9D4"/>
                </a:solidFill>
                <a:cs typeface="Arial" pitchFamily="34" charset="0"/>
              </a:rPr>
              <a:t>         </a:t>
            </a:r>
          </a:p>
        </p:txBody>
      </p:sp>
      <p:sp>
        <p:nvSpPr>
          <p:cNvPr id="40" name="Rectangle 2"/>
          <p:cNvSpPr>
            <a:spLocks noChangeArrowheads="1"/>
          </p:cNvSpPr>
          <p:nvPr/>
        </p:nvSpPr>
        <p:spPr bwMode="auto">
          <a:xfrm>
            <a:off x="4299966" y="5299039"/>
            <a:ext cx="843306" cy="26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nSpc>
                <a:spcPct val="95000"/>
              </a:lnSpc>
            </a:pPr>
            <a:r>
              <a:rPr lang="en-US" sz="1100" b="1">
                <a:solidFill>
                  <a:srgbClr val="FFFFFF"/>
                </a:solidFill>
                <a:cs typeface="Arial" pitchFamily="34" charset="0"/>
              </a:rPr>
              <a:t>Analytics</a:t>
            </a:r>
          </a:p>
        </p:txBody>
      </p:sp>
      <p:sp>
        <p:nvSpPr>
          <p:cNvPr id="41" name="Oval 31"/>
          <p:cNvSpPr>
            <a:spLocks noChangeArrowheads="1"/>
          </p:cNvSpPr>
          <p:nvPr/>
        </p:nvSpPr>
        <p:spPr bwMode="auto">
          <a:xfrm>
            <a:off x="4120752" y="1870983"/>
            <a:ext cx="967133" cy="968331"/>
          </a:xfrm>
          <a:prstGeom prst="ellipse">
            <a:avLst/>
          </a:prstGeom>
          <a:solidFill>
            <a:srgbClr val="FFFFFF"/>
          </a:solidFill>
          <a:ln w="57150" cap="flat" cmpd="sng" algn="ctr">
            <a:solidFill>
              <a:srgbClr val="87888A"/>
            </a:solidFill>
            <a:prstDash val="solid"/>
            <a:round/>
            <a:headEnd type="none" w="med" len="med"/>
            <a:tailEnd type="none" w="med" len="med"/>
          </a:ln>
        </p:spPr>
        <p:txBody>
          <a:bodyPr wrap="none" lIns="72000" rIns="72000"/>
          <a:lstStyle/>
          <a:p>
            <a:pPr>
              <a:lnSpc>
                <a:spcPct val="95000"/>
              </a:lnSpc>
            </a:pPr>
            <a:endParaRPr lang="en-US" sz="1100" b="1">
              <a:solidFill>
                <a:schemeClr val="tx2"/>
              </a:solidFill>
              <a:cs typeface="Arial" pitchFamily="34" charset="0"/>
            </a:endParaRPr>
          </a:p>
        </p:txBody>
      </p:sp>
      <p:sp>
        <p:nvSpPr>
          <p:cNvPr id="42" name="Rectangle 61"/>
          <p:cNvSpPr>
            <a:spLocks noChangeArrowheads="1"/>
          </p:cNvSpPr>
          <p:nvPr/>
        </p:nvSpPr>
        <p:spPr bwMode="auto">
          <a:xfrm>
            <a:off x="4163842" y="1870983"/>
            <a:ext cx="924043" cy="96234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87888A"/>
                </a:solidFill>
                <a:prstDash val="solid"/>
                <a:miter lim="800000"/>
                <a:headEnd type="none" w="med" len="med"/>
                <a:tailEnd type="none" w="med" len="med"/>
              </a14:hiddenLine>
            </a:ext>
          </a:extLst>
        </p:spPr>
        <p:txBody>
          <a:bodyPr anchor="ctr"/>
          <a:lstStyle/>
          <a:p>
            <a:pPr algn="ctr">
              <a:lnSpc>
                <a:spcPct val="95000"/>
              </a:lnSpc>
            </a:pPr>
            <a:r>
              <a:rPr lang="en-US" sz="1100" b="1">
                <a:solidFill>
                  <a:schemeClr val="tx2"/>
                </a:solidFill>
                <a:cs typeface="Arial" pitchFamily="34" charset="0"/>
              </a:rPr>
              <a:t>Leverage Partners, Agents,</a:t>
            </a:r>
            <a:br>
              <a:rPr lang="en-US" sz="1100" b="1">
                <a:solidFill>
                  <a:schemeClr val="tx2"/>
                </a:solidFill>
                <a:cs typeface="Arial" pitchFamily="34" charset="0"/>
              </a:rPr>
            </a:br>
            <a:r>
              <a:rPr lang="en-US" sz="1100" b="1">
                <a:solidFill>
                  <a:schemeClr val="tx2"/>
                </a:solidFill>
                <a:cs typeface="Arial" pitchFamily="34" charset="0"/>
              </a:rPr>
              <a:t>Self-Care</a:t>
            </a:r>
          </a:p>
        </p:txBody>
      </p:sp>
      <p:cxnSp>
        <p:nvCxnSpPr>
          <p:cNvPr id="43" name="Straight Arrow Connector 28"/>
          <p:cNvCxnSpPr>
            <a:cxnSpLocks noChangeShapeType="1"/>
          </p:cNvCxnSpPr>
          <p:nvPr/>
        </p:nvCxnSpPr>
        <p:spPr bwMode="auto">
          <a:xfrm flipV="1">
            <a:off x="3898119" y="4295998"/>
            <a:ext cx="292055" cy="292055"/>
          </a:xfrm>
          <a:prstGeom prst="straightConnector1">
            <a:avLst/>
          </a:prstGeom>
          <a:ln w="38100" cap="rnd" cmpd="sng" algn="ctr">
            <a:solidFill>
              <a:schemeClr val="bg1"/>
            </a:solidFill>
            <a:prstDash val="solid"/>
            <a:round/>
            <a:headEnd type="triangle" w="lg" len="med"/>
            <a:tailEnd type="triangle" w="lg" len="med"/>
          </a:ln>
        </p:spPr>
        <p:style>
          <a:lnRef idx="1">
            <a:schemeClr val="accent2"/>
          </a:lnRef>
          <a:fillRef idx="0">
            <a:schemeClr val="accent2"/>
          </a:fillRef>
          <a:effectRef idx="0">
            <a:schemeClr val="accent2"/>
          </a:effectRef>
          <a:fontRef idx="minor">
            <a:schemeClr val="tx1"/>
          </a:fontRef>
        </p:style>
      </p:cxnSp>
      <p:sp>
        <p:nvSpPr>
          <p:cNvPr id="44" name="Oval 31"/>
          <p:cNvSpPr>
            <a:spLocks noChangeArrowheads="1"/>
          </p:cNvSpPr>
          <p:nvPr/>
        </p:nvSpPr>
        <p:spPr bwMode="auto">
          <a:xfrm>
            <a:off x="2921411" y="2349762"/>
            <a:ext cx="968330" cy="968331"/>
          </a:xfrm>
          <a:prstGeom prst="ellipse">
            <a:avLst/>
          </a:prstGeom>
          <a:solidFill>
            <a:srgbClr val="FFFFFF"/>
          </a:solidFill>
          <a:ln w="57150" cap="flat" cmpd="sng" algn="ctr">
            <a:solidFill>
              <a:srgbClr val="87888A"/>
            </a:solidFill>
            <a:prstDash val="solid"/>
            <a:round/>
            <a:headEnd type="none" w="med" len="med"/>
            <a:tailEnd type="none" w="med" len="med"/>
          </a:ln>
        </p:spPr>
        <p:txBody>
          <a:bodyPr wrap="none" lIns="72000" rIns="72000"/>
          <a:lstStyle/>
          <a:p>
            <a:pPr>
              <a:lnSpc>
                <a:spcPct val="95000"/>
              </a:lnSpc>
            </a:pPr>
            <a:endParaRPr lang="en-US" sz="1100" b="1">
              <a:solidFill>
                <a:schemeClr val="tx2"/>
              </a:solidFill>
              <a:cs typeface="Arial" pitchFamily="34" charset="0"/>
            </a:endParaRPr>
          </a:p>
        </p:txBody>
      </p:sp>
      <p:sp>
        <p:nvSpPr>
          <p:cNvPr id="45" name="Oval 31"/>
          <p:cNvSpPr>
            <a:spLocks noChangeArrowheads="1"/>
          </p:cNvSpPr>
          <p:nvPr/>
        </p:nvSpPr>
        <p:spPr bwMode="auto">
          <a:xfrm>
            <a:off x="2501282" y="3472498"/>
            <a:ext cx="968330" cy="968331"/>
          </a:xfrm>
          <a:prstGeom prst="ellipse">
            <a:avLst/>
          </a:prstGeom>
          <a:solidFill>
            <a:srgbClr val="FFFFFF"/>
          </a:solidFill>
          <a:ln w="57150" cap="flat" cmpd="sng" algn="ctr">
            <a:solidFill>
              <a:srgbClr val="87888A"/>
            </a:solidFill>
            <a:prstDash val="solid"/>
            <a:round/>
            <a:headEnd type="none" w="med" len="med"/>
            <a:tailEnd type="none" w="med" len="med"/>
          </a:ln>
        </p:spPr>
        <p:txBody>
          <a:bodyPr wrap="none" lIns="72000" rIns="72000"/>
          <a:lstStyle/>
          <a:p>
            <a:pPr>
              <a:lnSpc>
                <a:spcPct val="95000"/>
              </a:lnSpc>
            </a:pPr>
            <a:endParaRPr lang="en-US" sz="1100" b="1">
              <a:solidFill>
                <a:schemeClr val="tx2"/>
              </a:solidFill>
              <a:cs typeface="Arial" pitchFamily="34" charset="0"/>
            </a:endParaRPr>
          </a:p>
        </p:txBody>
      </p:sp>
      <p:sp>
        <p:nvSpPr>
          <p:cNvPr id="46" name="Oval 31"/>
          <p:cNvSpPr>
            <a:spLocks noChangeArrowheads="1"/>
          </p:cNvSpPr>
          <p:nvPr/>
        </p:nvSpPr>
        <p:spPr bwMode="auto">
          <a:xfrm>
            <a:off x="2993228" y="4570099"/>
            <a:ext cx="968330" cy="967133"/>
          </a:xfrm>
          <a:prstGeom prst="ellipse">
            <a:avLst/>
          </a:prstGeom>
          <a:solidFill>
            <a:srgbClr val="FFFFFF"/>
          </a:solidFill>
          <a:ln w="57150" cap="flat" cmpd="sng" algn="ctr">
            <a:solidFill>
              <a:srgbClr val="87888A"/>
            </a:solidFill>
            <a:prstDash val="solid"/>
            <a:round/>
            <a:headEnd type="none" w="med" len="med"/>
            <a:tailEnd type="none" w="med" len="med"/>
          </a:ln>
        </p:spPr>
        <p:txBody>
          <a:bodyPr wrap="none" lIns="72000" rIns="72000"/>
          <a:lstStyle/>
          <a:p>
            <a:pPr>
              <a:lnSpc>
                <a:spcPct val="95000"/>
              </a:lnSpc>
            </a:pPr>
            <a:endParaRPr lang="en-US" sz="1100" b="1">
              <a:solidFill>
                <a:schemeClr val="tx2"/>
              </a:solidFill>
              <a:cs typeface="Arial" pitchFamily="34" charset="0"/>
            </a:endParaRPr>
          </a:p>
        </p:txBody>
      </p:sp>
      <p:sp>
        <p:nvSpPr>
          <p:cNvPr id="47" name="Rectangle 61"/>
          <p:cNvSpPr>
            <a:spLocks noChangeArrowheads="1"/>
          </p:cNvSpPr>
          <p:nvPr/>
        </p:nvSpPr>
        <p:spPr bwMode="auto">
          <a:xfrm>
            <a:off x="3015969" y="4600022"/>
            <a:ext cx="945588" cy="937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solidFill>
                  <a:srgbClr val="000000"/>
                </a:solidFill>
                <a:miter lim="800000"/>
                <a:headEnd/>
                <a:tailEnd/>
              </a14:hiddenLine>
            </a:ext>
          </a:extLst>
        </p:spPr>
        <p:txBody>
          <a:bodyPr anchor="ctr"/>
          <a:lstStyle/>
          <a:p>
            <a:pPr algn="ctr">
              <a:lnSpc>
                <a:spcPct val="95000"/>
              </a:lnSpc>
            </a:pPr>
            <a:r>
              <a:rPr lang="en-US" sz="1100" b="1">
                <a:solidFill>
                  <a:schemeClr val="tx2"/>
                </a:solidFill>
                <a:cs typeface="Arial" pitchFamily="34" charset="0"/>
              </a:rPr>
              <a:t>Apply Policy &amp; Deliver in Real-time</a:t>
            </a:r>
          </a:p>
        </p:txBody>
      </p:sp>
      <p:sp>
        <p:nvSpPr>
          <p:cNvPr id="48" name="Oval 31"/>
          <p:cNvSpPr>
            <a:spLocks noChangeArrowheads="1"/>
          </p:cNvSpPr>
          <p:nvPr/>
        </p:nvSpPr>
        <p:spPr bwMode="auto">
          <a:xfrm>
            <a:off x="5302138" y="2349762"/>
            <a:ext cx="968330" cy="968331"/>
          </a:xfrm>
          <a:prstGeom prst="ellipse">
            <a:avLst/>
          </a:prstGeom>
          <a:solidFill>
            <a:srgbClr val="FFFFFF"/>
          </a:solidFill>
          <a:ln w="57150" cap="flat" cmpd="sng" algn="ctr">
            <a:solidFill>
              <a:srgbClr val="87888A"/>
            </a:solidFill>
            <a:prstDash val="solid"/>
            <a:round/>
            <a:headEnd type="none" w="med" len="med"/>
            <a:tailEnd type="none" w="med" len="med"/>
          </a:ln>
        </p:spPr>
        <p:txBody>
          <a:bodyPr wrap="none" lIns="72000" rIns="72000"/>
          <a:lstStyle/>
          <a:p>
            <a:pPr>
              <a:lnSpc>
                <a:spcPct val="95000"/>
              </a:lnSpc>
            </a:pPr>
            <a:endParaRPr lang="en-US" sz="1100" b="1">
              <a:solidFill>
                <a:schemeClr val="tx2"/>
              </a:solidFill>
              <a:cs typeface="Arial" pitchFamily="34" charset="0"/>
            </a:endParaRPr>
          </a:p>
        </p:txBody>
      </p:sp>
      <p:sp>
        <p:nvSpPr>
          <p:cNvPr id="49" name="Rectangle 61"/>
          <p:cNvSpPr>
            <a:spLocks noChangeArrowheads="1"/>
          </p:cNvSpPr>
          <p:nvPr/>
        </p:nvSpPr>
        <p:spPr bwMode="auto">
          <a:xfrm>
            <a:off x="5302138" y="2355747"/>
            <a:ext cx="968330" cy="962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lnSpc>
                <a:spcPct val="95000"/>
              </a:lnSpc>
            </a:pPr>
            <a:r>
              <a:rPr lang="en-US" sz="1100" b="1">
                <a:solidFill>
                  <a:schemeClr val="tx2"/>
                </a:solidFill>
                <a:cs typeface="Arial" pitchFamily="34" charset="0"/>
              </a:rPr>
              <a:t>Negotiate</a:t>
            </a:r>
            <a:br>
              <a:rPr lang="en-US" sz="1100" b="1">
                <a:solidFill>
                  <a:schemeClr val="tx2"/>
                </a:solidFill>
                <a:cs typeface="Arial" pitchFamily="34" charset="0"/>
              </a:rPr>
            </a:br>
            <a:r>
              <a:rPr lang="en-US" sz="1100" b="1">
                <a:solidFill>
                  <a:schemeClr val="tx2"/>
                </a:solidFill>
                <a:cs typeface="Arial" pitchFamily="34" charset="0"/>
              </a:rPr>
              <a:t>&amp; Quote</a:t>
            </a:r>
          </a:p>
        </p:txBody>
      </p:sp>
      <p:sp>
        <p:nvSpPr>
          <p:cNvPr id="50" name="Oval 31"/>
          <p:cNvSpPr>
            <a:spLocks noChangeArrowheads="1"/>
          </p:cNvSpPr>
          <p:nvPr/>
        </p:nvSpPr>
        <p:spPr bwMode="auto">
          <a:xfrm>
            <a:off x="5674389" y="3472498"/>
            <a:ext cx="968330" cy="968331"/>
          </a:xfrm>
          <a:prstGeom prst="ellipse">
            <a:avLst/>
          </a:prstGeom>
          <a:solidFill>
            <a:srgbClr val="FFFFFF"/>
          </a:solidFill>
          <a:ln w="57150" cap="flat" cmpd="sng" algn="ctr">
            <a:solidFill>
              <a:srgbClr val="87888A"/>
            </a:solidFill>
            <a:prstDash val="solid"/>
            <a:round/>
            <a:headEnd type="none" w="med" len="med"/>
            <a:tailEnd type="none" w="med" len="med"/>
          </a:ln>
        </p:spPr>
        <p:txBody>
          <a:bodyPr wrap="none" lIns="72000" rIns="72000"/>
          <a:lstStyle/>
          <a:p>
            <a:pPr>
              <a:lnSpc>
                <a:spcPct val="95000"/>
              </a:lnSpc>
            </a:pPr>
            <a:endParaRPr lang="en-US" sz="1100" b="1">
              <a:solidFill>
                <a:schemeClr val="tx2"/>
              </a:solidFill>
              <a:cs typeface="Arial" pitchFamily="34" charset="0"/>
            </a:endParaRPr>
          </a:p>
        </p:txBody>
      </p:sp>
      <p:sp>
        <p:nvSpPr>
          <p:cNvPr id="51" name="Oval 31"/>
          <p:cNvSpPr>
            <a:spLocks noChangeArrowheads="1"/>
          </p:cNvSpPr>
          <p:nvPr/>
        </p:nvSpPr>
        <p:spPr bwMode="auto">
          <a:xfrm>
            <a:off x="5230321" y="4570099"/>
            <a:ext cx="968330" cy="967133"/>
          </a:xfrm>
          <a:prstGeom prst="ellipse">
            <a:avLst/>
          </a:prstGeom>
          <a:solidFill>
            <a:srgbClr val="FFFFFF"/>
          </a:solidFill>
          <a:ln w="57150" cap="flat" cmpd="sng" algn="ctr">
            <a:solidFill>
              <a:srgbClr val="87888A"/>
            </a:solidFill>
            <a:prstDash val="solid"/>
            <a:round/>
            <a:headEnd type="none" w="med" len="med"/>
            <a:tailEnd type="none" w="med" len="med"/>
          </a:ln>
        </p:spPr>
        <p:txBody>
          <a:bodyPr wrap="none" lIns="72000" rIns="72000"/>
          <a:lstStyle/>
          <a:p>
            <a:pPr>
              <a:lnSpc>
                <a:spcPct val="95000"/>
              </a:lnSpc>
            </a:pPr>
            <a:endParaRPr lang="en-US" sz="1100" b="1">
              <a:solidFill>
                <a:schemeClr val="tx2"/>
              </a:solidFill>
              <a:cs typeface="Arial" pitchFamily="34" charset="0"/>
            </a:endParaRPr>
          </a:p>
        </p:txBody>
      </p:sp>
      <p:cxnSp>
        <p:nvCxnSpPr>
          <p:cNvPr id="52" name="Straight Arrow Connector 28"/>
          <p:cNvCxnSpPr>
            <a:cxnSpLocks noChangeShapeType="1"/>
          </p:cNvCxnSpPr>
          <p:nvPr/>
        </p:nvCxnSpPr>
        <p:spPr bwMode="auto">
          <a:xfrm flipV="1">
            <a:off x="5006492" y="3199594"/>
            <a:ext cx="293252" cy="292055"/>
          </a:xfrm>
          <a:prstGeom prst="straightConnector1">
            <a:avLst/>
          </a:prstGeom>
          <a:ln w="38100" cap="rnd" cmpd="sng" algn="ctr">
            <a:solidFill>
              <a:schemeClr val="bg1"/>
            </a:solidFill>
            <a:prstDash val="solid"/>
            <a:round/>
            <a:headEnd type="triangle" w="lg" len="med"/>
            <a:tailEnd type="triangle" w="lg" len="med"/>
          </a:ln>
        </p:spPr>
        <p:style>
          <a:lnRef idx="1">
            <a:schemeClr val="accent2"/>
          </a:lnRef>
          <a:fillRef idx="0">
            <a:schemeClr val="accent2"/>
          </a:fillRef>
          <a:effectRef idx="0">
            <a:schemeClr val="accent2"/>
          </a:effectRef>
          <a:fontRef idx="minor">
            <a:schemeClr val="tx1"/>
          </a:fontRef>
        </p:style>
      </p:cxnSp>
      <p:cxnSp>
        <p:nvCxnSpPr>
          <p:cNvPr id="53" name="Straight Arrow Connector 28"/>
          <p:cNvCxnSpPr>
            <a:cxnSpLocks noChangeShapeType="1"/>
          </p:cNvCxnSpPr>
          <p:nvPr/>
        </p:nvCxnSpPr>
        <p:spPr bwMode="auto">
          <a:xfrm flipV="1">
            <a:off x="5138157" y="3926142"/>
            <a:ext cx="452446" cy="0"/>
          </a:xfrm>
          <a:prstGeom prst="straightConnector1">
            <a:avLst/>
          </a:prstGeom>
          <a:ln w="38100" cap="rnd" cmpd="sng" algn="ctr">
            <a:solidFill>
              <a:schemeClr val="bg1"/>
            </a:solidFill>
            <a:prstDash val="solid"/>
            <a:round/>
            <a:headEnd type="triangle" w="lg" len="med"/>
            <a:tailEnd type="triangle" w="lg" len="med"/>
          </a:ln>
        </p:spPr>
        <p:style>
          <a:lnRef idx="1">
            <a:schemeClr val="accent2"/>
          </a:lnRef>
          <a:fillRef idx="0">
            <a:schemeClr val="accent2"/>
          </a:fillRef>
          <a:effectRef idx="0">
            <a:schemeClr val="accent2"/>
          </a:effectRef>
          <a:fontRef idx="minor">
            <a:schemeClr val="tx1"/>
          </a:fontRef>
        </p:style>
      </p:cxnSp>
      <p:cxnSp>
        <p:nvCxnSpPr>
          <p:cNvPr id="54" name="Straight Arrow Connector 28"/>
          <p:cNvCxnSpPr>
            <a:cxnSpLocks noChangeShapeType="1"/>
          </p:cNvCxnSpPr>
          <p:nvPr/>
        </p:nvCxnSpPr>
        <p:spPr bwMode="auto">
          <a:xfrm flipV="1">
            <a:off x="3595292" y="3926142"/>
            <a:ext cx="454840" cy="0"/>
          </a:xfrm>
          <a:prstGeom prst="straightConnector1">
            <a:avLst/>
          </a:prstGeom>
          <a:ln w="38100" cap="rnd" cmpd="sng" algn="ctr">
            <a:solidFill>
              <a:schemeClr val="bg1"/>
            </a:solidFill>
            <a:prstDash val="solid"/>
            <a:round/>
            <a:headEnd type="triangle" w="lg" len="med"/>
            <a:tailEnd type="triangle" w="lg" len="med"/>
          </a:ln>
        </p:spPr>
        <p:style>
          <a:lnRef idx="1">
            <a:schemeClr val="accent2"/>
          </a:lnRef>
          <a:fillRef idx="0">
            <a:schemeClr val="accent2"/>
          </a:fillRef>
          <a:effectRef idx="0">
            <a:schemeClr val="accent2"/>
          </a:effectRef>
          <a:fontRef idx="minor">
            <a:schemeClr val="tx1"/>
          </a:fontRef>
        </p:style>
      </p:cxnSp>
      <p:cxnSp>
        <p:nvCxnSpPr>
          <p:cNvPr id="55" name="Straight Arrow Connector 28"/>
          <p:cNvCxnSpPr>
            <a:cxnSpLocks noChangeShapeType="1"/>
          </p:cNvCxnSpPr>
          <p:nvPr/>
        </p:nvCxnSpPr>
        <p:spPr bwMode="auto">
          <a:xfrm>
            <a:off x="5006492" y="4295998"/>
            <a:ext cx="293252" cy="304025"/>
          </a:xfrm>
          <a:prstGeom prst="straightConnector1">
            <a:avLst/>
          </a:prstGeom>
          <a:ln w="38100" cap="rnd" cmpd="sng" algn="ctr">
            <a:solidFill>
              <a:schemeClr val="bg1"/>
            </a:solidFill>
            <a:prstDash val="solid"/>
            <a:round/>
            <a:headEnd type="triangle" w="lg" len="med"/>
            <a:tailEnd type="triangle" w="lg" len="med"/>
          </a:ln>
        </p:spPr>
        <p:style>
          <a:lnRef idx="1">
            <a:schemeClr val="accent2"/>
          </a:lnRef>
          <a:fillRef idx="0">
            <a:schemeClr val="accent2"/>
          </a:fillRef>
          <a:effectRef idx="0">
            <a:schemeClr val="accent2"/>
          </a:effectRef>
          <a:fontRef idx="minor">
            <a:schemeClr val="tx1"/>
          </a:fontRef>
        </p:style>
      </p:cxnSp>
      <p:cxnSp>
        <p:nvCxnSpPr>
          <p:cNvPr id="56" name="Straight Arrow Connector 28"/>
          <p:cNvCxnSpPr>
            <a:cxnSpLocks noChangeShapeType="1"/>
          </p:cNvCxnSpPr>
          <p:nvPr/>
        </p:nvCxnSpPr>
        <p:spPr bwMode="auto">
          <a:xfrm>
            <a:off x="3871787" y="3199594"/>
            <a:ext cx="292055" cy="301631"/>
          </a:xfrm>
          <a:prstGeom prst="straightConnector1">
            <a:avLst/>
          </a:prstGeom>
          <a:ln w="38100" cap="rnd" cmpd="sng" algn="ctr">
            <a:solidFill>
              <a:schemeClr val="bg1"/>
            </a:solidFill>
            <a:prstDash val="solid"/>
            <a:round/>
            <a:headEnd type="triangle" w="lg" len="med"/>
            <a:tailEnd type="triangle" w="lg" len="med"/>
          </a:ln>
        </p:spPr>
        <p:style>
          <a:lnRef idx="1">
            <a:schemeClr val="accent2"/>
          </a:lnRef>
          <a:fillRef idx="0">
            <a:schemeClr val="accent2"/>
          </a:fillRef>
          <a:effectRef idx="0">
            <a:schemeClr val="accent2"/>
          </a:effectRef>
          <a:fontRef idx="minor">
            <a:schemeClr val="tx1"/>
          </a:fontRef>
        </p:style>
      </p:cxnSp>
      <p:cxnSp>
        <p:nvCxnSpPr>
          <p:cNvPr id="57" name="Straight Arrow Connector 28"/>
          <p:cNvCxnSpPr>
            <a:cxnSpLocks noChangeShapeType="1"/>
          </p:cNvCxnSpPr>
          <p:nvPr/>
        </p:nvCxnSpPr>
        <p:spPr bwMode="auto">
          <a:xfrm>
            <a:off x="4607909" y="2933872"/>
            <a:ext cx="0" cy="394993"/>
          </a:xfrm>
          <a:prstGeom prst="straightConnector1">
            <a:avLst/>
          </a:prstGeom>
          <a:ln w="38100" cap="rnd" cmpd="sng" algn="ctr">
            <a:solidFill>
              <a:schemeClr val="bg1"/>
            </a:solidFill>
            <a:prstDash val="solid"/>
            <a:round/>
            <a:headEnd type="triangle" w="lg" len="med"/>
            <a:tailEnd type="triangle" w="lg" len="med"/>
          </a:ln>
        </p:spPr>
        <p:style>
          <a:lnRef idx="1">
            <a:schemeClr val="accent2"/>
          </a:lnRef>
          <a:fillRef idx="0">
            <a:schemeClr val="accent2"/>
          </a:fillRef>
          <a:effectRef idx="0">
            <a:schemeClr val="accent2"/>
          </a:effectRef>
          <a:fontRef idx="minor">
            <a:schemeClr val="tx1"/>
          </a:fontRef>
        </p:style>
      </p:cxnSp>
      <p:sp>
        <p:nvSpPr>
          <p:cNvPr id="58" name="Rectangle 61"/>
          <p:cNvSpPr>
            <a:spLocks noChangeArrowheads="1"/>
          </p:cNvSpPr>
          <p:nvPr/>
        </p:nvSpPr>
        <p:spPr bwMode="auto">
          <a:xfrm>
            <a:off x="5710297" y="3501225"/>
            <a:ext cx="932421" cy="939604"/>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87888A"/>
                </a:solidFill>
                <a:prstDash val="solid"/>
                <a:miter lim="800000"/>
                <a:headEnd type="none" w="med" len="med"/>
                <a:tailEnd type="none" w="med" len="med"/>
              </a14:hiddenLine>
            </a:ext>
          </a:extLst>
        </p:spPr>
        <p:txBody>
          <a:bodyPr anchor="ctr"/>
          <a:lstStyle/>
          <a:p>
            <a:pPr algn="ctr">
              <a:lnSpc>
                <a:spcPct val="95000"/>
              </a:lnSpc>
            </a:pPr>
            <a:r>
              <a:rPr lang="en-US" sz="1100" b="1">
                <a:solidFill>
                  <a:schemeClr val="tx2"/>
                </a:solidFill>
                <a:cs typeface="Arial" pitchFamily="34" charset="0"/>
              </a:rPr>
              <a:t>Handle</a:t>
            </a:r>
            <a:br>
              <a:rPr lang="en-US" sz="1100" b="1">
                <a:solidFill>
                  <a:schemeClr val="tx2"/>
                </a:solidFill>
                <a:cs typeface="Arial" pitchFamily="34" charset="0"/>
              </a:rPr>
            </a:br>
            <a:r>
              <a:rPr lang="en-US" sz="1100" b="1">
                <a:solidFill>
                  <a:schemeClr val="tx2"/>
                </a:solidFill>
                <a:cs typeface="Arial" pitchFamily="34" charset="0"/>
              </a:rPr>
              <a:t>Order</a:t>
            </a:r>
          </a:p>
        </p:txBody>
      </p:sp>
      <p:sp>
        <p:nvSpPr>
          <p:cNvPr id="59" name="Rectangle 61"/>
          <p:cNvSpPr>
            <a:spLocks noChangeArrowheads="1"/>
          </p:cNvSpPr>
          <p:nvPr/>
        </p:nvSpPr>
        <p:spPr bwMode="auto">
          <a:xfrm>
            <a:off x="5230321" y="4588053"/>
            <a:ext cx="946785" cy="930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lnSpc>
                <a:spcPct val="95000"/>
              </a:lnSpc>
            </a:pPr>
            <a:r>
              <a:rPr lang="en-US" sz="1100" b="1">
                <a:solidFill>
                  <a:schemeClr val="tx2"/>
                </a:solidFill>
                <a:cs typeface="Arial" pitchFamily="34" charset="0"/>
              </a:rPr>
              <a:t> Provision</a:t>
            </a:r>
            <a:br>
              <a:rPr lang="en-US" sz="1100" b="1">
                <a:solidFill>
                  <a:schemeClr val="tx2"/>
                </a:solidFill>
                <a:cs typeface="Arial" pitchFamily="34" charset="0"/>
              </a:rPr>
            </a:br>
            <a:r>
              <a:rPr lang="en-US" sz="1100" b="1">
                <a:solidFill>
                  <a:schemeClr val="tx2"/>
                </a:solidFill>
                <a:cs typeface="Arial" pitchFamily="34" charset="0"/>
              </a:rPr>
              <a:t>&amp; Activate</a:t>
            </a:r>
          </a:p>
        </p:txBody>
      </p:sp>
      <p:sp>
        <p:nvSpPr>
          <p:cNvPr id="60" name="Rectangle 61"/>
          <p:cNvSpPr>
            <a:spLocks noChangeArrowheads="1"/>
          </p:cNvSpPr>
          <p:nvPr/>
        </p:nvSpPr>
        <p:spPr bwMode="auto">
          <a:xfrm>
            <a:off x="2511940" y="3515147"/>
            <a:ext cx="965937" cy="939604"/>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87888A"/>
                </a:solidFill>
                <a:prstDash val="solid"/>
                <a:miter lim="800000"/>
                <a:headEnd type="none" w="med" len="med"/>
                <a:tailEnd type="none" w="med" len="med"/>
              </a14:hiddenLine>
            </a:ext>
          </a:extLst>
        </p:spPr>
        <p:txBody>
          <a:bodyPr anchor="ctr"/>
          <a:lstStyle/>
          <a:p>
            <a:pPr algn="ctr">
              <a:lnSpc>
                <a:spcPct val="95000"/>
              </a:lnSpc>
            </a:pPr>
            <a:r>
              <a:rPr lang="en-US" sz="1100" b="1" dirty="0">
                <a:solidFill>
                  <a:schemeClr val="tx2"/>
                </a:solidFill>
                <a:cs typeface="Arial" pitchFamily="34" charset="0"/>
              </a:rPr>
              <a:t>Charge</a:t>
            </a:r>
            <a:br>
              <a:rPr lang="en-US" sz="1100" b="1" dirty="0">
                <a:solidFill>
                  <a:schemeClr val="tx2"/>
                </a:solidFill>
                <a:cs typeface="Arial" pitchFamily="34" charset="0"/>
              </a:rPr>
            </a:br>
            <a:r>
              <a:rPr lang="en-US" sz="1100" b="1" dirty="0">
                <a:solidFill>
                  <a:schemeClr val="tx2"/>
                </a:solidFill>
                <a:cs typeface="Arial" pitchFamily="34" charset="0"/>
              </a:rPr>
              <a:t>&amp; Bill</a:t>
            </a:r>
          </a:p>
        </p:txBody>
      </p:sp>
      <p:sp>
        <p:nvSpPr>
          <p:cNvPr id="61" name="Rectangle 61"/>
          <p:cNvSpPr>
            <a:spLocks noChangeArrowheads="1"/>
          </p:cNvSpPr>
          <p:nvPr/>
        </p:nvSpPr>
        <p:spPr bwMode="auto">
          <a:xfrm>
            <a:off x="2921411" y="2355747"/>
            <a:ext cx="968330" cy="962345"/>
          </a:xfrm>
          <a:prstGeom prst="rect">
            <a:avLst/>
          </a:prstGeom>
          <a:noFill/>
          <a:ln>
            <a:noFill/>
          </a:ln>
          <a:extLst>
            <a:ext uri="{909E8E84-426E-40DD-AFC4-6F175D3DCCD1}">
              <a14:hiddenFill xmlns:a14="http://schemas.microsoft.com/office/drawing/2010/main">
                <a:solidFill>
                  <a:srgbClr val="B1B3B4"/>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lnSpc>
                <a:spcPct val="95000"/>
              </a:lnSpc>
            </a:pPr>
            <a:r>
              <a:rPr lang="en-US" sz="1100" b="1">
                <a:solidFill>
                  <a:schemeClr val="tx2"/>
                </a:solidFill>
                <a:cs typeface="Arial" pitchFamily="34" charset="0"/>
              </a:rPr>
              <a:t>Monitor &amp; Assure</a:t>
            </a:r>
          </a:p>
        </p:txBody>
      </p:sp>
      <p:sp>
        <p:nvSpPr>
          <p:cNvPr id="62" name="Rectangle 2"/>
          <p:cNvSpPr>
            <a:spLocks noChangeArrowheads="1"/>
          </p:cNvSpPr>
          <p:nvPr/>
        </p:nvSpPr>
        <p:spPr bwMode="auto">
          <a:xfrm>
            <a:off x="3924452" y="4379784"/>
            <a:ext cx="1352550" cy="498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0000"/>
              </a:lnSpc>
            </a:pPr>
            <a:r>
              <a:rPr lang="en-US" sz="1400" b="1">
                <a:solidFill>
                  <a:schemeClr val="bg1"/>
                </a:solidFill>
                <a:cs typeface="Arial" pitchFamily="34" charset="0"/>
              </a:rPr>
              <a:t>Enterprise </a:t>
            </a:r>
          </a:p>
          <a:p>
            <a:pPr algn="ctr">
              <a:lnSpc>
                <a:spcPct val="90000"/>
              </a:lnSpc>
            </a:pPr>
            <a:r>
              <a:rPr lang="en-US" sz="1400" b="1">
                <a:solidFill>
                  <a:schemeClr val="bg1"/>
                </a:solidFill>
                <a:cs typeface="Arial" pitchFamily="34" charset="0"/>
              </a:rPr>
              <a:t>catalog </a:t>
            </a:r>
          </a:p>
        </p:txBody>
      </p:sp>
      <p:sp>
        <p:nvSpPr>
          <p:cNvPr id="63" name="Freeform 3"/>
          <p:cNvSpPr>
            <a:spLocks noChangeAspect="1" noEditPoints="1"/>
          </p:cNvSpPr>
          <p:nvPr/>
        </p:nvSpPr>
        <p:spPr bwMode="auto">
          <a:xfrm>
            <a:off x="4340990" y="3544315"/>
            <a:ext cx="519475" cy="611640"/>
          </a:xfrm>
          <a:custGeom>
            <a:avLst/>
            <a:gdLst>
              <a:gd name="T0" fmla="*/ 2147483647 w 296"/>
              <a:gd name="T1" fmla="*/ 2147483647 h 349"/>
              <a:gd name="T2" fmla="*/ 2147483647 w 296"/>
              <a:gd name="T3" fmla="*/ 2147483647 h 349"/>
              <a:gd name="T4" fmla="*/ 2147483647 w 296"/>
              <a:gd name="T5" fmla="*/ 2147483647 h 349"/>
              <a:gd name="T6" fmla="*/ 2147483647 w 296"/>
              <a:gd name="T7" fmla="*/ 0 h 349"/>
              <a:gd name="T8" fmla="*/ 0 w 296"/>
              <a:gd name="T9" fmla="*/ 2147483647 h 349"/>
              <a:gd name="T10" fmla="*/ 0 w 296"/>
              <a:gd name="T11" fmla="*/ 2147483647 h 349"/>
              <a:gd name="T12" fmla="*/ 0 w 296"/>
              <a:gd name="T13" fmla="*/ 2147483647 h 349"/>
              <a:gd name="T14" fmla="*/ 0 w 296"/>
              <a:gd name="T15" fmla="*/ 2147483647 h 349"/>
              <a:gd name="T16" fmla="*/ 2147483647 w 296"/>
              <a:gd name="T17" fmla="*/ 2147483647 h 349"/>
              <a:gd name="T18" fmla="*/ 2147483647 w 296"/>
              <a:gd name="T19" fmla="*/ 2147483647 h 349"/>
              <a:gd name="T20" fmla="*/ 2147483647 w 296"/>
              <a:gd name="T21" fmla="*/ 2147483647 h 349"/>
              <a:gd name="T22" fmla="*/ 2147483647 w 296"/>
              <a:gd name="T23" fmla="*/ 2147483647 h 349"/>
              <a:gd name="T24" fmla="*/ 2147483647 w 296"/>
              <a:gd name="T25" fmla="*/ 2147483647 h 349"/>
              <a:gd name="T26" fmla="*/ 2147483647 w 296"/>
              <a:gd name="T27" fmla="*/ 2147483647 h 349"/>
              <a:gd name="T28" fmla="*/ 2147483647 w 296"/>
              <a:gd name="T29" fmla="*/ 2147483647 h 349"/>
              <a:gd name="T30" fmla="*/ 2147483647 w 296"/>
              <a:gd name="T31" fmla="*/ 2147483647 h 349"/>
              <a:gd name="T32" fmla="*/ 2147483647 w 296"/>
              <a:gd name="T33" fmla="*/ 2147483647 h 349"/>
              <a:gd name="T34" fmla="*/ 2147483647 w 296"/>
              <a:gd name="T35" fmla="*/ 2147483647 h 349"/>
              <a:gd name="T36" fmla="*/ 2147483647 w 296"/>
              <a:gd name="T37" fmla="*/ 2147483647 h 349"/>
              <a:gd name="T38" fmla="*/ 2147483647 w 296"/>
              <a:gd name="T39" fmla="*/ 2147483647 h 349"/>
              <a:gd name="T40" fmla="*/ 2147483647 w 296"/>
              <a:gd name="T41" fmla="*/ 2147483647 h 349"/>
              <a:gd name="T42" fmla="*/ 2147483647 w 296"/>
              <a:gd name="T43" fmla="*/ 2147483647 h 349"/>
              <a:gd name="T44" fmla="*/ 2147483647 w 296"/>
              <a:gd name="T45" fmla="*/ 2147483647 h 349"/>
              <a:gd name="T46" fmla="*/ 2147483647 w 296"/>
              <a:gd name="T47" fmla="*/ 2147483647 h 349"/>
              <a:gd name="T48" fmla="*/ 2147483647 w 296"/>
              <a:gd name="T49" fmla="*/ 2147483647 h 349"/>
              <a:gd name="T50" fmla="*/ 2147483647 w 296"/>
              <a:gd name="T51" fmla="*/ 2147483647 h 3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96" h="349">
                <a:moveTo>
                  <a:pt x="288" y="106"/>
                </a:moveTo>
                <a:cubicBezTo>
                  <a:pt x="293" y="106"/>
                  <a:pt x="296" y="103"/>
                  <a:pt x="296" y="98"/>
                </a:cubicBezTo>
                <a:cubicBezTo>
                  <a:pt x="296" y="53"/>
                  <a:pt x="296" y="53"/>
                  <a:pt x="296" y="53"/>
                </a:cubicBezTo>
                <a:cubicBezTo>
                  <a:pt x="296" y="18"/>
                  <a:pt x="248" y="0"/>
                  <a:pt x="148" y="0"/>
                </a:cubicBezTo>
                <a:cubicBezTo>
                  <a:pt x="48" y="0"/>
                  <a:pt x="0" y="18"/>
                  <a:pt x="0" y="53"/>
                </a:cubicBezTo>
                <a:cubicBezTo>
                  <a:pt x="0" y="54"/>
                  <a:pt x="0" y="55"/>
                  <a:pt x="0" y="55"/>
                </a:cubicBezTo>
                <a:cubicBezTo>
                  <a:pt x="0" y="55"/>
                  <a:pt x="0" y="56"/>
                  <a:pt x="0" y="56"/>
                </a:cubicBezTo>
                <a:cubicBezTo>
                  <a:pt x="0" y="286"/>
                  <a:pt x="0" y="286"/>
                  <a:pt x="0" y="286"/>
                </a:cubicBezTo>
                <a:cubicBezTo>
                  <a:pt x="0" y="327"/>
                  <a:pt x="50" y="349"/>
                  <a:pt x="148" y="349"/>
                </a:cubicBezTo>
                <a:cubicBezTo>
                  <a:pt x="242" y="349"/>
                  <a:pt x="296" y="326"/>
                  <a:pt x="296" y="286"/>
                </a:cubicBezTo>
                <a:cubicBezTo>
                  <a:pt x="296" y="130"/>
                  <a:pt x="296" y="130"/>
                  <a:pt x="296" y="130"/>
                </a:cubicBezTo>
                <a:cubicBezTo>
                  <a:pt x="296" y="126"/>
                  <a:pt x="293" y="122"/>
                  <a:pt x="288" y="122"/>
                </a:cubicBezTo>
                <a:cubicBezTo>
                  <a:pt x="284" y="122"/>
                  <a:pt x="280" y="126"/>
                  <a:pt x="280" y="130"/>
                </a:cubicBezTo>
                <a:cubicBezTo>
                  <a:pt x="280" y="286"/>
                  <a:pt x="280" y="286"/>
                  <a:pt x="280" y="286"/>
                </a:cubicBezTo>
                <a:cubicBezTo>
                  <a:pt x="280" y="315"/>
                  <a:pt x="230" y="333"/>
                  <a:pt x="148" y="333"/>
                </a:cubicBezTo>
                <a:cubicBezTo>
                  <a:pt x="88" y="333"/>
                  <a:pt x="16" y="325"/>
                  <a:pt x="16" y="286"/>
                </a:cubicBezTo>
                <a:cubicBezTo>
                  <a:pt x="16" y="83"/>
                  <a:pt x="16" y="83"/>
                  <a:pt x="16" y="83"/>
                </a:cubicBezTo>
                <a:cubicBezTo>
                  <a:pt x="37" y="99"/>
                  <a:pt x="81" y="106"/>
                  <a:pt x="148" y="106"/>
                </a:cubicBezTo>
                <a:cubicBezTo>
                  <a:pt x="215" y="106"/>
                  <a:pt x="259" y="99"/>
                  <a:pt x="280" y="83"/>
                </a:cubicBezTo>
                <a:cubicBezTo>
                  <a:pt x="280" y="98"/>
                  <a:pt x="280" y="98"/>
                  <a:pt x="280" y="98"/>
                </a:cubicBezTo>
                <a:cubicBezTo>
                  <a:pt x="280" y="103"/>
                  <a:pt x="284" y="106"/>
                  <a:pt x="288" y="106"/>
                </a:cubicBezTo>
                <a:close/>
                <a:moveTo>
                  <a:pt x="148" y="90"/>
                </a:moveTo>
                <a:cubicBezTo>
                  <a:pt x="63" y="90"/>
                  <a:pt x="16" y="77"/>
                  <a:pt x="16" y="53"/>
                </a:cubicBezTo>
                <a:cubicBezTo>
                  <a:pt x="16" y="30"/>
                  <a:pt x="63" y="16"/>
                  <a:pt x="148" y="16"/>
                </a:cubicBezTo>
                <a:cubicBezTo>
                  <a:pt x="232" y="16"/>
                  <a:pt x="280" y="30"/>
                  <a:pt x="280" y="53"/>
                </a:cubicBezTo>
                <a:cubicBezTo>
                  <a:pt x="280" y="77"/>
                  <a:pt x="233" y="90"/>
                  <a:pt x="148" y="90"/>
                </a:cubicBezTo>
                <a:close/>
              </a:path>
            </a:pathLst>
          </a:custGeom>
          <a:solidFill>
            <a:srgbClr val="FFFFFF"/>
          </a:solidFill>
          <a:ln w="9525" cap="flat" cmpd="sng" algn="ctr">
            <a:solidFill>
              <a:srgbClr val="FFFFFF"/>
            </a:solidFill>
            <a:prstDash val="solid"/>
            <a:round/>
            <a:headEnd type="none" w="med" len="med"/>
            <a:tailEnd type="none" w="med" len="med"/>
          </a:ln>
        </p:spPr>
        <p:txBody>
          <a:bodyPr/>
          <a:lstStyle/>
          <a:p>
            <a:endParaRPr lang="en-US" sz="1600"/>
          </a:p>
        </p:txBody>
      </p:sp>
      <p:sp>
        <p:nvSpPr>
          <p:cNvPr id="64" name="Freeform 6"/>
          <p:cNvSpPr>
            <a:spLocks/>
          </p:cNvSpPr>
          <p:nvPr/>
        </p:nvSpPr>
        <p:spPr bwMode="auto">
          <a:xfrm>
            <a:off x="222971" y="3601769"/>
            <a:ext cx="2194560" cy="548640"/>
          </a:xfrm>
          <a:custGeom>
            <a:avLst/>
            <a:gdLst>
              <a:gd name="T0" fmla="*/ 2147483647 w 1098"/>
              <a:gd name="T1" fmla="*/ 2147483647 h 211"/>
              <a:gd name="T2" fmla="*/ 2147483647 w 1098"/>
              <a:gd name="T3" fmla="*/ 2147483647 h 211"/>
              <a:gd name="T4" fmla="*/ 2147483647 w 1098"/>
              <a:gd name="T5" fmla="*/ 2147483647 h 211"/>
              <a:gd name="T6" fmla="*/ 2147483647 w 1098"/>
              <a:gd name="T7" fmla="*/ 2147483647 h 211"/>
              <a:gd name="T8" fmla="*/ 2147483647 w 1098"/>
              <a:gd name="T9" fmla="*/ 2147483647 h 211"/>
              <a:gd name="T10" fmla="*/ 2147483647 w 1098"/>
              <a:gd name="T11" fmla="*/ 2147483647 h 211"/>
              <a:gd name="T12" fmla="*/ 0 w 1098"/>
              <a:gd name="T13" fmla="*/ 2147483647 h 211"/>
              <a:gd name="T14" fmla="*/ 0 w 1098"/>
              <a:gd name="T15" fmla="*/ 2147483647 h 211"/>
              <a:gd name="T16" fmla="*/ 2147483647 w 1098"/>
              <a:gd name="T17" fmla="*/ 0 h 211"/>
              <a:gd name="T18" fmla="*/ 2147483647 w 1098"/>
              <a:gd name="T19" fmla="*/ 0 h 211"/>
              <a:gd name="T20" fmla="*/ 2147483647 w 1098"/>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8"/>
              <a:gd name="T34" fmla="*/ 0 h 211"/>
              <a:gd name="T35" fmla="*/ 1098 w 1098"/>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8" h="211">
                <a:moveTo>
                  <a:pt x="1002" y="10"/>
                </a:moveTo>
                <a:cubicBezTo>
                  <a:pt x="1087" y="95"/>
                  <a:pt x="1087" y="95"/>
                  <a:pt x="1087" y="95"/>
                </a:cubicBezTo>
                <a:cubicBezTo>
                  <a:pt x="1087" y="95"/>
                  <a:pt x="1098" y="105"/>
                  <a:pt x="1087" y="116"/>
                </a:cubicBezTo>
                <a:cubicBezTo>
                  <a:pt x="1075" y="128"/>
                  <a:pt x="1002" y="201"/>
                  <a:pt x="1002" y="201"/>
                </a:cubicBezTo>
                <a:cubicBezTo>
                  <a:pt x="1002" y="201"/>
                  <a:pt x="991" y="211"/>
                  <a:pt x="976" y="211"/>
                </a:cubicBezTo>
                <a:cubicBezTo>
                  <a:pt x="969" y="211"/>
                  <a:pt x="21" y="211"/>
                  <a:pt x="21" y="211"/>
                </a:cubicBezTo>
                <a:cubicBezTo>
                  <a:pt x="9" y="211"/>
                  <a:pt x="0" y="202"/>
                  <a:pt x="0" y="190"/>
                </a:cubicBezTo>
                <a:cubicBezTo>
                  <a:pt x="0" y="21"/>
                  <a:pt x="0" y="21"/>
                  <a:pt x="0" y="21"/>
                </a:cubicBezTo>
                <a:cubicBezTo>
                  <a:pt x="0" y="9"/>
                  <a:pt x="9" y="0"/>
                  <a:pt x="21" y="0"/>
                </a:cubicBezTo>
                <a:cubicBezTo>
                  <a:pt x="21" y="0"/>
                  <a:pt x="969" y="0"/>
                  <a:pt x="976" y="0"/>
                </a:cubicBezTo>
                <a:cubicBezTo>
                  <a:pt x="992" y="0"/>
                  <a:pt x="1002" y="10"/>
                  <a:pt x="1002" y="10"/>
                </a:cubicBezTo>
                <a:close/>
              </a:path>
            </a:pathLst>
          </a:custGeom>
          <a:solidFill>
            <a:srgbClr val="89BA17"/>
          </a:solidFill>
          <a:ln w="9525">
            <a:noFill/>
            <a:miter lim="800000"/>
            <a:headEnd/>
            <a:tailEnd/>
          </a:ln>
          <a:extLst>
            <a:ext uri="{91240B29-F687-4F45-9708-019B960494DF}">
              <a14:hiddenLine xmlns:a14="http://schemas.microsoft.com/office/drawing/2010/main" w="9525">
                <a:solidFill>
                  <a:schemeClr val="bg1"/>
                </a:solidFill>
                <a:miter lim="800000"/>
                <a:headEnd/>
                <a:tailEnd/>
              </a14:hiddenLine>
            </a:ext>
          </a:extLst>
        </p:spPr>
        <p:txBody>
          <a:bodyPr anchor="ctr"/>
          <a:lstStyle/>
          <a:p>
            <a:pPr algn="l">
              <a:lnSpc>
                <a:spcPct val="90000"/>
              </a:lnSpc>
            </a:pPr>
            <a:r>
              <a:rPr lang="en-US" sz="1600" dirty="0">
                <a:solidFill>
                  <a:schemeClr val="bg1"/>
                </a:solidFill>
                <a:cs typeface="Arial" pitchFamily="34" charset="0"/>
              </a:rPr>
              <a:t>Componentized processes</a:t>
            </a:r>
          </a:p>
        </p:txBody>
      </p:sp>
      <p:sp>
        <p:nvSpPr>
          <p:cNvPr id="65" name="Freeform 6"/>
          <p:cNvSpPr>
            <a:spLocks/>
          </p:cNvSpPr>
          <p:nvPr/>
        </p:nvSpPr>
        <p:spPr bwMode="auto">
          <a:xfrm>
            <a:off x="222971" y="2935668"/>
            <a:ext cx="2194560" cy="548640"/>
          </a:xfrm>
          <a:custGeom>
            <a:avLst/>
            <a:gdLst>
              <a:gd name="T0" fmla="*/ 2147483647 w 1098"/>
              <a:gd name="T1" fmla="*/ 2147483647 h 211"/>
              <a:gd name="T2" fmla="*/ 2147483647 w 1098"/>
              <a:gd name="T3" fmla="*/ 2147483647 h 211"/>
              <a:gd name="T4" fmla="*/ 2147483647 w 1098"/>
              <a:gd name="T5" fmla="*/ 2147483647 h 211"/>
              <a:gd name="T6" fmla="*/ 2147483647 w 1098"/>
              <a:gd name="T7" fmla="*/ 2147483647 h 211"/>
              <a:gd name="T8" fmla="*/ 2147483647 w 1098"/>
              <a:gd name="T9" fmla="*/ 2147483647 h 211"/>
              <a:gd name="T10" fmla="*/ 2147483647 w 1098"/>
              <a:gd name="T11" fmla="*/ 2147483647 h 211"/>
              <a:gd name="T12" fmla="*/ 0 w 1098"/>
              <a:gd name="T13" fmla="*/ 2147483647 h 211"/>
              <a:gd name="T14" fmla="*/ 0 w 1098"/>
              <a:gd name="T15" fmla="*/ 2147483647 h 211"/>
              <a:gd name="T16" fmla="*/ 2147483647 w 1098"/>
              <a:gd name="T17" fmla="*/ 0 h 211"/>
              <a:gd name="T18" fmla="*/ 2147483647 w 1098"/>
              <a:gd name="T19" fmla="*/ 0 h 211"/>
              <a:gd name="T20" fmla="*/ 2147483647 w 1098"/>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8"/>
              <a:gd name="T34" fmla="*/ 0 h 211"/>
              <a:gd name="T35" fmla="*/ 1098 w 1098"/>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8" h="211">
                <a:moveTo>
                  <a:pt x="1002" y="10"/>
                </a:moveTo>
                <a:cubicBezTo>
                  <a:pt x="1087" y="95"/>
                  <a:pt x="1087" y="95"/>
                  <a:pt x="1087" y="95"/>
                </a:cubicBezTo>
                <a:cubicBezTo>
                  <a:pt x="1087" y="95"/>
                  <a:pt x="1098" y="105"/>
                  <a:pt x="1087" y="116"/>
                </a:cubicBezTo>
                <a:cubicBezTo>
                  <a:pt x="1075" y="128"/>
                  <a:pt x="1002" y="201"/>
                  <a:pt x="1002" y="201"/>
                </a:cubicBezTo>
                <a:cubicBezTo>
                  <a:pt x="1002" y="201"/>
                  <a:pt x="991" y="211"/>
                  <a:pt x="976" y="211"/>
                </a:cubicBezTo>
                <a:cubicBezTo>
                  <a:pt x="969" y="211"/>
                  <a:pt x="21" y="211"/>
                  <a:pt x="21" y="211"/>
                </a:cubicBezTo>
                <a:cubicBezTo>
                  <a:pt x="9" y="211"/>
                  <a:pt x="0" y="202"/>
                  <a:pt x="0" y="190"/>
                </a:cubicBezTo>
                <a:cubicBezTo>
                  <a:pt x="0" y="21"/>
                  <a:pt x="0" y="21"/>
                  <a:pt x="0" y="21"/>
                </a:cubicBezTo>
                <a:cubicBezTo>
                  <a:pt x="0" y="9"/>
                  <a:pt x="9" y="0"/>
                  <a:pt x="21" y="0"/>
                </a:cubicBezTo>
                <a:cubicBezTo>
                  <a:pt x="21" y="0"/>
                  <a:pt x="969" y="0"/>
                  <a:pt x="976" y="0"/>
                </a:cubicBezTo>
                <a:cubicBezTo>
                  <a:pt x="992" y="0"/>
                  <a:pt x="1002" y="10"/>
                  <a:pt x="1002" y="10"/>
                </a:cubicBezTo>
                <a:close/>
              </a:path>
            </a:pathLst>
          </a:custGeom>
          <a:solidFill>
            <a:srgbClr val="007B78"/>
          </a:solidFill>
          <a:ln w="9525">
            <a:noFill/>
            <a:miter lim="800000"/>
            <a:headEnd/>
            <a:tailEnd/>
          </a:ln>
          <a:extLst>
            <a:ext uri="{91240B29-F687-4F45-9708-019B960494DF}">
              <a14:hiddenLine xmlns:a14="http://schemas.microsoft.com/office/drawing/2010/main" w="9525">
                <a:solidFill>
                  <a:schemeClr val="bg2">
                    <a:lumMod val="50000"/>
                  </a:schemeClr>
                </a:solidFill>
                <a:miter lim="800000"/>
                <a:headEnd/>
                <a:tailEnd/>
              </a14:hiddenLine>
            </a:ext>
          </a:extLst>
        </p:spPr>
        <p:txBody>
          <a:bodyPr anchor="ctr"/>
          <a:lstStyle/>
          <a:p>
            <a:pPr algn="l">
              <a:lnSpc>
                <a:spcPct val="90000"/>
              </a:lnSpc>
              <a:defRPr/>
            </a:pPr>
            <a:r>
              <a:rPr lang="en-US" sz="1600" dirty="0">
                <a:solidFill>
                  <a:schemeClr val="bg1"/>
                </a:solidFill>
                <a:cs typeface="Arial" pitchFamily="34" charset="0"/>
              </a:rPr>
              <a:t>Full product lifecycle management</a:t>
            </a:r>
            <a:endParaRPr lang="sv-SE" sz="1600" dirty="0">
              <a:solidFill>
                <a:schemeClr val="bg1"/>
              </a:solidFill>
              <a:cs typeface="Arial" pitchFamily="34" charset="0"/>
            </a:endParaRPr>
          </a:p>
        </p:txBody>
      </p:sp>
      <p:sp>
        <p:nvSpPr>
          <p:cNvPr id="66" name="Freeform 6"/>
          <p:cNvSpPr>
            <a:spLocks/>
          </p:cNvSpPr>
          <p:nvPr/>
        </p:nvSpPr>
        <p:spPr bwMode="auto">
          <a:xfrm>
            <a:off x="222971" y="2269567"/>
            <a:ext cx="2194560" cy="548640"/>
          </a:xfrm>
          <a:custGeom>
            <a:avLst/>
            <a:gdLst>
              <a:gd name="T0" fmla="*/ 2147483647 w 1098"/>
              <a:gd name="T1" fmla="*/ 2147483647 h 211"/>
              <a:gd name="T2" fmla="*/ 2147483647 w 1098"/>
              <a:gd name="T3" fmla="*/ 2147483647 h 211"/>
              <a:gd name="T4" fmla="*/ 2147483647 w 1098"/>
              <a:gd name="T5" fmla="*/ 2147483647 h 211"/>
              <a:gd name="T6" fmla="*/ 2147483647 w 1098"/>
              <a:gd name="T7" fmla="*/ 2147483647 h 211"/>
              <a:gd name="T8" fmla="*/ 2147483647 w 1098"/>
              <a:gd name="T9" fmla="*/ 2147483647 h 211"/>
              <a:gd name="T10" fmla="*/ 2147483647 w 1098"/>
              <a:gd name="T11" fmla="*/ 2147483647 h 211"/>
              <a:gd name="T12" fmla="*/ 0 w 1098"/>
              <a:gd name="T13" fmla="*/ 2147483647 h 211"/>
              <a:gd name="T14" fmla="*/ 0 w 1098"/>
              <a:gd name="T15" fmla="*/ 2147483647 h 211"/>
              <a:gd name="T16" fmla="*/ 2147483647 w 1098"/>
              <a:gd name="T17" fmla="*/ 0 h 211"/>
              <a:gd name="T18" fmla="*/ 2147483647 w 1098"/>
              <a:gd name="T19" fmla="*/ 0 h 211"/>
              <a:gd name="T20" fmla="*/ 2147483647 w 1098"/>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8"/>
              <a:gd name="T34" fmla="*/ 0 h 211"/>
              <a:gd name="T35" fmla="*/ 1098 w 1098"/>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8" h="211">
                <a:moveTo>
                  <a:pt x="1002" y="10"/>
                </a:moveTo>
                <a:cubicBezTo>
                  <a:pt x="1087" y="95"/>
                  <a:pt x="1087" y="95"/>
                  <a:pt x="1087" y="95"/>
                </a:cubicBezTo>
                <a:cubicBezTo>
                  <a:pt x="1087" y="95"/>
                  <a:pt x="1098" y="105"/>
                  <a:pt x="1087" y="116"/>
                </a:cubicBezTo>
                <a:cubicBezTo>
                  <a:pt x="1075" y="128"/>
                  <a:pt x="1002" y="201"/>
                  <a:pt x="1002" y="201"/>
                </a:cubicBezTo>
                <a:cubicBezTo>
                  <a:pt x="1002" y="201"/>
                  <a:pt x="991" y="211"/>
                  <a:pt x="976" y="211"/>
                </a:cubicBezTo>
                <a:cubicBezTo>
                  <a:pt x="969" y="211"/>
                  <a:pt x="21" y="211"/>
                  <a:pt x="21" y="211"/>
                </a:cubicBezTo>
                <a:cubicBezTo>
                  <a:pt x="9" y="211"/>
                  <a:pt x="0" y="202"/>
                  <a:pt x="0" y="190"/>
                </a:cubicBezTo>
                <a:cubicBezTo>
                  <a:pt x="0" y="21"/>
                  <a:pt x="0" y="21"/>
                  <a:pt x="0" y="21"/>
                </a:cubicBezTo>
                <a:cubicBezTo>
                  <a:pt x="0" y="9"/>
                  <a:pt x="9" y="0"/>
                  <a:pt x="21" y="0"/>
                </a:cubicBezTo>
                <a:cubicBezTo>
                  <a:pt x="21" y="0"/>
                  <a:pt x="969" y="0"/>
                  <a:pt x="976" y="0"/>
                </a:cubicBezTo>
                <a:cubicBezTo>
                  <a:pt x="992" y="0"/>
                  <a:pt x="1002" y="10"/>
                  <a:pt x="1002" y="10"/>
                </a:cubicBezTo>
                <a:close/>
              </a:path>
            </a:pathLst>
          </a:custGeom>
          <a:solidFill>
            <a:srgbClr val="00A9D4"/>
          </a:solidFill>
          <a:ln w="9525">
            <a:noFill/>
            <a:miter lim="800000"/>
            <a:headEnd/>
            <a:tailEnd/>
          </a:ln>
          <a:extLst>
            <a:ext uri="{91240B29-F687-4F45-9708-019B960494DF}">
              <a14:hiddenLine xmlns:a14="http://schemas.microsoft.com/office/drawing/2010/main" w="9525">
                <a:solidFill>
                  <a:schemeClr val="bg2">
                    <a:lumMod val="50000"/>
                  </a:schemeClr>
                </a:solidFill>
                <a:miter lim="800000"/>
                <a:headEnd/>
                <a:tailEnd/>
              </a14:hiddenLine>
            </a:ext>
          </a:extLst>
        </p:spPr>
        <p:txBody>
          <a:bodyPr anchor="ctr"/>
          <a:lstStyle/>
          <a:p>
            <a:pPr algn="l">
              <a:lnSpc>
                <a:spcPct val="90000"/>
              </a:lnSpc>
              <a:defRPr/>
            </a:pPr>
            <a:r>
              <a:rPr lang="en-US" sz="1600" dirty="0">
                <a:solidFill>
                  <a:schemeClr val="bg1"/>
                </a:solidFill>
                <a:cs typeface="Arial" pitchFamily="34" charset="0"/>
              </a:rPr>
              <a:t>Catalog-driven</a:t>
            </a:r>
            <a:br>
              <a:rPr lang="en-US" sz="1600" dirty="0">
                <a:solidFill>
                  <a:schemeClr val="bg1"/>
                </a:solidFill>
                <a:cs typeface="Arial" pitchFamily="34" charset="0"/>
              </a:rPr>
            </a:br>
            <a:r>
              <a:rPr lang="en-US" sz="1600" dirty="0">
                <a:solidFill>
                  <a:schemeClr val="bg1"/>
                </a:solidFill>
                <a:cs typeface="Arial" pitchFamily="34" charset="0"/>
              </a:rPr>
              <a:t>processes</a:t>
            </a:r>
          </a:p>
        </p:txBody>
      </p:sp>
      <p:sp>
        <p:nvSpPr>
          <p:cNvPr id="67" name="Freeform 6"/>
          <p:cNvSpPr>
            <a:spLocks/>
          </p:cNvSpPr>
          <p:nvPr/>
        </p:nvSpPr>
        <p:spPr bwMode="auto">
          <a:xfrm>
            <a:off x="222971" y="4933971"/>
            <a:ext cx="2194560" cy="548640"/>
          </a:xfrm>
          <a:custGeom>
            <a:avLst/>
            <a:gdLst>
              <a:gd name="T0" fmla="*/ 2147483647 w 1098"/>
              <a:gd name="T1" fmla="*/ 2147483647 h 211"/>
              <a:gd name="T2" fmla="*/ 2147483647 w 1098"/>
              <a:gd name="T3" fmla="*/ 2147483647 h 211"/>
              <a:gd name="T4" fmla="*/ 2147483647 w 1098"/>
              <a:gd name="T5" fmla="*/ 2147483647 h 211"/>
              <a:gd name="T6" fmla="*/ 2147483647 w 1098"/>
              <a:gd name="T7" fmla="*/ 2147483647 h 211"/>
              <a:gd name="T8" fmla="*/ 2147483647 w 1098"/>
              <a:gd name="T9" fmla="*/ 2147483647 h 211"/>
              <a:gd name="T10" fmla="*/ 2147483647 w 1098"/>
              <a:gd name="T11" fmla="*/ 2147483647 h 211"/>
              <a:gd name="T12" fmla="*/ 0 w 1098"/>
              <a:gd name="T13" fmla="*/ 2147483647 h 211"/>
              <a:gd name="T14" fmla="*/ 0 w 1098"/>
              <a:gd name="T15" fmla="*/ 2147483647 h 211"/>
              <a:gd name="T16" fmla="*/ 2147483647 w 1098"/>
              <a:gd name="T17" fmla="*/ 0 h 211"/>
              <a:gd name="T18" fmla="*/ 2147483647 w 1098"/>
              <a:gd name="T19" fmla="*/ 0 h 211"/>
              <a:gd name="T20" fmla="*/ 2147483647 w 1098"/>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8"/>
              <a:gd name="T34" fmla="*/ 0 h 211"/>
              <a:gd name="T35" fmla="*/ 1098 w 1098"/>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8" h="211">
                <a:moveTo>
                  <a:pt x="1002" y="10"/>
                </a:moveTo>
                <a:cubicBezTo>
                  <a:pt x="1087" y="95"/>
                  <a:pt x="1087" y="95"/>
                  <a:pt x="1087" y="95"/>
                </a:cubicBezTo>
                <a:cubicBezTo>
                  <a:pt x="1087" y="95"/>
                  <a:pt x="1098" y="105"/>
                  <a:pt x="1087" y="116"/>
                </a:cubicBezTo>
                <a:cubicBezTo>
                  <a:pt x="1075" y="128"/>
                  <a:pt x="1002" y="201"/>
                  <a:pt x="1002" y="201"/>
                </a:cubicBezTo>
                <a:cubicBezTo>
                  <a:pt x="1002" y="201"/>
                  <a:pt x="991" y="211"/>
                  <a:pt x="976" y="211"/>
                </a:cubicBezTo>
                <a:cubicBezTo>
                  <a:pt x="969" y="211"/>
                  <a:pt x="21" y="211"/>
                  <a:pt x="21" y="211"/>
                </a:cubicBezTo>
                <a:cubicBezTo>
                  <a:pt x="9" y="211"/>
                  <a:pt x="0" y="202"/>
                  <a:pt x="0" y="190"/>
                </a:cubicBezTo>
                <a:cubicBezTo>
                  <a:pt x="0" y="21"/>
                  <a:pt x="0" y="21"/>
                  <a:pt x="0" y="21"/>
                </a:cubicBezTo>
                <a:cubicBezTo>
                  <a:pt x="0" y="9"/>
                  <a:pt x="9" y="0"/>
                  <a:pt x="21" y="0"/>
                </a:cubicBezTo>
                <a:cubicBezTo>
                  <a:pt x="21" y="0"/>
                  <a:pt x="969" y="0"/>
                  <a:pt x="976" y="0"/>
                </a:cubicBezTo>
                <a:cubicBezTo>
                  <a:pt x="992" y="0"/>
                  <a:pt x="1002" y="10"/>
                  <a:pt x="1002" y="10"/>
                </a:cubicBezTo>
                <a:close/>
              </a:path>
            </a:pathLst>
          </a:custGeom>
          <a:solidFill>
            <a:srgbClr val="F08A00"/>
          </a:solidFill>
          <a:ln w="9525">
            <a:noFill/>
            <a:miter lim="800000"/>
            <a:headEnd/>
            <a:tailEnd/>
          </a:ln>
          <a:extLst>
            <a:ext uri="{91240B29-F687-4F45-9708-019B960494DF}">
              <a14:hiddenLine xmlns:a14="http://schemas.microsoft.com/office/drawing/2010/main" w="9525">
                <a:solidFill>
                  <a:schemeClr val="bg1"/>
                </a:solidFill>
                <a:miter lim="800000"/>
                <a:headEnd/>
                <a:tailEnd/>
              </a14:hiddenLine>
            </a:ext>
          </a:extLst>
        </p:spPr>
        <p:txBody>
          <a:bodyPr anchor="ctr"/>
          <a:lstStyle/>
          <a:p>
            <a:pPr algn="l">
              <a:lnSpc>
                <a:spcPct val="90000"/>
              </a:lnSpc>
            </a:pPr>
            <a:r>
              <a:rPr lang="en-US" sz="1600" dirty="0">
                <a:solidFill>
                  <a:schemeClr val="bg1"/>
                </a:solidFill>
                <a:cs typeface="Arial" pitchFamily="34" charset="0"/>
              </a:rPr>
              <a:t>Assembly and reuse</a:t>
            </a:r>
          </a:p>
        </p:txBody>
      </p:sp>
      <p:sp>
        <p:nvSpPr>
          <p:cNvPr id="68" name="Freeform 6"/>
          <p:cNvSpPr>
            <a:spLocks/>
          </p:cNvSpPr>
          <p:nvPr/>
        </p:nvSpPr>
        <p:spPr bwMode="auto">
          <a:xfrm>
            <a:off x="222971" y="4267870"/>
            <a:ext cx="2194560" cy="548640"/>
          </a:xfrm>
          <a:custGeom>
            <a:avLst/>
            <a:gdLst>
              <a:gd name="T0" fmla="*/ 2147483647 w 1098"/>
              <a:gd name="T1" fmla="*/ 2147483647 h 211"/>
              <a:gd name="T2" fmla="*/ 2147483647 w 1098"/>
              <a:gd name="T3" fmla="*/ 2147483647 h 211"/>
              <a:gd name="T4" fmla="*/ 2147483647 w 1098"/>
              <a:gd name="T5" fmla="*/ 2147483647 h 211"/>
              <a:gd name="T6" fmla="*/ 2147483647 w 1098"/>
              <a:gd name="T7" fmla="*/ 2147483647 h 211"/>
              <a:gd name="T8" fmla="*/ 2147483647 w 1098"/>
              <a:gd name="T9" fmla="*/ 2147483647 h 211"/>
              <a:gd name="T10" fmla="*/ 2147483647 w 1098"/>
              <a:gd name="T11" fmla="*/ 2147483647 h 211"/>
              <a:gd name="T12" fmla="*/ 0 w 1098"/>
              <a:gd name="T13" fmla="*/ 2147483647 h 211"/>
              <a:gd name="T14" fmla="*/ 0 w 1098"/>
              <a:gd name="T15" fmla="*/ 2147483647 h 211"/>
              <a:gd name="T16" fmla="*/ 2147483647 w 1098"/>
              <a:gd name="T17" fmla="*/ 0 h 211"/>
              <a:gd name="T18" fmla="*/ 2147483647 w 1098"/>
              <a:gd name="T19" fmla="*/ 0 h 211"/>
              <a:gd name="T20" fmla="*/ 2147483647 w 1098"/>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8"/>
              <a:gd name="T34" fmla="*/ 0 h 211"/>
              <a:gd name="T35" fmla="*/ 1098 w 1098"/>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8" h="211">
                <a:moveTo>
                  <a:pt x="1002" y="10"/>
                </a:moveTo>
                <a:cubicBezTo>
                  <a:pt x="1087" y="95"/>
                  <a:pt x="1087" y="95"/>
                  <a:pt x="1087" y="95"/>
                </a:cubicBezTo>
                <a:cubicBezTo>
                  <a:pt x="1087" y="95"/>
                  <a:pt x="1098" y="105"/>
                  <a:pt x="1087" y="116"/>
                </a:cubicBezTo>
                <a:cubicBezTo>
                  <a:pt x="1075" y="128"/>
                  <a:pt x="1002" y="201"/>
                  <a:pt x="1002" y="201"/>
                </a:cubicBezTo>
                <a:cubicBezTo>
                  <a:pt x="1002" y="201"/>
                  <a:pt x="991" y="211"/>
                  <a:pt x="976" y="211"/>
                </a:cubicBezTo>
                <a:cubicBezTo>
                  <a:pt x="969" y="211"/>
                  <a:pt x="21" y="211"/>
                  <a:pt x="21" y="211"/>
                </a:cubicBezTo>
                <a:cubicBezTo>
                  <a:pt x="9" y="211"/>
                  <a:pt x="0" y="202"/>
                  <a:pt x="0" y="190"/>
                </a:cubicBezTo>
                <a:cubicBezTo>
                  <a:pt x="0" y="21"/>
                  <a:pt x="0" y="21"/>
                  <a:pt x="0" y="21"/>
                </a:cubicBezTo>
                <a:cubicBezTo>
                  <a:pt x="0" y="9"/>
                  <a:pt x="9" y="0"/>
                  <a:pt x="21" y="0"/>
                </a:cubicBezTo>
                <a:cubicBezTo>
                  <a:pt x="21" y="0"/>
                  <a:pt x="969" y="0"/>
                  <a:pt x="976" y="0"/>
                </a:cubicBezTo>
                <a:cubicBezTo>
                  <a:pt x="992" y="0"/>
                  <a:pt x="1002" y="10"/>
                  <a:pt x="1002" y="10"/>
                </a:cubicBezTo>
                <a:close/>
              </a:path>
            </a:pathLst>
          </a:custGeom>
          <a:solidFill>
            <a:srgbClr val="FABB00"/>
          </a:solidFill>
          <a:ln w="9525">
            <a:noFill/>
            <a:miter lim="800000"/>
            <a:headEnd/>
            <a:tailEnd/>
          </a:ln>
          <a:extLst>
            <a:ext uri="{91240B29-F687-4F45-9708-019B960494DF}">
              <a14:hiddenLine xmlns:a14="http://schemas.microsoft.com/office/drawing/2010/main" w="9525">
                <a:solidFill>
                  <a:schemeClr val="bg1"/>
                </a:solidFill>
                <a:miter lim="800000"/>
                <a:headEnd/>
                <a:tailEnd/>
              </a14:hiddenLine>
            </a:ext>
          </a:extLst>
        </p:spPr>
        <p:txBody>
          <a:bodyPr anchor="ctr"/>
          <a:lstStyle/>
          <a:p>
            <a:pPr algn="l">
              <a:lnSpc>
                <a:spcPct val="90000"/>
              </a:lnSpc>
            </a:pPr>
            <a:r>
              <a:rPr lang="en-US" sz="1600" dirty="0">
                <a:solidFill>
                  <a:schemeClr val="bg1"/>
                </a:solidFill>
                <a:cs typeface="Arial" pitchFamily="34" charset="0"/>
              </a:rPr>
              <a:t>Coordinated configuration</a:t>
            </a:r>
            <a:endParaRPr lang="sv-SE" sz="1600" dirty="0">
              <a:solidFill>
                <a:schemeClr val="bg1"/>
              </a:solidFill>
              <a:cs typeface="Arial" pitchFamily="34" charset="0"/>
            </a:endParaRPr>
          </a:p>
        </p:txBody>
      </p:sp>
      <p:sp>
        <p:nvSpPr>
          <p:cNvPr id="69" name="Freeform 6"/>
          <p:cNvSpPr>
            <a:spLocks/>
          </p:cNvSpPr>
          <p:nvPr/>
        </p:nvSpPr>
        <p:spPr bwMode="auto">
          <a:xfrm>
            <a:off x="6762760" y="2850086"/>
            <a:ext cx="2194560" cy="548640"/>
          </a:xfrm>
          <a:custGeom>
            <a:avLst/>
            <a:gdLst>
              <a:gd name="T0" fmla="*/ 2147483647 w 1098"/>
              <a:gd name="T1" fmla="*/ 2147483647 h 211"/>
              <a:gd name="T2" fmla="*/ 2147483647 w 1098"/>
              <a:gd name="T3" fmla="*/ 2147483647 h 211"/>
              <a:gd name="T4" fmla="*/ 2147483647 w 1098"/>
              <a:gd name="T5" fmla="*/ 2147483647 h 211"/>
              <a:gd name="T6" fmla="*/ 2147483647 w 1098"/>
              <a:gd name="T7" fmla="*/ 2147483647 h 211"/>
              <a:gd name="T8" fmla="*/ 2147483647 w 1098"/>
              <a:gd name="T9" fmla="*/ 2147483647 h 211"/>
              <a:gd name="T10" fmla="*/ 2147483647 w 1098"/>
              <a:gd name="T11" fmla="*/ 2147483647 h 211"/>
              <a:gd name="T12" fmla="*/ 0 w 1098"/>
              <a:gd name="T13" fmla="*/ 2147483647 h 211"/>
              <a:gd name="T14" fmla="*/ 0 w 1098"/>
              <a:gd name="T15" fmla="*/ 2147483647 h 211"/>
              <a:gd name="T16" fmla="*/ 2147483647 w 1098"/>
              <a:gd name="T17" fmla="*/ 0 h 211"/>
              <a:gd name="T18" fmla="*/ 2147483647 w 1098"/>
              <a:gd name="T19" fmla="*/ 0 h 211"/>
              <a:gd name="T20" fmla="*/ 2147483647 w 1098"/>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8"/>
              <a:gd name="T34" fmla="*/ 0 h 211"/>
              <a:gd name="T35" fmla="*/ 1098 w 1098"/>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8" h="211">
                <a:moveTo>
                  <a:pt x="1002" y="10"/>
                </a:moveTo>
                <a:cubicBezTo>
                  <a:pt x="1087" y="95"/>
                  <a:pt x="1087" y="95"/>
                  <a:pt x="1087" y="95"/>
                </a:cubicBezTo>
                <a:cubicBezTo>
                  <a:pt x="1087" y="95"/>
                  <a:pt x="1098" y="105"/>
                  <a:pt x="1087" y="116"/>
                </a:cubicBezTo>
                <a:cubicBezTo>
                  <a:pt x="1075" y="128"/>
                  <a:pt x="1002" y="201"/>
                  <a:pt x="1002" y="201"/>
                </a:cubicBezTo>
                <a:cubicBezTo>
                  <a:pt x="1002" y="201"/>
                  <a:pt x="991" y="211"/>
                  <a:pt x="976" y="211"/>
                </a:cubicBezTo>
                <a:cubicBezTo>
                  <a:pt x="969" y="211"/>
                  <a:pt x="21" y="211"/>
                  <a:pt x="21" y="211"/>
                </a:cubicBezTo>
                <a:cubicBezTo>
                  <a:pt x="9" y="211"/>
                  <a:pt x="0" y="202"/>
                  <a:pt x="0" y="190"/>
                </a:cubicBezTo>
                <a:cubicBezTo>
                  <a:pt x="0" y="21"/>
                  <a:pt x="0" y="21"/>
                  <a:pt x="0" y="21"/>
                </a:cubicBezTo>
                <a:cubicBezTo>
                  <a:pt x="0" y="9"/>
                  <a:pt x="9" y="0"/>
                  <a:pt x="21" y="0"/>
                </a:cubicBezTo>
                <a:cubicBezTo>
                  <a:pt x="21" y="0"/>
                  <a:pt x="969" y="0"/>
                  <a:pt x="976" y="0"/>
                </a:cubicBezTo>
                <a:cubicBezTo>
                  <a:pt x="992" y="0"/>
                  <a:pt x="1002" y="10"/>
                  <a:pt x="1002" y="10"/>
                </a:cubicBezTo>
                <a:close/>
              </a:path>
            </a:pathLst>
          </a:custGeom>
          <a:solidFill>
            <a:srgbClr val="FABB00"/>
          </a:solidFill>
          <a:ln w="9525">
            <a:solidFill>
              <a:schemeClr val="bg1"/>
            </a:solidFill>
            <a:miter lim="800000"/>
            <a:headEnd/>
            <a:tailEnd/>
          </a:ln>
        </p:spPr>
        <p:txBody>
          <a:bodyPr anchor="ctr"/>
          <a:lstStyle/>
          <a:p>
            <a:pPr algn="l"/>
            <a:r>
              <a:rPr lang="en-US" sz="1600" dirty="0">
                <a:solidFill>
                  <a:schemeClr val="bg1"/>
                </a:solidFill>
                <a:cs typeface="Arial" pitchFamily="34" charset="0"/>
              </a:rPr>
              <a:t>Stand-alone</a:t>
            </a:r>
          </a:p>
        </p:txBody>
      </p:sp>
      <p:sp>
        <p:nvSpPr>
          <p:cNvPr id="70" name="Freeform 6"/>
          <p:cNvSpPr>
            <a:spLocks/>
          </p:cNvSpPr>
          <p:nvPr/>
        </p:nvSpPr>
        <p:spPr bwMode="auto">
          <a:xfrm>
            <a:off x="6762760" y="3649048"/>
            <a:ext cx="2194560" cy="548640"/>
          </a:xfrm>
          <a:custGeom>
            <a:avLst/>
            <a:gdLst>
              <a:gd name="T0" fmla="*/ 2147483647 w 1098"/>
              <a:gd name="T1" fmla="*/ 2147483647 h 211"/>
              <a:gd name="T2" fmla="*/ 2147483647 w 1098"/>
              <a:gd name="T3" fmla="*/ 2147483647 h 211"/>
              <a:gd name="T4" fmla="*/ 2147483647 w 1098"/>
              <a:gd name="T5" fmla="*/ 2147483647 h 211"/>
              <a:gd name="T6" fmla="*/ 2147483647 w 1098"/>
              <a:gd name="T7" fmla="*/ 2147483647 h 211"/>
              <a:gd name="T8" fmla="*/ 2147483647 w 1098"/>
              <a:gd name="T9" fmla="*/ 2147483647 h 211"/>
              <a:gd name="T10" fmla="*/ 2147483647 w 1098"/>
              <a:gd name="T11" fmla="*/ 2147483647 h 211"/>
              <a:gd name="T12" fmla="*/ 0 w 1098"/>
              <a:gd name="T13" fmla="*/ 2147483647 h 211"/>
              <a:gd name="T14" fmla="*/ 0 w 1098"/>
              <a:gd name="T15" fmla="*/ 2147483647 h 211"/>
              <a:gd name="T16" fmla="*/ 2147483647 w 1098"/>
              <a:gd name="T17" fmla="*/ 0 h 211"/>
              <a:gd name="T18" fmla="*/ 2147483647 w 1098"/>
              <a:gd name="T19" fmla="*/ 0 h 211"/>
              <a:gd name="T20" fmla="*/ 2147483647 w 1098"/>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8"/>
              <a:gd name="T34" fmla="*/ 0 h 211"/>
              <a:gd name="T35" fmla="*/ 1098 w 1098"/>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8" h="211">
                <a:moveTo>
                  <a:pt x="1002" y="10"/>
                </a:moveTo>
                <a:cubicBezTo>
                  <a:pt x="1087" y="95"/>
                  <a:pt x="1087" y="95"/>
                  <a:pt x="1087" y="95"/>
                </a:cubicBezTo>
                <a:cubicBezTo>
                  <a:pt x="1087" y="95"/>
                  <a:pt x="1098" y="105"/>
                  <a:pt x="1087" y="116"/>
                </a:cubicBezTo>
                <a:cubicBezTo>
                  <a:pt x="1075" y="128"/>
                  <a:pt x="1002" y="201"/>
                  <a:pt x="1002" y="201"/>
                </a:cubicBezTo>
                <a:cubicBezTo>
                  <a:pt x="1002" y="201"/>
                  <a:pt x="991" y="211"/>
                  <a:pt x="976" y="211"/>
                </a:cubicBezTo>
                <a:cubicBezTo>
                  <a:pt x="969" y="211"/>
                  <a:pt x="21" y="211"/>
                  <a:pt x="21" y="211"/>
                </a:cubicBezTo>
                <a:cubicBezTo>
                  <a:pt x="9" y="211"/>
                  <a:pt x="0" y="202"/>
                  <a:pt x="0" y="190"/>
                </a:cubicBezTo>
                <a:cubicBezTo>
                  <a:pt x="0" y="21"/>
                  <a:pt x="0" y="21"/>
                  <a:pt x="0" y="21"/>
                </a:cubicBezTo>
                <a:cubicBezTo>
                  <a:pt x="0" y="9"/>
                  <a:pt x="9" y="0"/>
                  <a:pt x="21" y="0"/>
                </a:cubicBezTo>
                <a:cubicBezTo>
                  <a:pt x="21" y="0"/>
                  <a:pt x="969" y="0"/>
                  <a:pt x="976" y="0"/>
                </a:cubicBezTo>
                <a:cubicBezTo>
                  <a:pt x="992" y="0"/>
                  <a:pt x="1002" y="10"/>
                  <a:pt x="1002" y="10"/>
                </a:cubicBezTo>
                <a:close/>
              </a:path>
            </a:pathLst>
          </a:custGeom>
          <a:solidFill>
            <a:srgbClr val="89BA17"/>
          </a:solidFill>
          <a:ln w="9525">
            <a:solidFill>
              <a:schemeClr val="bg1"/>
            </a:solidFill>
            <a:miter lim="800000"/>
            <a:headEnd/>
            <a:tailEnd/>
          </a:ln>
        </p:spPr>
        <p:txBody>
          <a:bodyPr anchor="ctr"/>
          <a:lstStyle/>
          <a:p>
            <a:pPr algn="l"/>
            <a:r>
              <a:rPr lang="en-US" sz="1600" dirty="0">
                <a:solidFill>
                  <a:schemeClr val="bg1"/>
                </a:solidFill>
                <a:cs typeface="Arial" pitchFamily="34" charset="0"/>
              </a:rPr>
              <a:t>Embedded</a:t>
            </a:r>
          </a:p>
        </p:txBody>
      </p:sp>
      <p:sp>
        <p:nvSpPr>
          <p:cNvPr id="71" name="Freeform 6"/>
          <p:cNvSpPr>
            <a:spLocks/>
          </p:cNvSpPr>
          <p:nvPr/>
        </p:nvSpPr>
        <p:spPr bwMode="auto">
          <a:xfrm>
            <a:off x="6762760" y="4448010"/>
            <a:ext cx="2194560" cy="548640"/>
          </a:xfrm>
          <a:custGeom>
            <a:avLst/>
            <a:gdLst>
              <a:gd name="T0" fmla="*/ 2147483647 w 1098"/>
              <a:gd name="T1" fmla="*/ 2147483647 h 211"/>
              <a:gd name="T2" fmla="*/ 2147483647 w 1098"/>
              <a:gd name="T3" fmla="*/ 2147483647 h 211"/>
              <a:gd name="T4" fmla="*/ 2147483647 w 1098"/>
              <a:gd name="T5" fmla="*/ 2147483647 h 211"/>
              <a:gd name="T6" fmla="*/ 2147483647 w 1098"/>
              <a:gd name="T7" fmla="*/ 2147483647 h 211"/>
              <a:gd name="T8" fmla="*/ 2147483647 w 1098"/>
              <a:gd name="T9" fmla="*/ 2147483647 h 211"/>
              <a:gd name="T10" fmla="*/ 2147483647 w 1098"/>
              <a:gd name="T11" fmla="*/ 2147483647 h 211"/>
              <a:gd name="T12" fmla="*/ 0 w 1098"/>
              <a:gd name="T13" fmla="*/ 2147483647 h 211"/>
              <a:gd name="T14" fmla="*/ 0 w 1098"/>
              <a:gd name="T15" fmla="*/ 2147483647 h 211"/>
              <a:gd name="T16" fmla="*/ 2147483647 w 1098"/>
              <a:gd name="T17" fmla="*/ 0 h 211"/>
              <a:gd name="T18" fmla="*/ 2147483647 w 1098"/>
              <a:gd name="T19" fmla="*/ 0 h 211"/>
              <a:gd name="T20" fmla="*/ 2147483647 w 1098"/>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8"/>
              <a:gd name="T34" fmla="*/ 0 h 211"/>
              <a:gd name="T35" fmla="*/ 1098 w 1098"/>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8" h="211">
                <a:moveTo>
                  <a:pt x="1002" y="10"/>
                </a:moveTo>
                <a:cubicBezTo>
                  <a:pt x="1087" y="95"/>
                  <a:pt x="1087" y="95"/>
                  <a:pt x="1087" y="95"/>
                </a:cubicBezTo>
                <a:cubicBezTo>
                  <a:pt x="1087" y="95"/>
                  <a:pt x="1098" y="105"/>
                  <a:pt x="1087" y="116"/>
                </a:cubicBezTo>
                <a:cubicBezTo>
                  <a:pt x="1075" y="128"/>
                  <a:pt x="1002" y="201"/>
                  <a:pt x="1002" y="201"/>
                </a:cubicBezTo>
                <a:cubicBezTo>
                  <a:pt x="1002" y="201"/>
                  <a:pt x="991" y="211"/>
                  <a:pt x="976" y="211"/>
                </a:cubicBezTo>
                <a:cubicBezTo>
                  <a:pt x="969" y="211"/>
                  <a:pt x="21" y="211"/>
                  <a:pt x="21" y="211"/>
                </a:cubicBezTo>
                <a:cubicBezTo>
                  <a:pt x="9" y="211"/>
                  <a:pt x="0" y="202"/>
                  <a:pt x="0" y="190"/>
                </a:cubicBezTo>
                <a:cubicBezTo>
                  <a:pt x="0" y="21"/>
                  <a:pt x="0" y="21"/>
                  <a:pt x="0" y="21"/>
                </a:cubicBezTo>
                <a:cubicBezTo>
                  <a:pt x="0" y="9"/>
                  <a:pt x="9" y="0"/>
                  <a:pt x="21" y="0"/>
                </a:cubicBezTo>
                <a:cubicBezTo>
                  <a:pt x="21" y="0"/>
                  <a:pt x="969" y="0"/>
                  <a:pt x="976" y="0"/>
                </a:cubicBezTo>
                <a:cubicBezTo>
                  <a:pt x="992" y="0"/>
                  <a:pt x="1002" y="10"/>
                  <a:pt x="1002" y="10"/>
                </a:cubicBezTo>
                <a:close/>
              </a:path>
            </a:pathLst>
          </a:custGeom>
          <a:solidFill>
            <a:srgbClr val="007B78"/>
          </a:solidFill>
          <a:ln w="9525">
            <a:solidFill>
              <a:schemeClr val="bg1"/>
            </a:solidFill>
            <a:miter lim="800000"/>
            <a:headEnd/>
            <a:tailEnd/>
          </a:ln>
        </p:spPr>
        <p:txBody>
          <a:bodyPr anchor="ctr"/>
          <a:lstStyle/>
          <a:p>
            <a:pPr algn="l"/>
            <a:r>
              <a:rPr lang="en-US" sz="1600" dirty="0">
                <a:solidFill>
                  <a:schemeClr val="bg1"/>
                </a:solidFill>
                <a:cs typeface="Arial" pitchFamily="34" charset="0"/>
              </a:rPr>
              <a:t>Pre-integrated</a:t>
            </a:r>
          </a:p>
        </p:txBody>
      </p:sp>
    </p:spTree>
    <p:extLst>
      <p:ext uri="{BB962C8B-B14F-4D97-AF65-F5344CB8AC3E}">
        <p14:creationId xmlns:p14="http://schemas.microsoft.com/office/powerpoint/2010/main" val="1314805335"/>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YPE" val="TitlePag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Template2011">
  <a:themeElements>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fontScheme name="Landscape2009">
      <a:majorFont>
        <a:latin typeface="Ericsson Capital T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72000" tIns="45720" rIns="72000" bIns="4572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72000" tIns="45720" rIns="72000" bIns="4572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0e710d51-58b4-4530-836b-fce5679fe049" ContentTypeId="0x010100BB337192E63E44A7A744CE7393F41F4E" PreviousValue="false"/>
</file>

<file path=customXml/item3.xml><?xml version="1.0" encoding="utf-8"?>
<LongProperties xmlns="http://schemas.microsoft.com/office/2006/metadata/longProperties"/>
</file>

<file path=customXml/item4.xml><?xml version="1.0" encoding="utf-8"?>
<p:properties xmlns:p="http://schemas.microsoft.com/office/2006/metadata/properties" xmlns:xsi="http://www.w3.org/2001/XMLSchema-instance" xmlns:pc="http://schemas.microsoft.com/office/infopath/2007/PartnerControls">
  <documentManagement>
    <EriCOLLDate. xmlns="50ba5ec8-e0cf-4fde-a660-b62cdc36d81e" xsi:nil="true"/>
    <EriCOLLOrganizationUnitTaxHTField0 xmlns="50ba5ec8-e0cf-4fde-a660-b62cdc36d81e">
      <Terms xmlns="http://schemas.microsoft.com/office/infopath/2007/PartnerControls">
        <TermInfo xmlns="http://schemas.microsoft.com/office/infopath/2007/PartnerControls">
          <TermName xmlns="http://schemas.microsoft.com/office/infopath/2007/PartnerControls">BU Multimedia</TermName>
          <TermId xmlns="http://schemas.microsoft.com/office/infopath/2007/PartnerControls">bc6653ba-021d-4fa9-a6c2-c0a8b41561b4</TermId>
        </TermInfo>
      </Terms>
    </EriCOLLOrganizationUnitTaxHTField0>
    <AbstractOrSummary. xmlns="50ba5ec8-e0cf-4fde-a660-b62cdc36d81e" xsi:nil="true"/>
    <TaxCatchAll xmlns="08b2df90-05d3-4030-90d4-c9feeb4a1cd9">
      <Value xmlns="08b2df90-05d3-4030-90d4-c9feeb4a1cd9">2</Value>
      <Value xmlns="08b2df90-05d3-4030-90d4-c9feeb4a1cd9">1</Value>
    </TaxCatchAll>
    <Prepared. xmlns="50ba5ec8-e0cf-4fde-a660-b62cdc36d81e" xsi:nil="true"/>
    <EriCOLLCategoryTaxHTField0 xmlns="50ba5ec8-e0cf-4fde-a660-b62cdc36d81e">
      <Terms xmlns="http://schemas.microsoft.com/office/infopath/2007/PartnerControls">
        <TermInfo xmlns="http://schemas.microsoft.com/office/infopath/2007/PartnerControls">
          <TermName xmlns="http://schemas.microsoft.com/office/infopath/2007/PartnerControls">Marketing</TermName>
          <TermId xmlns="http://schemas.microsoft.com/office/infopath/2007/PartnerControls">0099e0b8-baa3-492f-a27f-71cd464d6b74</TermId>
        </TermInfo>
      </Terms>
    </EriCOLLCategoryTaxHTField0>
    <TaxKeywordTaxHTField xmlns="08b2df90-05d3-4030-90d4-c9feeb4a1cd9">
      <Terms xmlns="http://schemas.microsoft.com/office/infopath/2007/PartnerControls"/>
    </TaxKeywordTaxHTField>
    <EriCOLLProcessTaxHTField0 xmlns="50ba5ec8-e0cf-4fde-a660-b62cdc36d81e">
      <Terms xmlns="http://schemas.microsoft.com/office/infopath/2007/PartnerControls"/>
    </EriCOLLProcessTaxHTField0>
    <EriCOLLCompetenceTaxHTField0 xmlns="50ba5ec8-e0cf-4fde-a660-b62cdc36d81e">
      <Terms xmlns="http://schemas.microsoft.com/office/infopath/2007/PartnerControls"/>
    </EriCOLLCompetenceTaxHTField0>
    <EriCOLLProductsTaxHTField0 xmlns="50ba5ec8-e0cf-4fde-a660-b62cdc36d81e">
      <Terms xmlns="http://schemas.microsoft.com/office/infopath/2007/PartnerControls"/>
    </EriCOLLProductsTaxHTField0>
    <EriCOLLCountryTaxHTField0 xmlns="50ba5ec8-e0cf-4fde-a660-b62cdc36d81e">
      <Terms xmlns="http://schemas.microsoft.com/office/infopath/2007/PartnerControls"/>
    </EriCOLLCountryTaxHTField0>
    <EriCOLLProjectsTaxHTField0 xmlns="50ba5ec8-e0cf-4fde-a660-b62cdc36d81e">
      <Terms xmlns="http://schemas.microsoft.com/office/infopath/2007/PartnerControls"/>
    </EriCOLLProjectsTaxHTField0>
  </documentManagement>
</p:properties>
</file>

<file path=customXml/item5.xml><?xml version="1.0" encoding="utf-8"?>
<ct:contentTypeSchema xmlns:ct="http://schemas.microsoft.com/office/2006/metadata/contentType" xmlns:ma="http://schemas.microsoft.com/office/2006/metadata/properties/metaAttributes" ct:_="" ma:_="" ma:contentTypeName="EriCOLL Docs" ma:contentTypeID="0x010100BB337192E63E44A7A744CE7393F41F4E0044FF14B829164344BA3D5E47322A2FFE" ma:contentTypeVersion="2" ma:contentTypeDescription="EriCOLL Document Content Type" ma:contentTypeScope="" ma:versionID="7477d67a13d129491eb4f71c106170b9">
  <xsd:schema xmlns:xsd="http://www.w3.org/2001/XMLSchema" xmlns:xs="http://www.w3.org/2001/XMLSchema" xmlns:p="http://schemas.microsoft.com/office/2006/metadata/properties" xmlns:ns2="50ba5ec8-e0cf-4fde-a660-b62cdc36d81e" xmlns:ns3="08b2df90-05d3-4030-90d4-c9feeb4a1cd9" targetNamespace="http://schemas.microsoft.com/office/2006/metadata/properties" ma:root="true" ma:fieldsID="b6e77fe8f7db8e6b219a6823566618fb" ns2:_="" ns3:_="">
    <xsd:import namespace="50ba5ec8-e0cf-4fde-a660-b62cdc36d81e"/>
    <xsd:import namespace="08b2df90-05d3-4030-90d4-c9feeb4a1cd9"/>
    <xsd:element name="properties">
      <xsd:complexType>
        <xsd:sequence>
          <xsd:element name="documentManagement">
            <xsd:complexType>
              <xsd:all>
                <xsd:element ref="ns2:Prepared." minOccurs="0"/>
                <xsd:element ref="ns2:EriCOLLDate." minOccurs="0"/>
                <xsd:element ref="ns2:AbstractOrSummary." minOccurs="0"/>
                <xsd:element ref="ns3:TaxKeywordTaxHTField" minOccurs="0"/>
                <xsd:element ref="ns3:TaxCatchAll" minOccurs="0"/>
                <xsd:element ref="ns3:TaxCatchAllLabel" minOccurs="0"/>
                <xsd:element ref="ns2:EriCOLLCategoryTaxHTField0" minOccurs="0"/>
                <xsd:element ref="ns2:EriCOLLOrganizationUnitTaxHTField0" minOccurs="0"/>
                <xsd:element ref="ns2:EriCOLLCompetenceTaxHTField0" minOccurs="0"/>
                <xsd:element ref="ns2:EriCOLLCountryTaxHTField0" minOccurs="0"/>
                <xsd:element ref="ns2:EriCOLLProcessTaxHTField0" minOccurs="0"/>
                <xsd:element ref="ns2:EriCOLLProductsTaxHTField0" minOccurs="0"/>
                <xsd:element ref="ns2:EriCOLLProjects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ba5ec8-e0cf-4fde-a660-b62cdc36d81e" elementFormDefault="qualified">
    <xsd:import namespace="http://schemas.microsoft.com/office/2006/documentManagement/types"/>
    <xsd:import namespace="http://schemas.microsoft.com/office/infopath/2007/PartnerControls"/>
    <xsd:element name="Prepared." ma:index="8" nillable="true" ma:displayName="Prepared." ma:internalName="Prepared_x002e_" ma:readOnly="false">
      <xsd:simpleType>
        <xsd:restriction base="dms:Text">
          <xsd:maxLength value="255"/>
        </xsd:restriction>
      </xsd:simpleType>
    </xsd:element>
    <xsd:element name="EriCOLLDate." ma:index="9" nillable="true" ma:displayName="Date." ma:internalName="EriCOLLDate_x002e_" ma:readOnly="false">
      <xsd:simpleType>
        <xsd:restriction base="dms:Text">
          <xsd:maxLength value="255"/>
        </xsd:restriction>
      </xsd:simpleType>
    </xsd:element>
    <xsd:element name="AbstractOrSummary." ma:index="10" nillable="true" ma:displayName="Abstract/Summary." ma:internalName="AbstractOrSummary_x002e_" ma:readOnly="false">
      <xsd:simpleType>
        <xsd:restriction base="dms:Note"/>
      </xsd:simpleType>
    </xsd:element>
    <xsd:element name="EriCOLLCategoryTaxHTField0" ma:index="15" nillable="true" ma:taxonomy="true" ma:internalName="EriCOLLCategoryTaxHTField0" ma:taxonomyFieldName="EriCOLLCategory" ma:displayName="Category." ma:default="1;#Marketing|0099e0b8-baa3-492f-a27f-71cd464d6b74" ma:fieldId="{e72cc46e-70aa-41d8-b11d-9bbfd769c5eb}" ma:taxonomyMulti="true" ma:sspId="0e710d51-58b4-4530-836b-fce5679fe049" ma:termSetId="f35c1d4c-78ac-4f40-bb38-8d71ec401e64" ma:anchorId="00000000-0000-0000-0000-000000000000" ma:open="false" ma:isKeyword="false">
      <xsd:complexType>
        <xsd:sequence>
          <xsd:element ref="pc:Terms" minOccurs="0" maxOccurs="1"/>
        </xsd:sequence>
      </xsd:complexType>
    </xsd:element>
    <xsd:element name="EriCOLLOrganizationUnitTaxHTField0" ma:index="17" nillable="true" ma:taxonomy="true" ma:internalName="EriCOLLOrganizationUnitTaxHTField0" ma:taxonomyFieldName="EriCOLLOrganizationUnit" ma:displayName="Organization Unit." ma:default="2;#BU Multimedia|bc6653ba-021d-4fa9-a6c2-c0a8b41561b4" ma:fieldId="{7588c015-b936-47f7-bb64-663949dc467e}" ma:taxonomyMulti="true" ma:sspId="0e710d51-58b4-4530-836b-fce5679fe049" ma:termSetId="67f5b04f-38bf-47c9-889f-003f3bcd1395" ma:anchorId="00000000-0000-0000-0000-000000000000" ma:open="false" ma:isKeyword="false">
      <xsd:complexType>
        <xsd:sequence>
          <xsd:element ref="pc:Terms" minOccurs="0" maxOccurs="1"/>
        </xsd:sequence>
      </xsd:complexType>
    </xsd:element>
    <xsd:element name="EriCOLLCompetenceTaxHTField0" ma:index="19" nillable="true" ma:taxonomy="true" ma:internalName="EriCOLLCompetenceTaxHTField0" ma:taxonomyFieldName="EriCOLLCompetence" ma:displayName="Competence." ma:default="" ma:fieldId="{ff7cf505-5048-4f7f-991c-4d426a4ce272}" ma:taxonomyMulti="true" ma:sspId="0e710d51-58b4-4530-836b-fce5679fe049" ma:termSetId="3b0c01a2-44af-4012-bd1f-a99c2b798efa" ma:anchorId="00000000-0000-0000-0000-000000000000" ma:open="false" ma:isKeyword="false">
      <xsd:complexType>
        <xsd:sequence>
          <xsd:element ref="pc:Terms" minOccurs="0" maxOccurs="1"/>
        </xsd:sequence>
      </xsd:complexType>
    </xsd:element>
    <xsd:element name="EriCOLLCountryTaxHTField0" ma:index="21" nillable="true" ma:taxonomy="true" ma:internalName="EriCOLLCountryTaxHTField0" ma:taxonomyFieldName="EriCOLLCountry" ma:displayName="Country." ma:default="" ma:fieldId="{a6c34b01-f2c2-4f05-b9ad-d4935bafeeb2}" ma:taxonomyMulti="true" ma:sspId="0e710d51-58b4-4530-836b-fce5679fe049" ma:termSetId="d4bcc4ed-3121-4db4-a523-83f3d1018798" ma:anchorId="00000000-0000-0000-0000-000000000000" ma:open="false" ma:isKeyword="false">
      <xsd:complexType>
        <xsd:sequence>
          <xsd:element ref="pc:Terms" minOccurs="0" maxOccurs="1"/>
        </xsd:sequence>
      </xsd:complexType>
    </xsd:element>
    <xsd:element name="EriCOLLProcessTaxHTField0" ma:index="23" nillable="true" ma:taxonomy="true" ma:internalName="EriCOLLProcessTaxHTField0" ma:taxonomyFieldName="EriCOLLProcess" ma:displayName="Process." ma:default="" ma:fieldId="{69b1f811-b392-4734-aa69-0125c68961bd}" ma:taxonomyMulti="true" ma:sspId="0e710d51-58b4-4530-836b-fce5679fe049" ma:termSetId="3d5773de-e402-4858-b471-2c5969a51f0d" ma:anchorId="00000000-0000-0000-0000-000000000000" ma:open="false" ma:isKeyword="false">
      <xsd:complexType>
        <xsd:sequence>
          <xsd:element ref="pc:Terms" minOccurs="0" maxOccurs="1"/>
        </xsd:sequence>
      </xsd:complexType>
    </xsd:element>
    <xsd:element name="EriCOLLProductsTaxHTField0" ma:index="25" nillable="true" ma:taxonomy="true" ma:internalName="EriCOLLProductsTaxHTField0" ma:taxonomyFieldName="EriCOLLProducts" ma:displayName="Products." ma:default="" ma:fieldId="{e7fe205b-2114-43c4-bcb7-1bbbbd16d461}" ma:taxonomyMulti="true" ma:sspId="0e710d51-58b4-4530-836b-fce5679fe049" ma:termSetId="943c8fbd-8b50-4b6a-b4b8-9342be84b8f7" ma:anchorId="00000000-0000-0000-0000-000000000000" ma:open="false" ma:isKeyword="false">
      <xsd:complexType>
        <xsd:sequence>
          <xsd:element ref="pc:Terms" minOccurs="0" maxOccurs="1"/>
        </xsd:sequence>
      </xsd:complexType>
    </xsd:element>
    <xsd:element name="EriCOLLProjectsTaxHTField0" ma:index="27" nillable="true" ma:taxonomy="true" ma:internalName="EriCOLLProjectsTaxHTField0" ma:taxonomyFieldName="EriCOLLProjects" ma:displayName="Projects." ma:default="" ma:fieldId="{6d690e96-80d8-4550-9bd4-922d740a55ff}" ma:taxonomyMulti="true" ma:sspId="0e710d51-58b4-4530-836b-fce5679fe049" ma:termSetId="66ed0c52-5b15-42c7-a9e7-77fbdfe62b3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8b2df90-05d3-4030-90d4-c9feeb4a1cd9" elementFormDefault="qualified">
    <xsd:import namespace="http://schemas.microsoft.com/office/2006/documentManagement/types"/>
    <xsd:import namespace="http://schemas.microsoft.com/office/infopath/2007/PartnerControls"/>
    <xsd:element name="TaxKeywordTaxHTField" ma:index="11" nillable="true" ma:taxonomy="true" ma:internalName="TaxKeywordTaxHTField" ma:taxonomyFieldName="TaxKeyword" ma:displayName="Keywords." ma:readOnly="false" ma:fieldId="{23f27201-bee3-471e-b2e7-b64fd8b7ca38}" ma:taxonomyMulti="true" ma:sspId="0e710d51-58b4-4530-836b-fce5679fe049" ma:termSetId="00000000-0000-0000-0000-000000000000" ma:anchorId="00000000-0000-0000-0000-000000000000" ma:open="true" ma:isKeyword="true">
      <xsd:complexType>
        <xsd:sequence>
          <xsd:element ref="pc:Terms" minOccurs="0" maxOccurs="1"/>
        </xsd:sequence>
      </xsd:complexType>
    </xsd:element>
    <xsd:element name="TaxCatchAll" ma:index="12" nillable="true" ma:displayName="Taxonomy Catch All Column" ma:description="" ma:hidden="true" ma:list="{c7a167cb-e6bc-4d8b-980b-98bfa215493e}" ma:internalName="TaxCatchAll" ma:showField="CatchAllData" ma:web="50ba5ec8-e0cf-4fde-a660-b62cdc36d81e">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description="" ma:hidden="true" ma:list="{c7a167cb-e6bc-4d8b-980b-98bfa215493e}" ma:internalName="TaxCatchAllLabel" ma:readOnly="true" ma:showField="CatchAllDataLabel" ma:web="50ba5ec8-e0cf-4fde-a660-b62cdc36d81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57BBED8-D41E-4D2E-AA0F-E19AA2DA64EC}">
  <ds:schemaRefs>
    <ds:schemaRef ds:uri="http://schemas.microsoft.com/sharepoint/v3/contenttype/forms"/>
  </ds:schemaRefs>
</ds:datastoreItem>
</file>

<file path=customXml/itemProps2.xml><?xml version="1.0" encoding="utf-8"?>
<ds:datastoreItem xmlns:ds="http://schemas.openxmlformats.org/officeDocument/2006/customXml" ds:itemID="{FF4967E1-54FF-4122-8D2D-41962E353FE7}">
  <ds:schemaRefs>
    <ds:schemaRef ds:uri="Microsoft.SharePoint.Taxonomy.ContentTypeSync"/>
  </ds:schemaRefs>
</ds:datastoreItem>
</file>

<file path=customXml/itemProps3.xml><?xml version="1.0" encoding="utf-8"?>
<ds:datastoreItem xmlns:ds="http://schemas.openxmlformats.org/officeDocument/2006/customXml" ds:itemID="{47E47E69-98F9-4461-8A56-A62C9CA24F48}">
  <ds:schemaRefs>
    <ds:schemaRef ds:uri="http://schemas.microsoft.com/office/2006/metadata/longProperties"/>
  </ds:schemaRefs>
</ds:datastoreItem>
</file>

<file path=customXml/itemProps4.xml><?xml version="1.0" encoding="utf-8"?>
<ds:datastoreItem xmlns:ds="http://schemas.openxmlformats.org/officeDocument/2006/customXml" ds:itemID="{B9C1D04F-EC96-491D-923F-DBA34228FAE8}">
  <ds:schemaRefs>
    <ds:schemaRef ds:uri="50ba5ec8-e0cf-4fde-a660-b62cdc36d81e"/>
    <ds:schemaRef ds:uri="http://purl.org/dc/dcmitype/"/>
    <ds:schemaRef ds:uri="http://schemas.openxmlformats.org/package/2006/metadata/core-properties"/>
    <ds:schemaRef ds:uri="08b2df90-05d3-4030-90d4-c9feeb4a1cd9"/>
    <ds:schemaRef ds:uri="http://www.w3.org/XML/1998/namespace"/>
    <ds:schemaRef ds:uri="http://schemas.microsoft.com/office/2006/documentManagement/types"/>
    <ds:schemaRef ds:uri="http://schemas.microsoft.com/office/2006/metadata/properties"/>
    <ds:schemaRef ds:uri="http://purl.org/dc/elements/1.1/"/>
    <ds:schemaRef ds:uri="http://schemas.microsoft.com/office/infopath/2007/PartnerControls"/>
    <ds:schemaRef ds:uri="http://purl.org/dc/terms/"/>
  </ds:schemaRefs>
</ds:datastoreItem>
</file>

<file path=customXml/itemProps5.xml><?xml version="1.0" encoding="utf-8"?>
<ds:datastoreItem xmlns:ds="http://schemas.openxmlformats.org/officeDocument/2006/customXml" ds:itemID="{7BAF8DF8-4388-4D5C-ADBE-7FBA6DABB2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ba5ec8-e0cf-4fde-a660-b62cdc36d81e"/>
    <ds:schemaRef ds:uri="08b2df90-05d3-4030-90d4-c9feeb4a1c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143</TotalTime>
  <Words>4209</Words>
  <Application>Microsoft Office PowerPoint</Application>
  <PresentationFormat>On-screen Show (4:3)</PresentationFormat>
  <Paragraphs>1146</Paragraphs>
  <Slides>56</Slides>
  <Notes>5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4</vt:i4>
      </vt:variant>
      <vt:variant>
        <vt:lpstr>Slide Titles</vt:lpstr>
      </vt:variant>
      <vt:variant>
        <vt:i4>56</vt:i4>
      </vt:variant>
    </vt:vector>
  </HeadingPairs>
  <TitlesOfParts>
    <vt:vector size="70" baseType="lpstr">
      <vt:lpstr>Arial</vt:lpstr>
      <vt:lpstr>ＭＳ Ｐゴシック</vt:lpstr>
      <vt:lpstr>Ericsson Sans Regular</vt:lpstr>
      <vt:lpstr>Geneva</vt:lpstr>
      <vt:lpstr>Ericsson Capital TT</vt:lpstr>
      <vt:lpstr>ヒラギノ角ゴ Pro W3</vt:lpstr>
      <vt:lpstr>Lucida Grande</vt:lpstr>
      <vt:lpstr>Times New Roman</vt:lpstr>
      <vt:lpstr>Wingdings</vt:lpstr>
      <vt:lpstr>PresentationTemplate2011</vt:lpstr>
      <vt:lpstr>Worksheet</vt:lpstr>
      <vt:lpstr>think-cell Slide</vt:lpstr>
      <vt:lpstr>Visio.Drawing.11</vt:lpstr>
      <vt:lpstr>Microsoft Excel Chart</vt:lpstr>
      <vt:lpstr>PowerPoint Presentation</vt:lpstr>
      <vt:lpstr>Today’s Agenda</vt:lpstr>
      <vt:lpstr>Our Presenters</vt:lpstr>
      <vt:lpstr>Investment DRIVERS in Lead-to-Service</vt:lpstr>
      <vt:lpstr>SERVICE AGILITY </vt:lpstr>
      <vt:lpstr>Ericsson Acquisition is  Driving Product Growth</vt:lpstr>
      <vt:lpstr>Ericsson portfolio Strategy</vt:lpstr>
      <vt:lpstr>Ericsson SERVICE INNOVATION  framework</vt:lpstr>
      <vt:lpstr>Catalog driven OSS/BSS</vt:lpstr>
      <vt:lpstr>Software-as-a-Service</vt:lpstr>
      <vt:lpstr>Lead-to-Service Suite</vt:lpstr>
      <vt:lpstr>Common Characteristics</vt:lpstr>
      <vt:lpstr>1st ERICSSON OSS User Group</vt:lpstr>
      <vt:lpstr>Release status Conventions</vt:lpstr>
      <vt:lpstr>Today’s Agenda</vt:lpstr>
      <vt:lpstr>Ericsson Catalog Manager</vt:lpstr>
      <vt:lpstr>Ericsson CATALOG MANAGER Portfolio</vt:lpstr>
      <vt:lpstr>ERICSSON catalog manager Roadmap</vt:lpstr>
      <vt:lpstr>Catalog-Driven Everything</vt:lpstr>
      <vt:lpstr>Catalog-Driven Everything</vt:lpstr>
      <vt:lpstr>Architecture</vt:lpstr>
      <vt:lpstr>Architecture</vt:lpstr>
      <vt:lpstr>Publishing</vt:lpstr>
      <vt:lpstr>Publishing</vt:lpstr>
      <vt:lpstr>Publishing</vt:lpstr>
      <vt:lpstr>Catalog Driven Policy, Charging, Fulfillment </vt:lpstr>
      <vt:lpstr>New Logical Model Entities</vt:lpstr>
      <vt:lpstr>Pre-Configured Catalog</vt:lpstr>
      <vt:lpstr>New Service &amp; Resource  Candidate entities</vt:lpstr>
      <vt:lpstr>Digital Services</vt:lpstr>
      <vt:lpstr>Digital Services</vt:lpstr>
      <vt:lpstr>Agility is key</vt:lpstr>
      <vt:lpstr>Agility Suite How IT WORKS</vt:lpstr>
      <vt:lpstr>Performance Improvements Release 14.0 vs 5.2</vt:lpstr>
      <vt:lpstr>usability and performance</vt:lpstr>
      <vt:lpstr>Role-Based User Interface</vt:lpstr>
      <vt:lpstr>Today’s Agenda</vt:lpstr>
      <vt:lpstr>Ericsson Order Care Portfolio</vt:lpstr>
      <vt:lpstr>Ericsson Order Care</vt:lpstr>
      <vt:lpstr>Ericsson Order Care roadmap overview</vt:lpstr>
      <vt:lpstr>Select Features</vt:lpstr>
      <vt:lpstr>Metro Ethernet</vt:lpstr>
      <vt:lpstr>UNIFIED WORKSTATION Evolution</vt:lpstr>
      <vt:lpstr>Today’s Agenda</vt:lpstr>
      <vt:lpstr>Why Upgrade to 14.x?</vt:lpstr>
      <vt:lpstr>Step 1:  Perform Solution Review</vt:lpstr>
      <vt:lpstr>Step 2:  EVALUATE your solution and operational needs</vt:lpstr>
      <vt:lpstr>Step 3:  DETERMINE Level of effort NEEDED</vt:lpstr>
      <vt:lpstr>Step 4:  UPGRADE YOUR SOLUTION</vt:lpstr>
      <vt:lpstr>DEPLOYMENT Implementation PHASES</vt:lpstr>
      <vt:lpstr>Today’s Agenda</vt:lpstr>
      <vt:lpstr>Measurable Success</vt:lpstr>
      <vt:lpstr>WHY INVEST IN ERICSSON Lead-to-Service?</vt:lpstr>
      <vt:lpstr>Q&amp;A</vt:lpstr>
      <vt:lpstr>For More Inform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5 User Webinar: Ericsson Catalog Manager &amp; Ericsson Order Care</dc:title>
  <dc:creator>Laurie Spiegel</dc:creator>
  <cp:keywords/>
  <dc:description>Rev PA1</dc:description>
  <cp:lastModifiedBy>Laurie Spiegel</cp:lastModifiedBy>
  <cp:revision>464</cp:revision>
  <cp:lastPrinted>2013-11-06T17:21:29Z</cp:lastPrinted>
  <dcterms:created xsi:type="dcterms:W3CDTF">2011-05-24T09:22:48Z</dcterms:created>
  <dcterms:modified xsi:type="dcterms:W3CDTF">2015-01-19T15:2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Type">
    <vt:lpwstr>Presentation2011</vt:lpwstr>
  </property>
  <property fmtid="{D5CDD505-2E9C-101B-9397-08002B2CF9AE}" pid="3" name="TemplateName">
    <vt:lpwstr>CXC 173 2731/11</vt:lpwstr>
  </property>
  <property fmtid="{D5CDD505-2E9C-101B-9397-08002B2CF9AE}" pid="4" name="TemplateVersion">
    <vt:lpwstr>R1A</vt:lpwstr>
  </property>
  <property fmtid="{D5CDD505-2E9C-101B-9397-08002B2CF9AE}" pid="5" name="EmbeddedFonts">
    <vt:bool>true</vt:bool>
  </property>
  <property fmtid="{D5CDD505-2E9C-101B-9397-08002B2CF9AE}" pid="6" name="FooterType">
    <vt:lpwstr>PresTemp</vt:lpwstr>
  </property>
  <property fmtid="{D5CDD505-2E9C-101B-9397-08002B2CF9AE}" pid="7" name="UsedFont">
    <vt:lpwstr>Ericsson Capital TT</vt:lpwstr>
  </property>
  <property fmtid="{D5CDD505-2E9C-101B-9397-08002B2CF9AE}" pid="8" name="x">
    <vt:lpwstr>1</vt:lpwstr>
  </property>
  <property fmtid="{D5CDD505-2E9C-101B-9397-08002B2CF9AE}" pid="9" name="White">
    <vt:bool>true</vt:bool>
  </property>
  <property fmtid="{D5CDD505-2E9C-101B-9397-08002B2CF9AE}" pid="10" name="chkMetaData">
    <vt:bool>false</vt:bool>
  </property>
  <property fmtid="{D5CDD505-2E9C-101B-9397-08002B2CF9AE}" pid="11" name="chkTaglines">
    <vt:bool>false</vt:bool>
  </property>
  <property fmtid="{D5CDD505-2E9C-101B-9397-08002B2CF9AE}" pid="12" name="SecurityClass">
    <vt:lpwstr>Ericsson Internal</vt:lpwstr>
  </property>
  <property fmtid="{D5CDD505-2E9C-101B-9397-08002B2CF9AE}" pid="13" name="txtConfLabel">
    <vt:lpwstr>Commercial in confidence</vt:lpwstr>
  </property>
  <property fmtid="{D5CDD505-2E9C-101B-9397-08002B2CF9AE}" pid="14" name="optUseConfClass">
    <vt:bool>false</vt:bool>
  </property>
  <property fmtid="{D5CDD505-2E9C-101B-9397-08002B2CF9AE}" pid="15" name="optUseConfLabel">
    <vt:bool>true</vt:bool>
  </property>
  <property fmtid="{D5CDD505-2E9C-101B-9397-08002B2CF9AE}" pid="16" name="optFooterCVLDocNo">
    <vt:bool>true</vt:bool>
  </property>
  <property fmtid="{D5CDD505-2E9C-101B-9397-08002B2CF9AE}" pid="17" name="optFooterCVLCopyright">
    <vt:bool>false</vt:bool>
  </property>
  <property fmtid="{D5CDD505-2E9C-101B-9397-08002B2CF9AE}" pid="18" name="optEnterText1">
    <vt:bool>false</vt:bool>
  </property>
  <property fmtid="{D5CDD505-2E9C-101B-9397-08002B2CF9AE}" pid="19" name="optFooterCVLConfLabel">
    <vt:bool>true</vt:bool>
  </property>
  <property fmtid="{D5CDD505-2E9C-101B-9397-08002B2CF9AE}" pid="20" name="optEnterText2">
    <vt:bool>false</vt:bool>
  </property>
  <property fmtid="{D5CDD505-2E9C-101B-9397-08002B2CF9AE}" pid="21" name="optFooterCVLTitle">
    <vt:bool>true</vt:bool>
  </property>
  <property fmtid="{D5CDD505-2E9C-101B-9397-08002B2CF9AE}" pid="22" name="optFooterCVLPrep">
    <vt:bool>false</vt:bool>
  </property>
  <property fmtid="{D5CDD505-2E9C-101B-9397-08002B2CF9AE}" pid="23" name="optEnterText3">
    <vt:bool>false</vt:bool>
  </property>
  <property fmtid="{D5CDD505-2E9C-101B-9397-08002B2CF9AE}" pid="24" name="optFooterCVLDate">
    <vt:bool>false</vt:bool>
  </property>
  <property fmtid="{D5CDD505-2E9C-101B-9397-08002B2CF9AE}" pid="25" name="optEnterText4">
    <vt:bool>true</vt:bool>
  </property>
  <property fmtid="{D5CDD505-2E9C-101B-9397-08002B2CF9AE}" pid="26" name="LeftFooterField">
    <vt:lpwstr/>
  </property>
  <property fmtid="{D5CDD505-2E9C-101B-9397-08002B2CF9AE}" pid="27" name="MiddleFooterField">
    <vt:lpwstr>Commercial in confidence</vt:lpwstr>
  </property>
  <property fmtid="{D5CDD505-2E9C-101B-9397-08002B2CF9AE}" pid="28" name="RightFooterField">
    <vt:lpwstr>2015 User Webinar: Ericsson Catalog Manager &amp; Ericsson Order Care</vt:lpwstr>
  </property>
  <property fmtid="{D5CDD505-2E9C-101B-9397-08002B2CF9AE}" pid="29" name="RightFooterField2">
    <vt:lpwstr>2015-01-19</vt:lpwstr>
  </property>
  <property fmtid="{D5CDD505-2E9C-101B-9397-08002B2CF9AE}" pid="30" name="TotalNumb">
    <vt:bool>false</vt:bool>
  </property>
  <property fmtid="{D5CDD505-2E9C-101B-9397-08002B2CF9AE}" pid="31" name="Pages">
    <vt:bool>true</vt:bool>
  </property>
  <property fmtid="{D5CDD505-2E9C-101B-9397-08002B2CF9AE}" pid="32" name="DocumentType2">
    <vt:lpwstr>Presentation2011</vt:lpwstr>
  </property>
  <property fmtid="{D5CDD505-2E9C-101B-9397-08002B2CF9AE}" pid="33" name="TemplateName2">
    <vt:lpwstr>CXC 173 2731/11</vt:lpwstr>
  </property>
  <property fmtid="{D5CDD505-2E9C-101B-9397-08002B2CF9AE}" pid="34" name="TemplateVersion2">
    <vt:lpwstr>R1A</vt:lpwstr>
  </property>
  <property fmtid="{D5CDD505-2E9C-101B-9397-08002B2CF9AE}" pid="35" name="PackageNo">
    <vt:lpwstr>LXA 119 603</vt:lpwstr>
  </property>
  <property fmtid="{D5CDD505-2E9C-101B-9397-08002B2CF9AE}" pid="36" name="PackageVersion">
    <vt:lpwstr>R4A</vt:lpwstr>
  </property>
  <property fmtid="{D5CDD505-2E9C-101B-9397-08002B2CF9AE}" pid="37" name="Prepared">
    <vt:lpwstr>Laurie Spiegel</vt:lpwstr>
  </property>
  <property fmtid="{D5CDD505-2E9C-101B-9397-08002B2CF9AE}" pid="38" name="ApprovedBy">
    <vt:lpwstr/>
  </property>
  <property fmtid="{D5CDD505-2E9C-101B-9397-08002B2CF9AE}" pid="39" name="DocNo">
    <vt:lpwstr/>
  </property>
  <property fmtid="{D5CDD505-2E9C-101B-9397-08002B2CF9AE}" pid="40" name="Checked">
    <vt:lpwstr/>
  </property>
  <property fmtid="{D5CDD505-2E9C-101B-9397-08002B2CF9AE}" pid="41" name="Revision">
    <vt:lpwstr>PA1</vt:lpwstr>
  </property>
  <property fmtid="{D5CDD505-2E9C-101B-9397-08002B2CF9AE}" pid="42" name="DocName">
    <vt:lpwstr>PRESENTATION</vt:lpwstr>
  </property>
  <property fmtid="{D5CDD505-2E9C-101B-9397-08002B2CF9AE}" pid="43" name="Title">
    <vt:lpwstr>2015 User Webinar: Ericsson Catalog Manager &amp; Ericsson Order Care</vt:lpwstr>
  </property>
  <property fmtid="{D5CDD505-2E9C-101B-9397-08002B2CF9AE}" pid="44" name="Date">
    <vt:lpwstr>2015-01-19</vt:lpwstr>
  </property>
  <property fmtid="{D5CDD505-2E9C-101B-9397-08002B2CF9AE}" pid="45" name="Reference">
    <vt:lpwstr/>
  </property>
  <property fmtid="{D5CDD505-2E9C-101B-9397-08002B2CF9AE}" pid="46" name="Keyword">
    <vt:lpwstr/>
  </property>
  <property fmtid="{D5CDD505-2E9C-101B-9397-08002B2CF9AE}" pid="47" name="UpdateProcess">
    <vt:lpwstr>End</vt:lpwstr>
  </property>
  <property fmtid="{D5CDD505-2E9C-101B-9397-08002B2CF9AE}" pid="48" name="EriCOLLCategory">
    <vt:lpwstr>1;#Marketing|0099e0b8-baa3-492f-a27f-71cd464d6b74</vt:lpwstr>
  </property>
  <property fmtid="{D5CDD505-2E9C-101B-9397-08002B2CF9AE}" pid="49" name="EriCOLLOrganizationUnit">
    <vt:lpwstr>2;#BU Multimedia|bc6653ba-021d-4fa9-a6c2-c0a8b41561b4</vt:lpwstr>
  </property>
  <property fmtid="{D5CDD505-2E9C-101B-9397-08002B2CF9AE}" pid="50" name="EriCOLLProjects">
    <vt:lpwstr/>
  </property>
  <property fmtid="{D5CDD505-2E9C-101B-9397-08002B2CF9AE}" pid="51" name="EriCOLLCompetence">
    <vt:lpwstr/>
  </property>
  <property fmtid="{D5CDD505-2E9C-101B-9397-08002B2CF9AE}" pid="52" name="TaxKeyword">
    <vt:lpwstr/>
  </property>
  <property fmtid="{D5CDD505-2E9C-101B-9397-08002B2CF9AE}" pid="53" name="EriCOLLProcess">
    <vt:lpwstr/>
  </property>
  <property fmtid="{D5CDD505-2E9C-101B-9397-08002B2CF9AE}" pid="54" name="EriCOLLProducts">
    <vt:lpwstr/>
  </property>
  <property fmtid="{D5CDD505-2E9C-101B-9397-08002B2CF9AE}" pid="55" name="EriCOLLCountry">
    <vt:lpwstr/>
  </property>
</Properties>
</file>